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6" r:id="rId1"/>
    <p:sldMasterId id="2147483708" r:id="rId2"/>
    <p:sldMasterId id="2147483680" r:id="rId3"/>
    <p:sldMasterId id="2147483694" r:id="rId4"/>
  </p:sldMasterIdLst>
  <p:notesMasterIdLst>
    <p:notesMasterId r:id="rId9"/>
  </p:notesMasterIdLst>
  <p:handoutMasterIdLst>
    <p:handoutMasterId r:id="rId10"/>
  </p:handoutMasterIdLst>
  <p:sldIdLst>
    <p:sldId id="256" r:id="rId5"/>
    <p:sldId id="259" r:id="rId6"/>
    <p:sldId id="261" r:id="rId7"/>
    <p:sldId id="262" r:id="rId8"/>
  </p:sldIdLst>
  <p:sldSz cx="12198350" cy="6858000"/>
  <p:notesSz cx="6950075" cy="92360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664">
          <p15:clr>
            <a:srgbClr val="A4A3A4"/>
          </p15:clr>
        </p15:guide>
        <p15:guide id="3" orient="horz" pos="3861" userDrawn="1">
          <p15:clr>
            <a:srgbClr val="A4A3A4"/>
          </p15:clr>
        </p15:guide>
        <p15:guide id="5" orient="horz" pos="126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8" orient="horz" pos="4192">
          <p15:clr>
            <a:srgbClr val="A4A3A4"/>
          </p15:clr>
        </p15:guide>
        <p15:guide id="10" pos="3842">
          <p15:clr>
            <a:srgbClr val="A4A3A4"/>
          </p15:clr>
        </p15:guide>
        <p15:guide id="11" pos="372" userDrawn="1">
          <p15:clr>
            <a:srgbClr val="A4A3A4"/>
          </p15:clr>
        </p15:guide>
        <p15:guide id="12" pos="7312" userDrawn="1">
          <p15:clr>
            <a:srgbClr val="A4A3A4"/>
          </p15:clr>
        </p15:guide>
        <p15:guide id="13" pos="55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C0C0C0"/>
    <a:srgbClr val="646464"/>
    <a:srgbClr val="999999"/>
    <a:srgbClr val="353535"/>
    <a:srgbClr val="FFFFFF"/>
    <a:srgbClr val="404040"/>
    <a:srgbClr val="000000"/>
    <a:srgbClr val="FF0090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51" autoAdjust="0"/>
    <p:restoredTop sz="85612" autoAdjust="0"/>
  </p:normalViewPr>
  <p:slideViewPr>
    <p:cSldViewPr snapToGrid="0" snapToObjects="1" showGuides="1">
      <p:cViewPr varScale="1">
        <p:scale>
          <a:sx n="97" d="100"/>
          <a:sy n="97" d="100"/>
        </p:scale>
        <p:origin x="366" y="90"/>
      </p:cViewPr>
      <p:guideLst>
        <p:guide orient="horz" pos="664"/>
        <p:guide orient="horz" pos="3861"/>
        <p:guide orient="horz" pos="126"/>
        <p:guide orient="horz" pos="2160"/>
        <p:guide orient="horz" pos="4192"/>
        <p:guide pos="3842"/>
        <p:guide pos="372"/>
        <p:guide pos="7312"/>
        <p:guide pos="55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-2004" y="-96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22/06/2016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22/06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/>
          <p:cNvSpPr>
            <a:spLocks noChangeAspect="1"/>
          </p:cNvSpPr>
          <p:nvPr userDrawn="1"/>
        </p:nvSpPr>
        <p:spPr>
          <a:xfrm>
            <a:off x="3853963" y="615950"/>
            <a:ext cx="7735824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151376" y="2240280"/>
            <a:ext cx="722376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151376" y="3218688"/>
            <a:ext cx="72237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802" y="1025526"/>
            <a:ext cx="10978515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2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9408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tile tx="0" ty="0" sx="100000" sy="100000" flip="none" algn="tl"/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800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01600"/>
            <a:ext cx="10978515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2400"/>
            <a:ext cx="1097851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09918" y="620688"/>
            <a:ext cx="10978515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3860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"/>
          <p:cNvSpPr>
            <a:spLocks noChangeAspect="1"/>
          </p:cNvSpPr>
          <p:nvPr userDrawn="1"/>
        </p:nvSpPr>
        <p:spPr>
          <a:xfrm>
            <a:off x="3853963" y="615950"/>
            <a:ext cx="7735824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151376" y="2240280"/>
            <a:ext cx="722376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151376" y="3218688"/>
            <a:ext cx="72237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9" y="5340097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158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/>
          </p:cNvSpPr>
          <p:nvPr userDrawn="1"/>
        </p:nvSpPr>
        <p:spPr bwMode="gray">
          <a:xfrm rot="10800000">
            <a:off x="4370832" y="457200"/>
            <a:ext cx="7221423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809744" y="1737360"/>
            <a:ext cx="640080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809744" y="2724912"/>
            <a:ext cx="640080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9" y="5340097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1080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0" y="1628775"/>
            <a:ext cx="12198350" cy="4469625"/>
            <a:chOff x="0" y="1628775"/>
            <a:chExt cx="12198350" cy="4469625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3072661" y="1628775"/>
              <a:ext cx="9125689" cy="3318440"/>
            </a:xfrm>
            <a:custGeom>
              <a:avLst/>
              <a:gdLst/>
              <a:ahLst/>
              <a:cxnLst>
                <a:cxn ang="0">
                  <a:pos x="0" y="2464"/>
                </a:cxn>
                <a:cxn ang="0">
                  <a:pos x="6761" y="0"/>
                </a:cxn>
                <a:cxn ang="0">
                  <a:pos x="6761" y="1290"/>
                </a:cxn>
                <a:cxn ang="0">
                  <a:pos x="0" y="2464"/>
                </a:cxn>
              </a:cxnLst>
              <a:rect l="0" t="0" r="r" b="b"/>
              <a:pathLst>
                <a:path w="6761" h="2464">
                  <a:moveTo>
                    <a:pt x="0" y="2464"/>
                  </a:moveTo>
                  <a:lnTo>
                    <a:pt x="6761" y="0"/>
                  </a:lnTo>
                  <a:lnTo>
                    <a:pt x="6761" y="1290"/>
                  </a:lnTo>
                  <a:lnTo>
                    <a:pt x="0" y="246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4291200"/>
              <a:ext cx="3078523" cy="180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081528" y="777600"/>
            <a:ext cx="8509385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081528" y="1731938"/>
            <a:ext cx="6222953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661" y="5751576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0458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15950"/>
            <a:ext cx="7731125" cy="357505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1005840" y="2240280"/>
            <a:ext cx="6879463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>
          <a:xfrm>
            <a:off x="1005840" y="3218688"/>
            <a:ext cx="6879463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1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9" y="5340097"/>
            <a:ext cx="1515758" cy="1156968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601662" y="5892019"/>
            <a:ext cx="4152900" cy="603250"/>
            <a:chOff x="601662" y="5892019"/>
            <a:chExt cx="4152900" cy="603250"/>
          </a:xfrm>
        </p:grpSpPr>
        <p:sp>
          <p:nvSpPr>
            <p:cNvPr id="10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601662" y="5892019"/>
              <a:ext cx="4152900" cy="603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" name="Rectangle 10"/>
            <p:cNvSpPr>
              <a:spLocks noChangeArrowheads="1"/>
            </p:cNvSpPr>
            <p:nvPr userDrawn="1"/>
          </p:nvSpPr>
          <p:spPr bwMode="auto">
            <a:xfrm>
              <a:off x="609600" y="5892019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776287" y="5892019"/>
              <a:ext cx="101600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" name="Rectangle 12"/>
            <p:cNvSpPr>
              <a:spLocks noChangeArrowheads="1"/>
            </p:cNvSpPr>
            <p:nvPr userDrawn="1"/>
          </p:nvSpPr>
          <p:spPr bwMode="auto">
            <a:xfrm>
              <a:off x="946150" y="5892019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606425" y="6119032"/>
              <a:ext cx="4125913" cy="368300"/>
              <a:chOff x="606425" y="6119032"/>
              <a:chExt cx="4125913" cy="368300"/>
            </a:xfrm>
          </p:grpSpPr>
          <p:sp>
            <p:nvSpPr>
              <p:cNvPr id="16" name="Freeform 15"/>
              <p:cNvSpPr>
                <a:spLocks/>
              </p:cNvSpPr>
              <p:nvPr userDrawn="1"/>
            </p:nvSpPr>
            <p:spPr bwMode="auto">
              <a:xfrm>
                <a:off x="606425" y="6120619"/>
                <a:ext cx="104775" cy="122238"/>
              </a:xfrm>
              <a:custGeom>
                <a:avLst/>
                <a:gdLst>
                  <a:gd name="T0" fmla="*/ 120 w 264"/>
                  <a:gd name="T1" fmla="*/ 305 h 305"/>
                  <a:gd name="T2" fmla="*/ 264 w 264"/>
                  <a:gd name="T3" fmla="*/ 0 h 305"/>
                  <a:gd name="T4" fmla="*/ 212 w 264"/>
                  <a:gd name="T5" fmla="*/ 0 h 305"/>
                  <a:gd name="T6" fmla="*/ 170 w 264"/>
                  <a:gd name="T7" fmla="*/ 98 h 305"/>
                  <a:gd name="T8" fmla="*/ 170 w 264"/>
                  <a:gd name="T9" fmla="*/ 98 h 305"/>
                  <a:gd name="T10" fmla="*/ 153 w 264"/>
                  <a:gd name="T11" fmla="*/ 136 h 305"/>
                  <a:gd name="T12" fmla="*/ 140 w 264"/>
                  <a:gd name="T13" fmla="*/ 167 h 305"/>
                  <a:gd name="T14" fmla="*/ 140 w 264"/>
                  <a:gd name="T15" fmla="*/ 167 h 305"/>
                  <a:gd name="T16" fmla="*/ 126 w 264"/>
                  <a:gd name="T17" fmla="*/ 135 h 305"/>
                  <a:gd name="T18" fmla="*/ 106 w 264"/>
                  <a:gd name="T19" fmla="*/ 97 h 305"/>
                  <a:gd name="T20" fmla="*/ 56 w 264"/>
                  <a:gd name="T21" fmla="*/ 0 h 305"/>
                  <a:gd name="T22" fmla="*/ 0 w 264"/>
                  <a:gd name="T23" fmla="*/ 0 h 305"/>
                  <a:gd name="T24" fmla="*/ 114 w 264"/>
                  <a:gd name="T25" fmla="*/ 213 h 305"/>
                  <a:gd name="T26" fmla="*/ 68 w 264"/>
                  <a:gd name="T27" fmla="*/ 305 h 305"/>
                  <a:gd name="T28" fmla="*/ 120 w 264"/>
                  <a:gd name="T2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305">
                    <a:moveTo>
                      <a:pt x="120" y="305"/>
                    </a:moveTo>
                    <a:lnTo>
                      <a:pt x="264" y="0"/>
                    </a:lnTo>
                    <a:lnTo>
                      <a:pt x="212" y="0"/>
                    </a:lnTo>
                    <a:lnTo>
                      <a:pt x="170" y="98"/>
                    </a:lnTo>
                    <a:lnTo>
                      <a:pt x="170" y="98"/>
                    </a:lnTo>
                    <a:lnTo>
                      <a:pt x="153" y="136"/>
                    </a:lnTo>
                    <a:lnTo>
                      <a:pt x="140" y="167"/>
                    </a:lnTo>
                    <a:lnTo>
                      <a:pt x="140" y="167"/>
                    </a:lnTo>
                    <a:lnTo>
                      <a:pt x="126" y="135"/>
                    </a:lnTo>
                    <a:lnTo>
                      <a:pt x="106" y="97"/>
                    </a:lnTo>
                    <a:lnTo>
                      <a:pt x="56" y="0"/>
                    </a:lnTo>
                    <a:lnTo>
                      <a:pt x="0" y="0"/>
                    </a:lnTo>
                    <a:lnTo>
                      <a:pt x="114" y="213"/>
                    </a:lnTo>
                    <a:lnTo>
                      <a:pt x="68" y="305"/>
                    </a:lnTo>
                    <a:lnTo>
                      <a:pt x="120" y="30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17" name="Freeform 16"/>
              <p:cNvSpPr>
                <a:spLocks noEditPoints="1"/>
              </p:cNvSpPr>
              <p:nvPr userDrawn="1"/>
            </p:nvSpPr>
            <p:spPr bwMode="auto">
              <a:xfrm>
                <a:off x="768350" y="6150782"/>
                <a:ext cx="73025" cy="92075"/>
              </a:xfrm>
              <a:custGeom>
                <a:avLst/>
                <a:gdLst>
                  <a:gd name="T0" fmla="*/ 0 w 184"/>
                  <a:gd name="T1" fmla="*/ 229 h 229"/>
                  <a:gd name="T2" fmla="*/ 106 w 184"/>
                  <a:gd name="T3" fmla="*/ 229 h 229"/>
                  <a:gd name="T4" fmla="*/ 132 w 184"/>
                  <a:gd name="T5" fmla="*/ 227 h 229"/>
                  <a:gd name="T6" fmla="*/ 146 w 184"/>
                  <a:gd name="T7" fmla="*/ 222 h 229"/>
                  <a:gd name="T8" fmla="*/ 159 w 184"/>
                  <a:gd name="T9" fmla="*/ 215 h 229"/>
                  <a:gd name="T10" fmla="*/ 169 w 184"/>
                  <a:gd name="T11" fmla="*/ 207 h 229"/>
                  <a:gd name="T12" fmla="*/ 176 w 184"/>
                  <a:gd name="T13" fmla="*/ 196 h 229"/>
                  <a:gd name="T14" fmla="*/ 182 w 184"/>
                  <a:gd name="T15" fmla="*/ 182 h 229"/>
                  <a:gd name="T16" fmla="*/ 184 w 184"/>
                  <a:gd name="T17" fmla="*/ 167 h 229"/>
                  <a:gd name="T18" fmla="*/ 184 w 184"/>
                  <a:gd name="T19" fmla="*/ 159 h 229"/>
                  <a:gd name="T20" fmla="*/ 181 w 184"/>
                  <a:gd name="T21" fmla="*/ 138 h 229"/>
                  <a:gd name="T22" fmla="*/ 172 w 184"/>
                  <a:gd name="T23" fmla="*/ 122 h 229"/>
                  <a:gd name="T24" fmla="*/ 161 w 184"/>
                  <a:gd name="T25" fmla="*/ 112 h 229"/>
                  <a:gd name="T26" fmla="*/ 147 w 184"/>
                  <a:gd name="T27" fmla="*/ 106 h 229"/>
                  <a:gd name="T28" fmla="*/ 154 w 184"/>
                  <a:gd name="T29" fmla="*/ 102 h 229"/>
                  <a:gd name="T30" fmla="*/ 164 w 184"/>
                  <a:gd name="T31" fmla="*/ 94 h 229"/>
                  <a:gd name="T32" fmla="*/ 172 w 184"/>
                  <a:gd name="T33" fmla="*/ 82 h 229"/>
                  <a:gd name="T34" fmla="*/ 177 w 184"/>
                  <a:gd name="T35" fmla="*/ 68 h 229"/>
                  <a:gd name="T36" fmla="*/ 177 w 184"/>
                  <a:gd name="T37" fmla="*/ 60 h 229"/>
                  <a:gd name="T38" fmla="*/ 176 w 184"/>
                  <a:gd name="T39" fmla="*/ 46 h 229"/>
                  <a:gd name="T40" fmla="*/ 173 w 184"/>
                  <a:gd name="T41" fmla="*/ 34 h 229"/>
                  <a:gd name="T42" fmla="*/ 167 w 184"/>
                  <a:gd name="T43" fmla="*/ 24 h 229"/>
                  <a:gd name="T44" fmla="*/ 159 w 184"/>
                  <a:gd name="T45" fmla="*/ 15 h 229"/>
                  <a:gd name="T46" fmla="*/ 150 w 184"/>
                  <a:gd name="T47" fmla="*/ 9 h 229"/>
                  <a:gd name="T48" fmla="*/ 126 w 184"/>
                  <a:gd name="T49" fmla="*/ 1 h 229"/>
                  <a:gd name="T50" fmla="*/ 0 w 184"/>
                  <a:gd name="T51" fmla="*/ 0 h 229"/>
                  <a:gd name="T52" fmla="*/ 45 w 184"/>
                  <a:gd name="T53" fmla="*/ 37 h 229"/>
                  <a:gd name="T54" fmla="*/ 104 w 184"/>
                  <a:gd name="T55" fmla="*/ 37 h 229"/>
                  <a:gd name="T56" fmla="*/ 117 w 184"/>
                  <a:gd name="T57" fmla="*/ 39 h 229"/>
                  <a:gd name="T58" fmla="*/ 126 w 184"/>
                  <a:gd name="T59" fmla="*/ 45 h 229"/>
                  <a:gd name="T60" fmla="*/ 131 w 184"/>
                  <a:gd name="T61" fmla="*/ 53 h 229"/>
                  <a:gd name="T62" fmla="*/ 133 w 184"/>
                  <a:gd name="T63" fmla="*/ 64 h 229"/>
                  <a:gd name="T64" fmla="*/ 132 w 184"/>
                  <a:gd name="T65" fmla="*/ 69 h 229"/>
                  <a:gd name="T66" fmla="*/ 129 w 184"/>
                  <a:gd name="T67" fmla="*/ 78 h 229"/>
                  <a:gd name="T68" fmla="*/ 122 w 184"/>
                  <a:gd name="T69" fmla="*/ 85 h 229"/>
                  <a:gd name="T70" fmla="*/ 111 w 184"/>
                  <a:gd name="T71" fmla="*/ 89 h 229"/>
                  <a:gd name="T72" fmla="*/ 45 w 184"/>
                  <a:gd name="T73" fmla="*/ 90 h 229"/>
                  <a:gd name="T74" fmla="*/ 45 w 184"/>
                  <a:gd name="T75" fmla="*/ 127 h 229"/>
                  <a:gd name="T76" fmla="*/ 105 w 184"/>
                  <a:gd name="T77" fmla="*/ 127 h 229"/>
                  <a:gd name="T78" fmla="*/ 120 w 184"/>
                  <a:gd name="T79" fmla="*/ 129 h 229"/>
                  <a:gd name="T80" fmla="*/ 130 w 184"/>
                  <a:gd name="T81" fmla="*/ 136 h 229"/>
                  <a:gd name="T82" fmla="*/ 137 w 184"/>
                  <a:gd name="T83" fmla="*/ 146 h 229"/>
                  <a:gd name="T84" fmla="*/ 140 w 184"/>
                  <a:gd name="T85" fmla="*/ 160 h 229"/>
                  <a:gd name="T86" fmla="*/ 139 w 184"/>
                  <a:gd name="T87" fmla="*/ 167 h 229"/>
                  <a:gd name="T88" fmla="*/ 135 w 184"/>
                  <a:gd name="T89" fmla="*/ 178 h 229"/>
                  <a:gd name="T90" fmla="*/ 127 w 184"/>
                  <a:gd name="T91" fmla="*/ 187 h 229"/>
                  <a:gd name="T92" fmla="*/ 113 w 184"/>
                  <a:gd name="T93" fmla="*/ 191 h 229"/>
                  <a:gd name="T94" fmla="*/ 45 w 184"/>
                  <a:gd name="T95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4" h="229">
                    <a:moveTo>
                      <a:pt x="0" y="0"/>
                    </a:moveTo>
                    <a:lnTo>
                      <a:pt x="0" y="229"/>
                    </a:lnTo>
                    <a:lnTo>
                      <a:pt x="106" y="229"/>
                    </a:lnTo>
                    <a:lnTo>
                      <a:pt x="106" y="229"/>
                    </a:lnTo>
                    <a:lnTo>
                      <a:pt x="124" y="228"/>
                    </a:lnTo>
                    <a:lnTo>
                      <a:pt x="132" y="227"/>
                    </a:lnTo>
                    <a:lnTo>
                      <a:pt x="139" y="225"/>
                    </a:lnTo>
                    <a:lnTo>
                      <a:pt x="146" y="222"/>
                    </a:lnTo>
                    <a:lnTo>
                      <a:pt x="153" y="219"/>
                    </a:lnTo>
                    <a:lnTo>
                      <a:pt x="159" y="215"/>
                    </a:lnTo>
                    <a:lnTo>
                      <a:pt x="164" y="211"/>
                    </a:lnTo>
                    <a:lnTo>
                      <a:pt x="169" y="207"/>
                    </a:lnTo>
                    <a:lnTo>
                      <a:pt x="173" y="201"/>
                    </a:lnTo>
                    <a:lnTo>
                      <a:pt x="176" y="196"/>
                    </a:lnTo>
                    <a:lnTo>
                      <a:pt x="179" y="189"/>
                    </a:lnTo>
                    <a:lnTo>
                      <a:pt x="182" y="182"/>
                    </a:lnTo>
                    <a:lnTo>
                      <a:pt x="183" y="175"/>
                    </a:lnTo>
                    <a:lnTo>
                      <a:pt x="184" y="167"/>
                    </a:lnTo>
                    <a:lnTo>
                      <a:pt x="184" y="159"/>
                    </a:lnTo>
                    <a:lnTo>
                      <a:pt x="184" y="159"/>
                    </a:lnTo>
                    <a:lnTo>
                      <a:pt x="184" y="148"/>
                    </a:lnTo>
                    <a:lnTo>
                      <a:pt x="181" y="138"/>
                    </a:lnTo>
                    <a:lnTo>
                      <a:pt x="177" y="129"/>
                    </a:lnTo>
                    <a:lnTo>
                      <a:pt x="172" y="122"/>
                    </a:lnTo>
                    <a:lnTo>
                      <a:pt x="167" y="116"/>
                    </a:lnTo>
                    <a:lnTo>
                      <a:pt x="161" y="112"/>
                    </a:lnTo>
                    <a:lnTo>
                      <a:pt x="154" y="108"/>
                    </a:lnTo>
                    <a:lnTo>
                      <a:pt x="147" y="106"/>
                    </a:lnTo>
                    <a:lnTo>
                      <a:pt x="147" y="106"/>
                    </a:lnTo>
                    <a:lnTo>
                      <a:pt x="154" y="102"/>
                    </a:lnTo>
                    <a:lnTo>
                      <a:pt x="159" y="98"/>
                    </a:lnTo>
                    <a:lnTo>
                      <a:pt x="164" y="94"/>
                    </a:lnTo>
                    <a:lnTo>
                      <a:pt x="169" y="88"/>
                    </a:lnTo>
                    <a:lnTo>
                      <a:pt x="172" y="82"/>
                    </a:lnTo>
                    <a:lnTo>
                      <a:pt x="175" y="76"/>
                    </a:lnTo>
                    <a:lnTo>
                      <a:pt x="177" y="68"/>
                    </a:lnTo>
                    <a:lnTo>
                      <a:pt x="177" y="60"/>
                    </a:lnTo>
                    <a:lnTo>
                      <a:pt x="177" y="60"/>
                    </a:lnTo>
                    <a:lnTo>
                      <a:pt x="177" y="53"/>
                    </a:lnTo>
                    <a:lnTo>
                      <a:pt x="176" y="46"/>
                    </a:lnTo>
                    <a:lnTo>
                      <a:pt x="175" y="40"/>
                    </a:lnTo>
                    <a:lnTo>
                      <a:pt x="173" y="34"/>
                    </a:lnTo>
                    <a:lnTo>
                      <a:pt x="170" y="29"/>
                    </a:lnTo>
                    <a:lnTo>
                      <a:pt x="167" y="24"/>
                    </a:lnTo>
                    <a:lnTo>
                      <a:pt x="164" y="19"/>
                    </a:lnTo>
                    <a:lnTo>
                      <a:pt x="159" y="15"/>
                    </a:lnTo>
                    <a:lnTo>
                      <a:pt x="155" y="12"/>
                    </a:lnTo>
                    <a:lnTo>
                      <a:pt x="150" y="9"/>
                    </a:lnTo>
                    <a:lnTo>
                      <a:pt x="139" y="4"/>
                    </a:lnTo>
                    <a:lnTo>
                      <a:pt x="126" y="1"/>
                    </a:lnTo>
                    <a:lnTo>
                      <a:pt x="112" y="0"/>
                    </a:lnTo>
                    <a:lnTo>
                      <a:pt x="0" y="0"/>
                    </a:lnTo>
                    <a:close/>
                    <a:moveTo>
                      <a:pt x="45" y="90"/>
                    </a:moveTo>
                    <a:lnTo>
                      <a:pt x="45" y="37"/>
                    </a:lnTo>
                    <a:lnTo>
                      <a:pt x="104" y="37"/>
                    </a:lnTo>
                    <a:lnTo>
                      <a:pt x="104" y="37"/>
                    </a:lnTo>
                    <a:lnTo>
                      <a:pt x="111" y="38"/>
                    </a:lnTo>
                    <a:lnTo>
                      <a:pt x="117" y="39"/>
                    </a:lnTo>
                    <a:lnTo>
                      <a:pt x="122" y="42"/>
                    </a:lnTo>
                    <a:lnTo>
                      <a:pt x="126" y="45"/>
                    </a:lnTo>
                    <a:lnTo>
                      <a:pt x="129" y="49"/>
                    </a:lnTo>
                    <a:lnTo>
                      <a:pt x="131" y="53"/>
                    </a:lnTo>
                    <a:lnTo>
                      <a:pt x="132" y="58"/>
                    </a:lnTo>
                    <a:lnTo>
                      <a:pt x="133" y="64"/>
                    </a:lnTo>
                    <a:lnTo>
                      <a:pt x="133" y="64"/>
                    </a:lnTo>
                    <a:lnTo>
                      <a:pt x="132" y="69"/>
                    </a:lnTo>
                    <a:lnTo>
                      <a:pt x="131" y="74"/>
                    </a:lnTo>
                    <a:lnTo>
                      <a:pt x="129" y="78"/>
                    </a:lnTo>
                    <a:lnTo>
                      <a:pt x="126" y="82"/>
                    </a:lnTo>
                    <a:lnTo>
                      <a:pt x="122" y="85"/>
                    </a:lnTo>
                    <a:lnTo>
                      <a:pt x="117" y="88"/>
                    </a:lnTo>
                    <a:lnTo>
                      <a:pt x="111" y="89"/>
                    </a:lnTo>
                    <a:lnTo>
                      <a:pt x="104" y="90"/>
                    </a:lnTo>
                    <a:lnTo>
                      <a:pt x="45" y="90"/>
                    </a:lnTo>
                    <a:close/>
                    <a:moveTo>
                      <a:pt x="45" y="192"/>
                    </a:moveTo>
                    <a:lnTo>
                      <a:pt x="45" y="127"/>
                    </a:lnTo>
                    <a:lnTo>
                      <a:pt x="105" y="127"/>
                    </a:lnTo>
                    <a:lnTo>
                      <a:pt x="105" y="127"/>
                    </a:lnTo>
                    <a:lnTo>
                      <a:pt x="113" y="128"/>
                    </a:lnTo>
                    <a:lnTo>
                      <a:pt x="120" y="129"/>
                    </a:lnTo>
                    <a:lnTo>
                      <a:pt x="125" y="132"/>
                    </a:lnTo>
                    <a:lnTo>
                      <a:pt x="130" y="136"/>
                    </a:lnTo>
                    <a:lnTo>
                      <a:pt x="134" y="141"/>
                    </a:lnTo>
                    <a:lnTo>
                      <a:pt x="137" y="146"/>
                    </a:lnTo>
                    <a:lnTo>
                      <a:pt x="139" y="153"/>
                    </a:lnTo>
                    <a:lnTo>
                      <a:pt x="140" y="160"/>
                    </a:lnTo>
                    <a:lnTo>
                      <a:pt x="140" y="160"/>
                    </a:lnTo>
                    <a:lnTo>
                      <a:pt x="139" y="167"/>
                    </a:lnTo>
                    <a:lnTo>
                      <a:pt x="138" y="173"/>
                    </a:lnTo>
                    <a:lnTo>
                      <a:pt x="135" y="178"/>
                    </a:lnTo>
                    <a:lnTo>
                      <a:pt x="131" y="183"/>
                    </a:lnTo>
                    <a:lnTo>
                      <a:pt x="127" y="187"/>
                    </a:lnTo>
                    <a:lnTo>
                      <a:pt x="120" y="190"/>
                    </a:lnTo>
                    <a:lnTo>
                      <a:pt x="113" y="191"/>
                    </a:lnTo>
                    <a:lnTo>
                      <a:pt x="104" y="192"/>
                    </a:lnTo>
                    <a:lnTo>
                      <a:pt x="45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18" name="Freeform 17"/>
              <p:cNvSpPr>
                <a:spLocks noEditPoints="1"/>
              </p:cNvSpPr>
              <p:nvPr userDrawn="1"/>
            </p:nvSpPr>
            <p:spPr bwMode="auto">
              <a:xfrm>
                <a:off x="855662" y="6149194"/>
                <a:ext cx="73025" cy="95250"/>
              </a:xfrm>
              <a:custGeom>
                <a:avLst/>
                <a:gdLst>
                  <a:gd name="T0" fmla="*/ 187 w 187"/>
                  <a:gd name="T1" fmla="*/ 77 h 239"/>
                  <a:gd name="T2" fmla="*/ 186 w 187"/>
                  <a:gd name="T3" fmla="*/ 68 h 239"/>
                  <a:gd name="T4" fmla="*/ 183 w 187"/>
                  <a:gd name="T5" fmla="*/ 51 h 239"/>
                  <a:gd name="T6" fmla="*/ 177 w 187"/>
                  <a:gd name="T7" fmla="*/ 36 h 239"/>
                  <a:gd name="T8" fmla="*/ 168 w 187"/>
                  <a:gd name="T9" fmla="*/ 24 h 239"/>
                  <a:gd name="T10" fmla="*/ 157 w 187"/>
                  <a:gd name="T11" fmla="*/ 15 h 239"/>
                  <a:gd name="T12" fmla="*/ 143 w 187"/>
                  <a:gd name="T13" fmla="*/ 8 h 239"/>
                  <a:gd name="T14" fmla="*/ 128 w 187"/>
                  <a:gd name="T15" fmla="*/ 3 h 239"/>
                  <a:gd name="T16" fmla="*/ 110 w 187"/>
                  <a:gd name="T17" fmla="*/ 1 h 239"/>
                  <a:gd name="T18" fmla="*/ 100 w 187"/>
                  <a:gd name="T19" fmla="*/ 0 h 239"/>
                  <a:gd name="T20" fmla="*/ 77 w 187"/>
                  <a:gd name="T21" fmla="*/ 2 h 239"/>
                  <a:gd name="T22" fmla="*/ 57 w 187"/>
                  <a:gd name="T23" fmla="*/ 6 h 239"/>
                  <a:gd name="T24" fmla="*/ 38 w 187"/>
                  <a:gd name="T25" fmla="*/ 12 h 239"/>
                  <a:gd name="T26" fmla="*/ 21 w 187"/>
                  <a:gd name="T27" fmla="*/ 21 h 239"/>
                  <a:gd name="T28" fmla="*/ 39 w 187"/>
                  <a:gd name="T29" fmla="*/ 55 h 239"/>
                  <a:gd name="T30" fmla="*/ 67 w 187"/>
                  <a:gd name="T31" fmla="*/ 44 h 239"/>
                  <a:gd name="T32" fmla="*/ 99 w 187"/>
                  <a:gd name="T33" fmla="*/ 40 h 239"/>
                  <a:gd name="T34" fmla="*/ 109 w 187"/>
                  <a:gd name="T35" fmla="*/ 41 h 239"/>
                  <a:gd name="T36" fmla="*/ 125 w 187"/>
                  <a:gd name="T37" fmla="*/ 46 h 239"/>
                  <a:gd name="T38" fmla="*/ 136 w 187"/>
                  <a:gd name="T39" fmla="*/ 56 h 239"/>
                  <a:gd name="T40" fmla="*/ 142 w 187"/>
                  <a:gd name="T41" fmla="*/ 70 h 239"/>
                  <a:gd name="T42" fmla="*/ 143 w 187"/>
                  <a:gd name="T43" fmla="*/ 96 h 239"/>
                  <a:gd name="T44" fmla="*/ 134 w 187"/>
                  <a:gd name="T45" fmla="*/ 93 h 239"/>
                  <a:gd name="T46" fmla="*/ 107 w 187"/>
                  <a:gd name="T47" fmla="*/ 88 h 239"/>
                  <a:gd name="T48" fmla="*/ 91 w 187"/>
                  <a:gd name="T49" fmla="*/ 88 h 239"/>
                  <a:gd name="T50" fmla="*/ 63 w 187"/>
                  <a:gd name="T51" fmla="*/ 90 h 239"/>
                  <a:gd name="T52" fmla="*/ 47 w 187"/>
                  <a:gd name="T53" fmla="*/ 94 h 239"/>
                  <a:gd name="T54" fmla="*/ 32 w 187"/>
                  <a:gd name="T55" fmla="*/ 101 h 239"/>
                  <a:gd name="T56" fmla="*/ 20 w 187"/>
                  <a:gd name="T57" fmla="*/ 110 h 239"/>
                  <a:gd name="T58" fmla="*/ 10 w 187"/>
                  <a:gd name="T59" fmla="*/ 122 h 239"/>
                  <a:gd name="T60" fmla="*/ 4 w 187"/>
                  <a:gd name="T61" fmla="*/ 136 h 239"/>
                  <a:gd name="T62" fmla="*/ 0 w 187"/>
                  <a:gd name="T63" fmla="*/ 152 h 239"/>
                  <a:gd name="T64" fmla="*/ 0 w 187"/>
                  <a:gd name="T65" fmla="*/ 162 h 239"/>
                  <a:gd name="T66" fmla="*/ 1 w 187"/>
                  <a:gd name="T67" fmla="*/ 181 h 239"/>
                  <a:gd name="T68" fmla="*/ 7 w 187"/>
                  <a:gd name="T69" fmla="*/ 197 h 239"/>
                  <a:gd name="T70" fmla="*/ 15 w 187"/>
                  <a:gd name="T71" fmla="*/ 211 h 239"/>
                  <a:gd name="T72" fmla="*/ 25 w 187"/>
                  <a:gd name="T73" fmla="*/ 221 h 239"/>
                  <a:gd name="T74" fmla="*/ 38 w 187"/>
                  <a:gd name="T75" fmla="*/ 229 h 239"/>
                  <a:gd name="T76" fmla="*/ 51 w 187"/>
                  <a:gd name="T77" fmla="*/ 235 h 239"/>
                  <a:gd name="T78" fmla="*/ 79 w 187"/>
                  <a:gd name="T79" fmla="*/ 239 h 239"/>
                  <a:gd name="T80" fmla="*/ 90 w 187"/>
                  <a:gd name="T81" fmla="*/ 238 h 239"/>
                  <a:gd name="T82" fmla="*/ 109 w 187"/>
                  <a:gd name="T83" fmla="*/ 234 h 239"/>
                  <a:gd name="T84" fmla="*/ 116 w 187"/>
                  <a:gd name="T85" fmla="*/ 231 h 239"/>
                  <a:gd name="T86" fmla="*/ 135 w 187"/>
                  <a:gd name="T87" fmla="*/ 218 h 239"/>
                  <a:gd name="T88" fmla="*/ 143 w 187"/>
                  <a:gd name="T89" fmla="*/ 234 h 239"/>
                  <a:gd name="T90" fmla="*/ 143 w 187"/>
                  <a:gd name="T91" fmla="*/ 169 h 239"/>
                  <a:gd name="T92" fmla="*/ 138 w 187"/>
                  <a:gd name="T93" fmla="*/ 174 h 239"/>
                  <a:gd name="T94" fmla="*/ 127 w 187"/>
                  <a:gd name="T95" fmla="*/ 185 h 239"/>
                  <a:gd name="T96" fmla="*/ 113 w 187"/>
                  <a:gd name="T97" fmla="*/ 193 h 239"/>
                  <a:gd name="T98" fmla="*/ 95 w 187"/>
                  <a:gd name="T99" fmla="*/ 198 h 239"/>
                  <a:gd name="T100" fmla="*/ 86 w 187"/>
                  <a:gd name="T101" fmla="*/ 198 h 239"/>
                  <a:gd name="T102" fmla="*/ 68 w 187"/>
                  <a:gd name="T103" fmla="*/ 196 h 239"/>
                  <a:gd name="T104" fmla="*/ 55 w 187"/>
                  <a:gd name="T105" fmla="*/ 189 h 239"/>
                  <a:gd name="T106" fmla="*/ 50 w 187"/>
                  <a:gd name="T107" fmla="*/ 184 h 239"/>
                  <a:gd name="T108" fmla="*/ 43 w 187"/>
                  <a:gd name="T109" fmla="*/ 170 h 239"/>
                  <a:gd name="T110" fmla="*/ 42 w 187"/>
                  <a:gd name="T111" fmla="*/ 160 h 239"/>
                  <a:gd name="T112" fmla="*/ 46 w 187"/>
                  <a:gd name="T113" fmla="*/ 146 h 239"/>
                  <a:gd name="T114" fmla="*/ 55 w 187"/>
                  <a:gd name="T115" fmla="*/ 136 h 239"/>
                  <a:gd name="T116" fmla="*/ 70 w 187"/>
                  <a:gd name="T117" fmla="*/ 129 h 239"/>
                  <a:gd name="T118" fmla="*/ 89 w 187"/>
                  <a:gd name="T119" fmla="*/ 126 h 239"/>
                  <a:gd name="T120" fmla="*/ 106 w 187"/>
                  <a:gd name="T121" fmla="*/ 127 h 239"/>
                  <a:gd name="T122" fmla="*/ 120 w 187"/>
                  <a:gd name="T123" fmla="*/ 129 h 239"/>
                  <a:gd name="T124" fmla="*/ 143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4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6" y="68"/>
                    </a:lnTo>
                    <a:lnTo>
                      <a:pt x="185" y="59"/>
                    </a:lnTo>
                    <a:lnTo>
                      <a:pt x="183" y="51"/>
                    </a:lnTo>
                    <a:lnTo>
                      <a:pt x="181" y="43"/>
                    </a:lnTo>
                    <a:lnTo>
                      <a:pt x="177" y="36"/>
                    </a:lnTo>
                    <a:lnTo>
                      <a:pt x="173" y="30"/>
                    </a:lnTo>
                    <a:lnTo>
                      <a:pt x="168" y="24"/>
                    </a:lnTo>
                    <a:lnTo>
                      <a:pt x="163" y="19"/>
                    </a:lnTo>
                    <a:lnTo>
                      <a:pt x="157" y="15"/>
                    </a:lnTo>
                    <a:lnTo>
                      <a:pt x="150" y="11"/>
                    </a:lnTo>
                    <a:lnTo>
                      <a:pt x="143" y="8"/>
                    </a:lnTo>
                    <a:lnTo>
                      <a:pt x="136" y="5"/>
                    </a:lnTo>
                    <a:lnTo>
                      <a:pt x="128" y="3"/>
                    </a:lnTo>
                    <a:lnTo>
                      <a:pt x="119" y="2"/>
                    </a:lnTo>
                    <a:lnTo>
                      <a:pt x="110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8" y="1"/>
                    </a:lnTo>
                    <a:lnTo>
                      <a:pt x="77" y="2"/>
                    </a:lnTo>
                    <a:lnTo>
                      <a:pt x="67" y="3"/>
                    </a:lnTo>
                    <a:lnTo>
                      <a:pt x="57" y="6"/>
                    </a:lnTo>
                    <a:lnTo>
                      <a:pt x="47" y="8"/>
                    </a:lnTo>
                    <a:lnTo>
                      <a:pt x="38" y="12"/>
                    </a:lnTo>
                    <a:lnTo>
                      <a:pt x="30" y="16"/>
                    </a:lnTo>
                    <a:lnTo>
                      <a:pt x="21" y="21"/>
                    </a:lnTo>
                    <a:lnTo>
                      <a:pt x="39" y="55"/>
                    </a:lnTo>
                    <a:lnTo>
                      <a:pt x="39" y="55"/>
                    </a:lnTo>
                    <a:lnTo>
                      <a:pt x="52" y="48"/>
                    </a:lnTo>
                    <a:lnTo>
                      <a:pt x="67" y="44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9" y="41"/>
                    </a:lnTo>
                    <a:lnTo>
                      <a:pt x="118" y="43"/>
                    </a:lnTo>
                    <a:lnTo>
                      <a:pt x="125" y="46"/>
                    </a:lnTo>
                    <a:lnTo>
                      <a:pt x="132" y="51"/>
                    </a:lnTo>
                    <a:lnTo>
                      <a:pt x="136" y="56"/>
                    </a:lnTo>
                    <a:lnTo>
                      <a:pt x="140" y="63"/>
                    </a:lnTo>
                    <a:lnTo>
                      <a:pt x="142" y="70"/>
                    </a:lnTo>
                    <a:lnTo>
                      <a:pt x="143" y="79"/>
                    </a:lnTo>
                    <a:lnTo>
                      <a:pt x="143" y="96"/>
                    </a:lnTo>
                    <a:lnTo>
                      <a:pt x="143" y="96"/>
                    </a:lnTo>
                    <a:lnTo>
                      <a:pt x="134" y="93"/>
                    </a:lnTo>
                    <a:lnTo>
                      <a:pt x="122" y="90"/>
                    </a:lnTo>
                    <a:lnTo>
                      <a:pt x="107" y="88"/>
                    </a:lnTo>
                    <a:lnTo>
                      <a:pt x="91" y="88"/>
                    </a:lnTo>
                    <a:lnTo>
                      <a:pt x="91" y="88"/>
                    </a:lnTo>
                    <a:lnTo>
                      <a:pt x="72" y="89"/>
                    </a:lnTo>
                    <a:lnTo>
                      <a:pt x="63" y="90"/>
                    </a:lnTo>
                    <a:lnTo>
                      <a:pt x="55" y="92"/>
                    </a:lnTo>
                    <a:lnTo>
                      <a:pt x="47" y="94"/>
                    </a:lnTo>
                    <a:lnTo>
                      <a:pt x="39" y="98"/>
                    </a:lnTo>
                    <a:lnTo>
                      <a:pt x="32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6"/>
                    </a:lnTo>
                    <a:lnTo>
                      <a:pt x="10" y="122"/>
                    </a:lnTo>
                    <a:lnTo>
                      <a:pt x="7" y="129"/>
                    </a:lnTo>
                    <a:lnTo>
                      <a:pt x="4" y="136"/>
                    </a:lnTo>
                    <a:lnTo>
                      <a:pt x="1" y="144"/>
                    </a:lnTo>
                    <a:lnTo>
                      <a:pt x="0" y="152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1" y="181"/>
                    </a:lnTo>
                    <a:lnTo>
                      <a:pt x="4" y="190"/>
                    </a:lnTo>
                    <a:lnTo>
                      <a:pt x="7" y="197"/>
                    </a:lnTo>
                    <a:lnTo>
                      <a:pt x="11" y="204"/>
                    </a:lnTo>
                    <a:lnTo>
                      <a:pt x="15" y="211"/>
                    </a:lnTo>
                    <a:lnTo>
                      <a:pt x="20" y="216"/>
                    </a:lnTo>
                    <a:lnTo>
                      <a:pt x="25" y="221"/>
                    </a:lnTo>
                    <a:lnTo>
                      <a:pt x="31" y="226"/>
                    </a:lnTo>
                    <a:lnTo>
                      <a:pt x="38" y="229"/>
                    </a:lnTo>
                    <a:lnTo>
                      <a:pt x="44" y="232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8"/>
                    </a:lnTo>
                    <a:lnTo>
                      <a:pt x="100" y="236"/>
                    </a:lnTo>
                    <a:lnTo>
                      <a:pt x="109" y="234"/>
                    </a:lnTo>
                    <a:lnTo>
                      <a:pt x="116" y="231"/>
                    </a:lnTo>
                    <a:lnTo>
                      <a:pt x="116" y="231"/>
                    </a:lnTo>
                    <a:lnTo>
                      <a:pt x="128" y="223"/>
                    </a:lnTo>
                    <a:lnTo>
                      <a:pt x="135" y="218"/>
                    </a:lnTo>
                    <a:lnTo>
                      <a:pt x="143" y="211"/>
                    </a:lnTo>
                    <a:lnTo>
                      <a:pt x="143" y="234"/>
                    </a:lnTo>
                    <a:lnTo>
                      <a:pt x="187" y="234"/>
                    </a:lnTo>
                    <a:close/>
                    <a:moveTo>
                      <a:pt x="143" y="169"/>
                    </a:moveTo>
                    <a:lnTo>
                      <a:pt x="143" y="169"/>
                    </a:lnTo>
                    <a:lnTo>
                      <a:pt x="138" y="174"/>
                    </a:lnTo>
                    <a:lnTo>
                      <a:pt x="133" y="180"/>
                    </a:lnTo>
                    <a:lnTo>
                      <a:pt x="127" y="185"/>
                    </a:lnTo>
                    <a:lnTo>
                      <a:pt x="120" y="189"/>
                    </a:lnTo>
                    <a:lnTo>
                      <a:pt x="113" y="193"/>
                    </a:lnTo>
                    <a:lnTo>
                      <a:pt x="104" y="196"/>
                    </a:lnTo>
                    <a:lnTo>
                      <a:pt x="95" y="198"/>
                    </a:lnTo>
                    <a:lnTo>
                      <a:pt x="86" y="198"/>
                    </a:lnTo>
                    <a:lnTo>
                      <a:pt x="86" y="198"/>
                    </a:lnTo>
                    <a:lnTo>
                      <a:pt x="76" y="198"/>
                    </a:lnTo>
                    <a:lnTo>
                      <a:pt x="68" y="196"/>
                    </a:lnTo>
                    <a:lnTo>
                      <a:pt x="61" y="193"/>
                    </a:lnTo>
                    <a:lnTo>
                      <a:pt x="55" y="189"/>
                    </a:lnTo>
                    <a:lnTo>
                      <a:pt x="55" y="189"/>
                    </a:lnTo>
                    <a:lnTo>
                      <a:pt x="50" y="184"/>
                    </a:lnTo>
                    <a:lnTo>
                      <a:pt x="46" y="178"/>
                    </a:lnTo>
                    <a:lnTo>
                      <a:pt x="43" y="170"/>
                    </a:lnTo>
                    <a:lnTo>
                      <a:pt x="42" y="160"/>
                    </a:lnTo>
                    <a:lnTo>
                      <a:pt x="42" y="160"/>
                    </a:lnTo>
                    <a:lnTo>
                      <a:pt x="43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5" y="136"/>
                    </a:lnTo>
                    <a:lnTo>
                      <a:pt x="62" y="132"/>
                    </a:lnTo>
                    <a:lnTo>
                      <a:pt x="70" y="129"/>
                    </a:lnTo>
                    <a:lnTo>
                      <a:pt x="79" y="127"/>
                    </a:lnTo>
                    <a:lnTo>
                      <a:pt x="89" y="126"/>
                    </a:lnTo>
                    <a:lnTo>
                      <a:pt x="89" y="126"/>
                    </a:lnTo>
                    <a:lnTo>
                      <a:pt x="106" y="127"/>
                    </a:lnTo>
                    <a:lnTo>
                      <a:pt x="120" y="129"/>
                    </a:lnTo>
                    <a:lnTo>
                      <a:pt x="120" y="129"/>
                    </a:lnTo>
                    <a:lnTo>
                      <a:pt x="131" y="132"/>
                    </a:lnTo>
                    <a:lnTo>
                      <a:pt x="143" y="136"/>
                    </a:lnTo>
                    <a:lnTo>
                      <a:pt x="143" y="16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1" name="Freeform 20"/>
              <p:cNvSpPr>
                <a:spLocks/>
              </p:cNvSpPr>
              <p:nvPr userDrawn="1"/>
            </p:nvSpPr>
            <p:spPr bwMode="auto">
              <a:xfrm>
                <a:off x="947737" y="6149194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5 w 181"/>
                  <a:gd name="T3" fmla="*/ 22 h 239"/>
                  <a:gd name="T4" fmla="*/ 146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3 w 181"/>
                  <a:gd name="T19" fmla="*/ 40 h 239"/>
                  <a:gd name="T20" fmla="*/ 12 w 181"/>
                  <a:gd name="T21" fmla="*/ 59 h 239"/>
                  <a:gd name="T22" fmla="*/ 5 w 181"/>
                  <a:gd name="T23" fmla="*/ 81 h 239"/>
                  <a:gd name="T24" fmla="*/ 1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8 w 181"/>
                  <a:gd name="T31" fmla="*/ 169 h 239"/>
                  <a:gd name="T32" fmla="*/ 17 w 181"/>
                  <a:gd name="T33" fmla="*/ 189 h 239"/>
                  <a:gd name="T34" fmla="*/ 29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9 w 181"/>
                  <a:gd name="T41" fmla="*/ 237 h 239"/>
                  <a:gd name="T42" fmla="*/ 99 w 181"/>
                  <a:gd name="T43" fmla="*/ 239 h 239"/>
                  <a:gd name="T44" fmla="*/ 114 w 181"/>
                  <a:gd name="T45" fmla="*/ 238 h 239"/>
                  <a:gd name="T46" fmla="*/ 139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40 w 181"/>
                  <a:gd name="T55" fmla="*/ 180 h 239"/>
                  <a:gd name="T56" fmla="*/ 128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2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4 w 181"/>
                  <a:gd name="T79" fmla="*/ 74 h 239"/>
                  <a:gd name="T80" fmla="*/ 60 w 181"/>
                  <a:gd name="T81" fmla="*/ 64 h 239"/>
                  <a:gd name="T82" fmla="*/ 68 w 181"/>
                  <a:gd name="T83" fmla="*/ 55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7 w 181"/>
                  <a:gd name="T91" fmla="*/ 43 h 239"/>
                  <a:gd name="T92" fmla="*/ 121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5" y="22"/>
                    </a:lnTo>
                    <a:lnTo>
                      <a:pt x="155" y="16"/>
                    </a:lnTo>
                    <a:lnTo>
                      <a:pt x="146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3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5" y="81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8" y="169"/>
                    </a:lnTo>
                    <a:lnTo>
                      <a:pt x="12" y="179"/>
                    </a:lnTo>
                    <a:lnTo>
                      <a:pt x="17" y="189"/>
                    </a:lnTo>
                    <a:lnTo>
                      <a:pt x="22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9" y="237"/>
                    </a:lnTo>
                    <a:lnTo>
                      <a:pt x="89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4" y="238"/>
                    </a:lnTo>
                    <a:lnTo>
                      <a:pt x="127" y="235"/>
                    </a:lnTo>
                    <a:lnTo>
                      <a:pt x="139" y="231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7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40" y="180"/>
                    </a:lnTo>
                    <a:lnTo>
                      <a:pt x="134" y="185"/>
                    </a:lnTo>
                    <a:lnTo>
                      <a:pt x="128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4" y="196"/>
                    </a:lnTo>
                    <a:lnTo>
                      <a:pt x="88" y="195"/>
                    </a:lnTo>
                    <a:lnTo>
                      <a:pt x="82" y="193"/>
                    </a:lnTo>
                    <a:lnTo>
                      <a:pt x="77" y="190"/>
                    </a:lnTo>
                    <a:lnTo>
                      <a:pt x="72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60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9"/>
                    </a:lnTo>
                    <a:lnTo>
                      <a:pt x="60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7" y="43"/>
                    </a:lnTo>
                    <a:lnTo>
                      <a:pt x="114" y="45"/>
                    </a:lnTo>
                    <a:lnTo>
                      <a:pt x="121" y="47"/>
                    </a:lnTo>
                    <a:lnTo>
                      <a:pt x="128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5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2" name="Freeform 21"/>
              <p:cNvSpPr>
                <a:spLocks noEditPoints="1"/>
              </p:cNvSpPr>
              <p:nvPr userDrawn="1"/>
            </p:nvSpPr>
            <p:spPr bwMode="auto">
              <a:xfrm>
                <a:off x="1077912" y="6149194"/>
                <a:ext cx="77788" cy="95250"/>
              </a:xfrm>
              <a:custGeom>
                <a:avLst/>
                <a:gdLst>
                  <a:gd name="T0" fmla="*/ 197 w 197"/>
                  <a:gd name="T1" fmla="*/ 115 h 239"/>
                  <a:gd name="T2" fmla="*/ 196 w 197"/>
                  <a:gd name="T3" fmla="*/ 92 h 239"/>
                  <a:gd name="T4" fmla="*/ 192 w 197"/>
                  <a:gd name="T5" fmla="*/ 71 h 239"/>
                  <a:gd name="T6" fmla="*/ 184 w 197"/>
                  <a:gd name="T7" fmla="*/ 52 h 239"/>
                  <a:gd name="T8" fmla="*/ 174 w 197"/>
                  <a:gd name="T9" fmla="*/ 34 h 239"/>
                  <a:gd name="T10" fmla="*/ 160 w 197"/>
                  <a:gd name="T11" fmla="*/ 20 h 239"/>
                  <a:gd name="T12" fmla="*/ 144 w 197"/>
                  <a:gd name="T13" fmla="*/ 10 h 239"/>
                  <a:gd name="T14" fmla="*/ 124 w 197"/>
                  <a:gd name="T15" fmla="*/ 3 h 239"/>
                  <a:gd name="T16" fmla="*/ 101 w 197"/>
                  <a:gd name="T17" fmla="*/ 0 h 239"/>
                  <a:gd name="T18" fmla="*/ 90 w 197"/>
                  <a:gd name="T19" fmla="*/ 1 h 239"/>
                  <a:gd name="T20" fmla="*/ 70 w 197"/>
                  <a:gd name="T21" fmla="*/ 5 h 239"/>
                  <a:gd name="T22" fmla="*/ 52 w 197"/>
                  <a:gd name="T23" fmla="*/ 12 h 239"/>
                  <a:gd name="T24" fmla="*/ 35 w 197"/>
                  <a:gd name="T25" fmla="*/ 24 h 239"/>
                  <a:gd name="T26" fmla="*/ 21 w 197"/>
                  <a:gd name="T27" fmla="*/ 39 h 239"/>
                  <a:gd name="T28" fmla="*/ 11 w 197"/>
                  <a:gd name="T29" fmla="*/ 58 h 239"/>
                  <a:gd name="T30" fmla="*/ 4 w 197"/>
                  <a:gd name="T31" fmla="*/ 80 h 239"/>
                  <a:gd name="T32" fmla="*/ 0 w 197"/>
                  <a:gd name="T33" fmla="*/ 106 h 239"/>
                  <a:gd name="T34" fmla="*/ 0 w 197"/>
                  <a:gd name="T35" fmla="*/ 120 h 239"/>
                  <a:gd name="T36" fmla="*/ 2 w 197"/>
                  <a:gd name="T37" fmla="*/ 148 h 239"/>
                  <a:gd name="T38" fmla="*/ 9 w 197"/>
                  <a:gd name="T39" fmla="*/ 172 h 239"/>
                  <a:gd name="T40" fmla="*/ 18 w 197"/>
                  <a:gd name="T41" fmla="*/ 193 h 239"/>
                  <a:gd name="T42" fmla="*/ 30 w 197"/>
                  <a:gd name="T43" fmla="*/ 209 h 239"/>
                  <a:gd name="T44" fmla="*/ 36 w 197"/>
                  <a:gd name="T45" fmla="*/ 215 h 239"/>
                  <a:gd name="T46" fmla="*/ 52 w 197"/>
                  <a:gd name="T47" fmla="*/ 226 h 239"/>
                  <a:gd name="T48" fmla="*/ 69 w 197"/>
                  <a:gd name="T49" fmla="*/ 234 h 239"/>
                  <a:gd name="T50" fmla="*/ 89 w 197"/>
                  <a:gd name="T51" fmla="*/ 238 h 239"/>
                  <a:gd name="T52" fmla="*/ 100 w 197"/>
                  <a:gd name="T53" fmla="*/ 239 h 239"/>
                  <a:gd name="T54" fmla="*/ 125 w 197"/>
                  <a:gd name="T55" fmla="*/ 237 h 239"/>
                  <a:gd name="T56" fmla="*/ 146 w 197"/>
                  <a:gd name="T57" fmla="*/ 231 h 239"/>
                  <a:gd name="T58" fmla="*/ 154 w 197"/>
                  <a:gd name="T59" fmla="*/ 227 h 239"/>
                  <a:gd name="T60" fmla="*/ 170 w 197"/>
                  <a:gd name="T61" fmla="*/ 216 h 239"/>
                  <a:gd name="T62" fmla="*/ 152 w 197"/>
                  <a:gd name="T63" fmla="*/ 180 h 239"/>
                  <a:gd name="T64" fmla="*/ 140 w 197"/>
                  <a:gd name="T65" fmla="*/ 188 h 239"/>
                  <a:gd name="T66" fmla="*/ 129 w 197"/>
                  <a:gd name="T67" fmla="*/ 193 h 239"/>
                  <a:gd name="T68" fmla="*/ 117 w 197"/>
                  <a:gd name="T69" fmla="*/ 197 h 239"/>
                  <a:gd name="T70" fmla="*/ 102 w 197"/>
                  <a:gd name="T71" fmla="*/ 198 h 239"/>
                  <a:gd name="T72" fmla="*/ 92 w 197"/>
                  <a:gd name="T73" fmla="*/ 197 h 239"/>
                  <a:gd name="T74" fmla="*/ 73 w 197"/>
                  <a:gd name="T75" fmla="*/ 190 h 239"/>
                  <a:gd name="T76" fmla="*/ 58 w 197"/>
                  <a:gd name="T77" fmla="*/ 175 h 239"/>
                  <a:gd name="T78" fmla="*/ 48 w 197"/>
                  <a:gd name="T79" fmla="*/ 151 h 239"/>
                  <a:gd name="T80" fmla="*/ 196 w 197"/>
                  <a:gd name="T81" fmla="*/ 136 h 239"/>
                  <a:gd name="T82" fmla="*/ 197 w 197"/>
                  <a:gd name="T83" fmla="*/ 127 h 239"/>
                  <a:gd name="T84" fmla="*/ 197 w 197"/>
                  <a:gd name="T85" fmla="*/ 115 h 239"/>
                  <a:gd name="T86" fmla="*/ 45 w 197"/>
                  <a:gd name="T87" fmla="*/ 98 h 239"/>
                  <a:gd name="T88" fmla="*/ 51 w 197"/>
                  <a:gd name="T89" fmla="*/ 74 h 239"/>
                  <a:gd name="T90" fmla="*/ 62 w 197"/>
                  <a:gd name="T91" fmla="*/ 56 h 239"/>
                  <a:gd name="T92" fmla="*/ 77 w 197"/>
                  <a:gd name="T93" fmla="*/ 45 h 239"/>
                  <a:gd name="T94" fmla="*/ 98 w 197"/>
                  <a:gd name="T95" fmla="*/ 41 h 239"/>
                  <a:gd name="T96" fmla="*/ 105 w 197"/>
                  <a:gd name="T97" fmla="*/ 41 h 239"/>
                  <a:gd name="T98" fmla="*/ 117 w 197"/>
                  <a:gd name="T99" fmla="*/ 44 h 239"/>
                  <a:gd name="T100" fmla="*/ 127 w 197"/>
                  <a:gd name="T101" fmla="*/ 48 h 239"/>
                  <a:gd name="T102" fmla="*/ 138 w 197"/>
                  <a:gd name="T103" fmla="*/ 58 h 239"/>
                  <a:gd name="T104" fmla="*/ 148 w 197"/>
                  <a:gd name="T105" fmla="*/ 76 h 239"/>
                  <a:gd name="T106" fmla="*/ 152 w 197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7" h="239">
                    <a:moveTo>
                      <a:pt x="197" y="115"/>
                    </a:moveTo>
                    <a:lnTo>
                      <a:pt x="197" y="115"/>
                    </a:lnTo>
                    <a:lnTo>
                      <a:pt x="197" y="104"/>
                    </a:lnTo>
                    <a:lnTo>
                      <a:pt x="196" y="92"/>
                    </a:lnTo>
                    <a:lnTo>
                      <a:pt x="194" y="81"/>
                    </a:lnTo>
                    <a:lnTo>
                      <a:pt x="192" y="71"/>
                    </a:lnTo>
                    <a:lnTo>
                      <a:pt x="188" y="61"/>
                    </a:lnTo>
                    <a:lnTo>
                      <a:pt x="184" y="52"/>
                    </a:lnTo>
                    <a:lnTo>
                      <a:pt x="179" y="43"/>
                    </a:lnTo>
                    <a:lnTo>
                      <a:pt x="174" y="34"/>
                    </a:lnTo>
                    <a:lnTo>
                      <a:pt x="167" y="27"/>
                    </a:lnTo>
                    <a:lnTo>
                      <a:pt x="160" y="20"/>
                    </a:lnTo>
                    <a:lnTo>
                      <a:pt x="152" y="14"/>
                    </a:lnTo>
                    <a:lnTo>
                      <a:pt x="144" y="10"/>
                    </a:lnTo>
                    <a:lnTo>
                      <a:pt x="134" y="6"/>
                    </a:lnTo>
                    <a:lnTo>
                      <a:pt x="124" y="3"/>
                    </a:lnTo>
                    <a:lnTo>
                      <a:pt x="113" y="1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0" y="8"/>
                    </a:lnTo>
                    <a:lnTo>
                      <a:pt x="52" y="12"/>
                    </a:lnTo>
                    <a:lnTo>
                      <a:pt x="42" y="18"/>
                    </a:lnTo>
                    <a:lnTo>
                      <a:pt x="35" y="24"/>
                    </a:lnTo>
                    <a:lnTo>
                      <a:pt x="28" y="31"/>
                    </a:lnTo>
                    <a:lnTo>
                      <a:pt x="21" y="39"/>
                    </a:lnTo>
                    <a:lnTo>
                      <a:pt x="16" y="48"/>
                    </a:lnTo>
                    <a:lnTo>
                      <a:pt x="11" y="58"/>
                    </a:lnTo>
                    <a:lnTo>
                      <a:pt x="7" y="68"/>
                    </a:lnTo>
                    <a:lnTo>
                      <a:pt x="4" y="80"/>
                    </a:lnTo>
                    <a:lnTo>
                      <a:pt x="2" y="92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4"/>
                    </a:lnTo>
                    <a:lnTo>
                      <a:pt x="2" y="148"/>
                    </a:lnTo>
                    <a:lnTo>
                      <a:pt x="5" y="160"/>
                    </a:lnTo>
                    <a:lnTo>
                      <a:pt x="9" y="172"/>
                    </a:lnTo>
                    <a:lnTo>
                      <a:pt x="13" y="183"/>
                    </a:lnTo>
                    <a:lnTo>
                      <a:pt x="18" y="193"/>
                    </a:lnTo>
                    <a:lnTo>
                      <a:pt x="24" y="201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0"/>
                    </a:lnTo>
                    <a:lnTo>
                      <a:pt x="52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8" y="236"/>
                    </a:lnTo>
                    <a:lnTo>
                      <a:pt x="89" y="238"/>
                    </a:lnTo>
                    <a:lnTo>
                      <a:pt x="100" y="239"/>
                    </a:lnTo>
                    <a:lnTo>
                      <a:pt x="100" y="239"/>
                    </a:lnTo>
                    <a:lnTo>
                      <a:pt x="113" y="238"/>
                    </a:lnTo>
                    <a:lnTo>
                      <a:pt x="125" y="237"/>
                    </a:lnTo>
                    <a:lnTo>
                      <a:pt x="136" y="234"/>
                    </a:lnTo>
                    <a:lnTo>
                      <a:pt x="146" y="231"/>
                    </a:lnTo>
                    <a:lnTo>
                      <a:pt x="146" y="231"/>
                    </a:lnTo>
                    <a:lnTo>
                      <a:pt x="154" y="227"/>
                    </a:lnTo>
                    <a:lnTo>
                      <a:pt x="162" y="222"/>
                    </a:lnTo>
                    <a:lnTo>
                      <a:pt x="170" y="216"/>
                    </a:lnTo>
                    <a:lnTo>
                      <a:pt x="179" y="209"/>
                    </a:lnTo>
                    <a:lnTo>
                      <a:pt x="152" y="180"/>
                    </a:lnTo>
                    <a:lnTo>
                      <a:pt x="152" y="180"/>
                    </a:lnTo>
                    <a:lnTo>
                      <a:pt x="140" y="188"/>
                    </a:lnTo>
                    <a:lnTo>
                      <a:pt x="129" y="193"/>
                    </a:lnTo>
                    <a:lnTo>
                      <a:pt x="129" y="193"/>
                    </a:lnTo>
                    <a:lnTo>
                      <a:pt x="123" y="195"/>
                    </a:lnTo>
                    <a:lnTo>
                      <a:pt x="117" y="197"/>
                    </a:lnTo>
                    <a:lnTo>
                      <a:pt x="110" y="198"/>
                    </a:lnTo>
                    <a:lnTo>
                      <a:pt x="102" y="198"/>
                    </a:lnTo>
                    <a:lnTo>
                      <a:pt x="102" y="198"/>
                    </a:lnTo>
                    <a:lnTo>
                      <a:pt x="92" y="197"/>
                    </a:lnTo>
                    <a:lnTo>
                      <a:pt x="82" y="195"/>
                    </a:lnTo>
                    <a:lnTo>
                      <a:pt x="73" y="190"/>
                    </a:lnTo>
                    <a:lnTo>
                      <a:pt x="65" y="183"/>
                    </a:lnTo>
                    <a:lnTo>
                      <a:pt x="58" y="175"/>
                    </a:lnTo>
                    <a:lnTo>
                      <a:pt x="52" y="164"/>
                    </a:lnTo>
                    <a:lnTo>
                      <a:pt x="48" y="151"/>
                    </a:lnTo>
                    <a:lnTo>
                      <a:pt x="44" y="136"/>
                    </a:lnTo>
                    <a:lnTo>
                      <a:pt x="196" y="136"/>
                    </a:lnTo>
                    <a:lnTo>
                      <a:pt x="196" y="136"/>
                    </a:lnTo>
                    <a:lnTo>
                      <a:pt x="197" y="127"/>
                    </a:lnTo>
                    <a:lnTo>
                      <a:pt x="197" y="115"/>
                    </a:lnTo>
                    <a:lnTo>
                      <a:pt x="197" y="115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8" y="85"/>
                    </a:lnTo>
                    <a:lnTo>
                      <a:pt x="51" y="74"/>
                    </a:lnTo>
                    <a:lnTo>
                      <a:pt x="56" y="64"/>
                    </a:lnTo>
                    <a:lnTo>
                      <a:pt x="62" y="56"/>
                    </a:lnTo>
                    <a:lnTo>
                      <a:pt x="69" y="49"/>
                    </a:lnTo>
                    <a:lnTo>
                      <a:pt x="77" y="45"/>
                    </a:lnTo>
                    <a:lnTo>
                      <a:pt x="87" y="42"/>
                    </a:lnTo>
                    <a:lnTo>
                      <a:pt x="98" y="41"/>
                    </a:lnTo>
                    <a:lnTo>
                      <a:pt x="98" y="41"/>
                    </a:lnTo>
                    <a:lnTo>
                      <a:pt x="105" y="41"/>
                    </a:lnTo>
                    <a:lnTo>
                      <a:pt x="111" y="42"/>
                    </a:lnTo>
                    <a:lnTo>
                      <a:pt x="117" y="44"/>
                    </a:lnTo>
                    <a:lnTo>
                      <a:pt x="122" y="45"/>
                    </a:lnTo>
                    <a:lnTo>
                      <a:pt x="127" y="48"/>
                    </a:lnTo>
                    <a:lnTo>
                      <a:pt x="131" y="51"/>
                    </a:lnTo>
                    <a:lnTo>
                      <a:pt x="138" y="58"/>
                    </a:lnTo>
                    <a:lnTo>
                      <a:pt x="144" y="66"/>
                    </a:lnTo>
                    <a:lnTo>
                      <a:pt x="148" y="76"/>
                    </a:lnTo>
                    <a:lnTo>
                      <a:pt x="151" y="87"/>
                    </a:lnTo>
                    <a:lnTo>
                      <a:pt x="152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3" name="Freeform 22"/>
              <p:cNvSpPr>
                <a:spLocks/>
              </p:cNvSpPr>
              <p:nvPr userDrawn="1"/>
            </p:nvSpPr>
            <p:spPr bwMode="auto">
              <a:xfrm>
                <a:off x="1169987" y="6149194"/>
                <a:ext cx="73025" cy="95250"/>
              </a:xfrm>
              <a:custGeom>
                <a:avLst/>
                <a:gdLst>
                  <a:gd name="T0" fmla="*/ 181 w 181"/>
                  <a:gd name="T1" fmla="*/ 39 h 239"/>
                  <a:gd name="T2" fmla="*/ 165 w 181"/>
                  <a:gd name="T3" fmla="*/ 22 h 239"/>
                  <a:gd name="T4" fmla="*/ 145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3 w 181"/>
                  <a:gd name="T19" fmla="*/ 40 h 239"/>
                  <a:gd name="T20" fmla="*/ 12 w 181"/>
                  <a:gd name="T21" fmla="*/ 59 h 239"/>
                  <a:gd name="T22" fmla="*/ 5 w 181"/>
                  <a:gd name="T23" fmla="*/ 81 h 239"/>
                  <a:gd name="T24" fmla="*/ 1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8 w 181"/>
                  <a:gd name="T31" fmla="*/ 169 h 239"/>
                  <a:gd name="T32" fmla="*/ 17 w 181"/>
                  <a:gd name="T33" fmla="*/ 189 h 239"/>
                  <a:gd name="T34" fmla="*/ 29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9 w 181"/>
                  <a:gd name="T41" fmla="*/ 237 h 239"/>
                  <a:gd name="T42" fmla="*/ 99 w 181"/>
                  <a:gd name="T43" fmla="*/ 239 h 239"/>
                  <a:gd name="T44" fmla="*/ 114 w 181"/>
                  <a:gd name="T45" fmla="*/ 238 h 239"/>
                  <a:gd name="T46" fmla="*/ 138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40 w 181"/>
                  <a:gd name="T55" fmla="*/ 180 h 239"/>
                  <a:gd name="T56" fmla="*/ 128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2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4 w 181"/>
                  <a:gd name="T79" fmla="*/ 74 h 239"/>
                  <a:gd name="T80" fmla="*/ 60 w 181"/>
                  <a:gd name="T81" fmla="*/ 64 h 239"/>
                  <a:gd name="T82" fmla="*/ 68 w 181"/>
                  <a:gd name="T83" fmla="*/ 55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7 w 181"/>
                  <a:gd name="T91" fmla="*/ 43 h 239"/>
                  <a:gd name="T92" fmla="*/ 121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5" y="22"/>
                    </a:lnTo>
                    <a:lnTo>
                      <a:pt x="155" y="16"/>
                    </a:lnTo>
                    <a:lnTo>
                      <a:pt x="145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3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5" y="81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8" y="169"/>
                    </a:lnTo>
                    <a:lnTo>
                      <a:pt x="12" y="179"/>
                    </a:lnTo>
                    <a:lnTo>
                      <a:pt x="17" y="189"/>
                    </a:lnTo>
                    <a:lnTo>
                      <a:pt x="22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9" y="237"/>
                    </a:lnTo>
                    <a:lnTo>
                      <a:pt x="89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4" y="238"/>
                    </a:lnTo>
                    <a:lnTo>
                      <a:pt x="127" y="235"/>
                    </a:lnTo>
                    <a:lnTo>
                      <a:pt x="138" y="231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7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40" y="180"/>
                    </a:lnTo>
                    <a:lnTo>
                      <a:pt x="134" y="185"/>
                    </a:lnTo>
                    <a:lnTo>
                      <a:pt x="128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4" y="196"/>
                    </a:lnTo>
                    <a:lnTo>
                      <a:pt x="88" y="195"/>
                    </a:lnTo>
                    <a:lnTo>
                      <a:pt x="82" y="193"/>
                    </a:lnTo>
                    <a:lnTo>
                      <a:pt x="77" y="190"/>
                    </a:lnTo>
                    <a:lnTo>
                      <a:pt x="72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60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9"/>
                    </a:lnTo>
                    <a:lnTo>
                      <a:pt x="60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7" y="43"/>
                    </a:lnTo>
                    <a:lnTo>
                      <a:pt x="114" y="45"/>
                    </a:lnTo>
                    <a:lnTo>
                      <a:pt x="121" y="47"/>
                    </a:lnTo>
                    <a:lnTo>
                      <a:pt x="128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5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4" name="Freeform 23"/>
              <p:cNvSpPr>
                <a:spLocks/>
              </p:cNvSpPr>
              <p:nvPr userDrawn="1"/>
            </p:nvSpPr>
            <p:spPr bwMode="auto">
              <a:xfrm>
                <a:off x="1252537" y="6150782"/>
                <a:ext cx="73025" cy="92075"/>
              </a:xfrm>
              <a:custGeom>
                <a:avLst/>
                <a:gdLst>
                  <a:gd name="T0" fmla="*/ 185 w 185"/>
                  <a:gd name="T1" fmla="*/ 39 h 229"/>
                  <a:gd name="T2" fmla="*/ 185 w 185"/>
                  <a:gd name="T3" fmla="*/ 0 h 229"/>
                  <a:gd name="T4" fmla="*/ 0 w 185"/>
                  <a:gd name="T5" fmla="*/ 0 h 229"/>
                  <a:gd name="T6" fmla="*/ 0 w 185"/>
                  <a:gd name="T7" fmla="*/ 39 h 229"/>
                  <a:gd name="T8" fmla="*/ 70 w 185"/>
                  <a:gd name="T9" fmla="*/ 39 h 229"/>
                  <a:gd name="T10" fmla="*/ 70 w 185"/>
                  <a:gd name="T11" fmla="*/ 229 h 229"/>
                  <a:gd name="T12" fmla="*/ 116 w 185"/>
                  <a:gd name="T13" fmla="*/ 229 h 229"/>
                  <a:gd name="T14" fmla="*/ 116 w 185"/>
                  <a:gd name="T15" fmla="*/ 39 h 229"/>
                  <a:gd name="T16" fmla="*/ 185 w 185"/>
                  <a:gd name="T17" fmla="*/ 3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5" h="229">
                    <a:moveTo>
                      <a:pt x="185" y="39"/>
                    </a:moveTo>
                    <a:lnTo>
                      <a:pt x="185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70" y="39"/>
                    </a:lnTo>
                    <a:lnTo>
                      <a:pt x="70" y="229"/>
                    </a:lnTo>
                    <a:lnTo>
                      <a:pt x="116" y="229"/>
                    </a:lnTo>
                    <a:lnTo>
                      <a:pt x="116" y="39"/>
                    </a:lnTo>
                    <a:lnTo>
                      <a:pt x="185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5" name="Freeform 24"/>
              <p:cNvSpPr>
                <a:spLocks noEditPoints="1"/>
              </p:cNvSpPr>
              <p:nvPr userDrawn="1"/>
            </p:nvSpPr>
            <p:spPr bwMode="auto">
              <a:xfrm>
                <a:off x="1338262" y="6150782"/>
                <a:ext cx="74613" cy="92075"/>
              </a:xfrm>
              <a:custGeom>
                <a:avLst/>
                <a:gdLst>
                  <a:gd name="T0" fmla="*/ 44 w 184"/>
                  <a:gd name="T1" fmla="*/ 0 h 229"/>
                  <a:gd name="T2" fmla="*/ 0 w 184"/>
                  <a:gd name="T3" fmla="*/ 0 h 229"/>
                  <a:gd name="T4" fmla="*/ 0 w 184"/>
                  <a:gd name="T5" fmla="*/ 229 h 229"/>
                  <a:gd name="T6" fmla="*/ 105 w 184"/>
                  <a:gd name="T7" fmla="*/ 229 h 229"/>
                  <a:gd name="T8" fmla="*/ 105 w 184"/>
                  <a:gd name="T9" fmla="*/ 229 h 229"/>
                  <a:gd name="T10" fmla="*/ 114 w 184"/>
                  <a:gd name="T11" fmla="*/ 229 h 229"/>
                  <a:gd name="T12" fmla="*/ 122 w 184"/>
                  <a:gd name="T13" fmla="*/ 228 h 229"/>
                  <a:gd name="T14" fmla="*/ 129 w 184"/>
                  <a:gd name="T15" fmla="*/ 226 h 229"/>
                  <a:gd name="T16" fmla="*/ 137 w 184"/>
                  <a:gd name="T17" fmla="*/ 224 h 229"/>
                  <a:gd name="T18" fmla="*/ 144 w 184"/>
                  <a:gd name="T19" fmla="*/ 222 h 229"/>
                  <a:gd name="T20" fmla="*/ 150 w 184"/>
                  <a:gd name="T21" fmla="*/ 218 h 229"/>
                  <a:gd name="T22" fmla="*/ 156 w 184"/>
                  <a:gd name="T23" fmla="*/ 214 h 229"/>
                  <a:gd name="T24" fmla="*/ 162 w 184"/>
                  <a:gd name="T25" fmla="*/ 210 h 229"/>
                  <a:gd name="T26" fmla="*/ 167 w 184"/>
                  <a:gd name="T27" fmla="*/ 205 h 229"/>
                  <a:gd name="T28" fmla="*/ 171 w 184"/>
                  <a:gd name="T29" fmla="*/ 200 h 229"/>
                  <a:gd name="T30" fmla="*/ 175 w 184"/>
                  <a:gd name="T31" fmla="*/ 193 h 229"/>
                  <a:gd name="T32" fmla="*/ 178 w 184"/>
                  <a:gd name="T33" fmla="*/ 187 h 229"/>
                  <a:gd name="T34" fmla="*/ 180 w 184"/>
                  <a:gd name="T35" fmla="*/ 180 h 229"/>
                  <a:gd name="T36" fmla="*/ 182 w 184"/>
                  <a:gd name="T37" fmla="*/ 172 h 229"/>
                  <a:gd name="T38" fmla="*/ 183 w 184"/>
                  <a:gd name="T39" fmla="*/ 163 h 229"/>
                  <a:gd name="T40" fmla="*/ 184 w 184"/>
                  <a:gd name="T41" fmla="*/ 154 h 229"/>
                  <a:gd name="T42" fmla="*/ 184 w 184"/>
                  <a:gd name="T43" fmla="*/ 154 h 229"/>
                  <a:gd name="T44" fmla="*/ 183 w 184"/>
                  <a:gd name="T45" fmla="*/ 146 h 229"/>
                  <a:gd name="T46" fmla="*/ 182 w 184"/>
                  <a:gd name="T47" fmla="*/ 137 h 229"/>
                  <a:gd name="T48" fmla="*/ 180 w 184"/>
                  <a:gd name="T49" fmla="*/ 130 h 229"/>
                  <a:gd name="T50" fmla="*/ 178 w 184"/>
                  <a:gd name="T51" fmla="*/ 122 h 229"/>
                  <a:gd name="T52" fmla="*/ 175 w 184"/>
                  <a:gd name="T53" fmla="*/ 116 h 229"/>
                  <a:gd name="T54" fmla="*/ 171 w 184"/>
                  <a:gd name="T55" fmla="*/ 110 h 229"/>
                  <a:gd name="T56" fmla="*/ 167 w 184"/>
                  <a:gd name="T57" fmla="*/ 104 h 229"/>
                  <a:gd name="T58" fmla="*/ 162 w 184"/>
                  <a:gd name="T59" fmla="*/ 99 h 229"/>
                  <a:gd name="T60" fmla="*/ 157 w 184"/>
                  <a:gd name="T61" fmla="*/ 95 h 229"/>
                  <a:gd name="T62" fmla="*/ 151 w 184"/>
                  <a:gd name="T63" fmla="*/ 91 h 229"/>
                  <a:gd name="T64" fmla="*/ 145 w 184"/>
                  <a:gd name="T65" fmla="*/ 88 h 229"/>
                  <a:gd name="T66" fmla="*/ 138 w 184"/>
                  <a:gd name="T67" fmla="*/ 85 h 229"/>
                  <a:gd name="T68" fmla="*/ 131 w 184"/>
                  <a:gd name="T69" fmla="*/ 83 h 229"/>
                  <a:gd name="T70" fmla="*/ 123 w 184"/>
                  <a:gd name="T71" fmla="*/ 82 h 229"/>
                  <a:gd name="T72" fmla="*/ 116 w 184"/>
                  <a:gd name="T73" fmla="*/ 81 h 229"/>
                  <a:gd name="T74" fmla="*/ 108 w 184"/>
                  <a:gd name="T75" fmla="*/ 81 h 229"/>
                  <a:gd name="T76" fmla="*/ 44 w 184"/>
                  <a:gd name="T77" fmla="*/ 81 h 229"/>
                  <a:gd name="T78" fmla="*/ 44 w 184"/>
                  <a:gd name="T79" fmla="*/ 0 h 229"/>
                  <a:gd name="T80" fmla="*/ 44 w 184"/>
                  <a:gd name="T81" fmla="*/ 192 h 229"/>
                  <a:gd name="T82" fmla="*/ 44 w 184"/>
                  <a:gd name="T83" fmla="*/ 118 h 229"/>
                  <a:gd name="T84" fmla="*/ 102 w 184"/>
                  <a:gd name="T85" fmla="*/ 118 h 229"/>
                  <a:gd name="T86" fmla="*/ 102 w 184"/>
                  <a:gd name="T87" fmla="*/ 118 h 229"/>
                  <a:gd name="T88" fmla="*/ 110 w 184"/>
                  <a:gd name="T89" fmla="*/ 118 h 229"/>
                  <a:gd name="T90" fmla="*/ 117 w 184"/>
                  <a:gd name="T91" fmla="*/ 120 h 229"/>
                  <a:gd name="T92" fmla="*/ 123 w 184"/>
                  <a:gd name="T93" fmla="*/ 123 h 229"/>
                  <a:gd name="T94" fmla="*/ 129 w 184"/>
                  <a:gd name="T95" fmla="*/ 127 h 229"/>
                  <a:gd name="T96" fmla="*/ 133 w 184"/>
                  <a:gd name="T97" fmla="*/ 133 h 229"/>
                  <a:gd name="T98" fmla="*/ 136 w 184"/>
                  <a:gd name="T99" fmla="*/ 139 h 229"/>
                  <a:gd name="T100" fmla="*/ 138 w 184"/>
                  <a:gd name="T101" fmla="*/ 146 h 229"/>
                  <a:gd name="T102" fmla="*/ 139 w 184"/>
                  <a:gd name="T103" fmla="*/ 155 h 229"/>
                  <a:gd name="T104" fmla="*/ 139 w 184"/>
                  <a:gd name="T105" fmla="*/ 155 h 229"/>
                  <a:gd name="T106" fmla="*/ 138 w 184"/>
                  <a:gd name="T107" fmla="*/ 163 h 229"/>
                  <a:gd name="T108" fmla="*/ 136 w 184"/>
                  <a:gd name="T109" fmla="*/ 170 h 229"/>
                  <a:gd name="T110" fmla="*/ 133 w 184"/>
                  <a:gd name="T111" fmla="*/ 177 h 229"/>
                  <a:gd name="T112" fmla="*/ 129 w 184"/>
                  <a:gd name="T113" fmla="*/ 182 h 229"/>
                  <a:gd name="T114" fmla="*/ 124 w 184"/>
                  <a:gd name="T115" fmla="*/ 186 h 229"/>
                  <a:gd name="T116" fmla="*/ 118 w 184"/>
                  <a:gd name="T117" fmla="*/ 189 h 229"/>
                  <a:gd name="T118" fmla="*/ 110 w 184"/>
                  <a:gd name="T119" fmla="*/ 191 h 229"/>
                  <a:gd name="T120" fmla="*/ 102 w 184"/>
                  <a:gd name="T121" fmla="*/ 192 h 229"/>
                  <a:gd name="T122" fmla="*/ 44 w 184"/>
                  <a:gd name="T123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4" h="229">
                    <a:moveTo>
                      <a:pt x="44" y="0"/>
                    </a:moveTo>
                    <a:lnTo>
                      <a:pt x="0" y="0"/>
                    </a:lnTo>
                    <a:lnTo>
                      <a:pt x="0" y="229"/>
                    </a:lnTo>
                    <a:lnTo>
                      <a:pt x="105" y="229"/>
                    </a:lnTo>
                    <a:lnTo>
                      <a:pt x="105" y="229"/>
                    </a:lnTo>
                    <a:lnTo>
                      <a:pt x="114" y="229"/>
                    </a:lnTo>
                    <a:lnTo>
                      <a:pt x="122" y="228"/>
                    </a:lnTo>
                    <a:lnTo>
                      <a:pt x="129" y="226"/>
                    </a:lnTo>
                    <a:lnTo>
                      <a:pt x="137" y="224"/>
                    </a:lnTo>
                    <a:lnTo>
                      <a:pt x="144" y="222"/>
                    </a:lnTo>
                    <a:lnTo>
                      <a:pt x="150" y="218"/>
                    </a:lnTo>
                    <a:lnTo>
                      <a:pt x="156" y="214"/>
                    </a:lnTo>
                    <a:lnTo>
                      <a:pt x="162" y="210"/>
                    </a:lnTo>
                    <a:lnTo>
                      <a:pt x="167" y="205"/>
                    </a:lnTo>
                    <a:lnTo>
                      <a:pt x="171" y="200"/>
                    </a:lnTo>
                    <a:lnTo>
                      <a:pt x="175" y="193"/>
                    </a:lnTo>
                    <a:lnTo>
                      <a:pt x="178" y="187"/>
                    </a:lnTo>
                    <a:lnTo>
                      <a:pt x="180" y="180"/>
                    </a:lnTo>
                    <a:lnTo>
                      <a:pt x="182" y="172"/>
                    </a:lnTo>
                    <a:lnTo>
                      <a:pt x="183" y="163"/>
                    </a:lnTo>
                    <a:lnTo>
                      <a:pt x="184" y="154"/>
                    </a:lnTo>
                    <a:lnTo>
                      <a:pt x="184" y="154"/>
                    </a:lnTo>
                    <a:lnTo>
                      <a:pt x="183" y="146"/>
                    </a:lnTo>
                    <a:lnTo>
                      <a:pt x="182" y="137"/>
                    </a:lnTo>
                    <a:lnTo>
                      <a:pt x="180" y="130"/>
                    </a:lnTo>
                    <a:lnTo>
                      <a:pt x="178" y="122"/>
                    </a:lnTo>
                    <a:lnTo>
                      <a:pt x="175" y="116"/>
                    </a:lnTo>
                    <a:lnTo>
                      <a:pt x="171" y="110"/>
                    </a:lnTo>
                    <a:lnTo>
                      <a:pt x="167" y="104"/>
                    </a:lnTo>
                    <a:lnTo>
                      <a:pt x="162" y="99"/>
                    </a:lnTo>
                    <a:lnTo>
                      <a:pt x="157" y="95"/>
                    </a:lnTo>
                    <a:lnTo>
                      <a:pt x="151" y="91"/>
                    </a:lnTo>
                    <a:lnTo>
                      <a:pt x="145" y="88"/>
                    </a:lnTo>
                    <a:lnTo>
                      <a:pt x="138" y="85"/>
                    </a:lnTo>
                    <a:lnTo>
                      <a:pt x="131" y="83"/>
                    </a:lnTo>
                    <a:lnTo>
                      <a:pt x="123" y="82"/>
                    </a:lnTo>
                    <a:lnTo>
                      <a:pt x="116" y="81"/>
                    </a:lnTo>
                    <a:lnTo>
                      <a:pt x="108" y="81"/>
                    </a:lnTo>
                    <a:lnTo>
                      <a:pt x="44" y="81"/>
                    </a:lnTo>
                    <a:lnTo>
                      <a:pt x="44" y="0"/>
                    </a:lnTo>
                    <a:close/>
                    <a:moveTo>
                      <a:pt x="44" y="192"/>
                    </a:moveTo>
                    <a:lnTo>
                      <a:pt x="44" y="118"/>
                    </a:lnTo>
                    <a:lnTo>
                      <a:pt x="102" y="118"/>
                    </a:lnTo>
                    <a:lnTo>
                      <a:pt x="102" y="118"/>
                    </a:lnTo>
                    <a:lnTo>
                      <a:pt x="110" y="118"/>
                    </a:lnTo>
                    <a:lnTo>
                      <a:pt x="117" y="120"/>
                    </a:lnTo>
                    <a:lnTo>
                      <a:pt x="123" y="123"/>
                    </a:lnTo>
                    <a:lnTo>
                      <a:pt x="129" y="127"/>
                    </a:lnTo>
                    <a:lnTo>
                      <a:pt x="133" y="133"/>
                    </a:lnTo>
                    <a:lnTo>
                      <a:pt x="136" y="139"/>
                    </a:lnTo>
                    <a:lnTo>
                      <a:pt x="138" y="146"/>
                    </a:lnTo>
                    <a:lnTo>
                      <a:pt x="139" y="155"/>
                    </a:lnTo>
                    <a:lnTo>
                      <a:pt x="139" y="155"/>
                    </a:lnTo>
                    <a:lnTo>
                      <a:pt x="138" y="163"/>
                    </a:lnTo>
                    <a:lnTo>
                      <a:pt x="136" y="170"/>
                    </a:lnTo>
                    <a:lnTo>
                      <a:pt x="133" y="177"/>
                    </a:lnTo>
                    <a:lnTo>
                      <a:pt x="129" y="182"/>
                    </a:lnTo>
                    <a:lnTo>
                      <a:pt x="124" y="186"/>
                    </a:lnTo>
                    <a:lnTo>
                      <a:pt x="118" y="189"/>
                    </a:lnTo>
                    <a:lnTo>
                      <a:pt x="110" y="191"/>
                    </a:lnTo>
                    <a:lnTo>
                      <a:pt x="102" y="192"/>
                    </a:lnTo>
                    <a:lnTo>
                      <a:pt x="44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6" name="Freeform 25"/>
              <p:cNvSpPr>
                <a:spLocks noEditPoints="1"/>
              </p:cNvSpPr>
              <p:nvPr userDrawn="1"/>
            </p:nvSpPr>
            <p:spPr bwMode="auto">
              <a:xfrm>
                <a:off x="1474787" y="6150782"/>
                <a:ext cx="73025" cy="92075"/>
              </a:xfrm>
              <a:custGeom>
                <a:avLst/>
                <a:gdLst>
                  <a:gd name="T0" fmla="*/ 0 w 185"/>
                  <a:gd name="T1" fmla="*/ 229 h 229"/>
                  <a:gd name="T2" fmla="*/ 106 w 185"/>
                  <a:gd name="T3" fmla="*/ 229 h 229"/>
                  <a:gd name="T4" fmla="*/ 132 w 185"/>
                  <a:gd name="T5" fmla="*/ 227 h 229"/>
                  <a:gd name="T6" fmla="*/ 147 w 185"/>
                  <a:gd name="T7" fmla="*/ 222 h 229"/>
                  <a:gd name="T8" fmla="*/ 159 w 185"/>
                  <a:gd name="T9" fmla="*/ 215 h 229"/>
                  <a:gd name="T10" fmla="*/ 169 w 185"/>
                  <a:gd name="T11" fmla="*/ 207 h 229"/>
                  <a:gd name="T12" fmla="*/ 177 w 185"/>
                  <a:gd name="T13" fmla="*/ 196 h 229"/>
                  <a:gd name="T14" fmla="*/ 182 w 185"/>
                  <a:gd name="T15" fmla="*/ 182 h 229"/>
                  <a:gd name="T16" fmla="*/ 184 w 185"/>
                  <a:gd name="T17" fmla="*/ 167 h 229"/>
                  <a:gd name="T18" fmla="*/ 185 w 185"/>
                  <a:gd name="T19" fmla="*/ 159 h 229"/>
                  <a:gd name="T20" fmla="*/ 181 w 185"/>
                  <a:gd name="T21" fmla="*/ 138 h 229"/>
                  <a:gd name="T22" fmla="*/ 173 w 185"/>
                  <a:gd name="T23" fmla="*/ 122 h 229"/>
                  <a:gd name="T24" fmla="*/ 161 w 185"/>
                  <a:gd name="T25" fmla="*/ 112 h 229"/>
                  <a:gd name="T26" fmla="*/ 148 w 185"/>
                  <a:gd name="T27" fmla="*/ 106 h 229"/>
                  <a:gd name="T28" fmla="*/ 154 w 185"/>
                  <a:gd name="T29" fmla="*/ 102 h 229"/>
                  <a:gd name="T30" fmla="*/ 165 w 185"/>
                  <a:gd name="T31" fmla="*/ 94 h 229"/>
                  <a:gd name="T32" fmla="*/ 173 w 185"/>
                  <a:gd name="T33" fmla="*/ 82 h 229"/>
                  <a:gd name="T34" fmla="*/ 177 w 185"/>
                  <a:gd name="T35" fmla="*/ 68 h 229"/>
                  <a:gd name="T36" fmla="*/ 178 w 185"/>
                  <a:gd name="T37" fmla="*/ 60 h 229"/>
                  <a:gd name="T38" fmla="*/ 176 w 185"/>
                  <a:gd name="T39" fmla="*/ 46 h 229"/>
                  <a:gd name="T40" fmla="*/ 173 w 185"/>
                  <a:gd name="T41" fmla="*/ 34 h 229"/>
                  <a:gd name="T42" fmla="*/ 167 w 185"/>
                  <a:gd name="T43" fmla="*/ 24 h 229"/>
                  <a:gd name="T44" fmla="*/ 160 w 185"/>
                  <a:gd name="T45" fmla="*/ 15 h 229"/>
                  <a:gd name="T46" fmla="*/ 150 w 185"/>
                  <a:gd name="T47" fmla="*/ 9 h 229"/>
                  <a:gd name="T48" fmla="*/ 126 w 185"/>
                  <a:gd name="T49" fmla="*/ 1 h 229"/>
                  <a:gd name="T50" fmla="*/ 0 w 185"/>
                  <a:gd name="T51" fmla="*/ 0 h 229"/>
                  <a:gd name="T52" fmla="*/ 45 w 185"/>
                  <a:gd name="T53" fmla="*/ 37 h 229"/>
                  <a:gd name="T54" fmla="*/ 104 w 185"/>
                  <a:gd name="T55" fmla="*/ 37 h 229"/>
                  <a:gd name="T56" fmla="*/ 117 w 185"/>
                  <a:gd name="T57" fmla="*/ 39 h 229"/>
                  <a:gd name="T58" fmla="*/ 126 w 185"/>
                  <a:gd name="T59" fmla="*/ 45 h 229"/>
                  <a:gd name="T60" fmla="*/ 131 w 185"/>
                  <a:gd name="T61" fmla="*/ 53 h 229"/>
                  <a:gd name="T62" fmla="*/ 133 w 185"/>
                  <a:gd name="T63" fmla="*/ 64 h 229"/>
                  <a:gd name="T64" fmla="*/ 132 w 185"/>
                  <a:gd name="T65" fmla="*/ 69 h 229"/>
                  <a:gd name="T66" fmla="*/ 129 w 185"/>
                  <a:gd name="T67" fmla="*/ 78 h 229"/>
                  <a:gd name="T68" fmla="*/ 122 w 185"/>
                  <a:gd name="T69" fmla="*/ 85 h 229"/>
                  <a:gd name="T70" fmla="*/ 111 w 185"/>
                  <a:gd name="T71" fmla="*/ 89 h 229"/>
                  <a:gd name="T72" fmla="*/ 45 w 185"/>
                  <a:gd name="T73" fmla="*/ 90 h 229"/>
                  <a:gd name="T74" fmla="*/ 45 w 185"/>
                  <a:gd name="T75" fmla="*/ 127 h 229"/>
                  <a:gd name="T76" fmla="*/ 105 w 185"/>
                  <a:gd name="T77" fmla="*/ 127 h 229"/>
                  <a:gd name="T78" fmla="*/ 120 w 185"/>
                  <a:gd name="T79" fmla="*/ 129 h 229"/>
                  <a:gd name="T80" fmla="*/ 131 w 185"/>
                  <a:gd name="T81" fmla="*/ 136 h 229"/>
                  <a:gd name="T82" fmla="*/ 137 w 185"/>
                  <a:gd name="T83" fmla="*/ 146 h 229"/>
                  <a:gd name="T84" fmla="*/ 140 w 185"/>
                  <a:gd name="T85" fmla="*/ 160 h 229"/>
                  <a:gd name="T86" fmla="*/ 139 w 185"/>
                  <a:gd name="T87" fmla="*/ 167 h 229"/>
                  <a:gd name="T88" fmla="*/ 135 w 185"/>
                  <a:gd name="T89" fmla="*/ 178 h 229"/>
                  <a:gd name="T90" fmla="*/ 127 w 185"/>
                  <a:gd name="T91" fmla="*/ 187 h 229"/>
                  <a:gd name="T92" fmla="*/ 113 w 185"/>
                  <a:gd name="T93" fmla="*/ 191 h 229"/>
                  <a:gd name="T94" fmla="*/ 45 w 185"/>
                  <a:gd name="T95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5" h="229">
                    <a:moveTo>
                      <a:pt x="0" y="0"/>
                    </a:moveTo>
                    <a:lnTo>
                      <a:pt x="0" y="229"/>
                    </a:lnTo>
                    <a:lnTo>
                      <a:pt x="106" y="229"/>
                    </a:lnTo>
                    <a:lnTo>
                      <a:pt x="106" y="229"/>
                    </a:lnTo>
                    <a:lnTo>
                      <a:pt x="124" y="228"/>
                    </a:lnTo>
                    <a:lnTo>
                      <a:pt x="132" y="227"/>
                    </a:lnTo>
                    <a:lnTo>
                      <a:pt x="140" y="225"/>
                    </a:lnTo>
                    <a:lnTo>
                      <a:pt x="147" y="222"/>
                    </a:lnTo>
                    <a:lnTo>
                      <a:pt x="153" y="219"/>
                    </a:lnTo>
                    <a:lnTo>
                      <a:pt x="159" y="215"/>
                    </a:lnTo>
                    <a:lnTo>
                      <a:pt x="164" y="211"/>
                    </a:lnTo>
                    <a:lnTo>
                      <a:pt x="169" y="207"/>
                    </a:lnTo>
                    <a:lnTo>
                      <a:pt x="173" y="201"/>
                    </a:lnTo>
                    <a:lnTo>
                      <a:pt x="177" y="196"/>
                    </a:lnTo>
                    <a:lnTo>
                      <a:pt x="179" y="189"/>
                    </a:lnTo>
                    <a:lnTo>
                      <a:pt x="182" y="182"/>
                    </a:lnTo>
                    <a:lnTo>
                      <a:pt x="183" y="175"/>
                    </a:lnTo>
                    <a:lnTo>
                      <a:pt x="184" y="167"/>
                    </a:lnTo>
                    <a:lnTo>
                      <a:pt x="185" y="159"/>
                    </a:lnTo>
                    <a:lnTo>
                      <a:pt x="185" y="159"/>
                    </a:lnTo>
                    <a:lnTo>
                      <a:pt x="184" y="148"/>
                    </a:lnTo>
                    <a:lnTo>
                      <a:pt x="181" y="138"/>
                    </a:lnTo>
                    <a:lnTo>
                      <a:pt x="178" y="129"/>
                    </a:lnTo>
                    <a:lnTo>
                      <a:pt x="173" y="122"/>
                    </a:lnTo>
                    <a:lnTo>
                      <a:pt x="167" y="116"/>
                    </a:lnTo>
                    <a:lnTo>
                      <a:pt x="161" y="112"/>
                    </a:lnTo>
                    <a:lnTo>
                      <a:pt x="154" y="108"/>
                    </a:lnTo>
                    <a:lnTo>
                      <a:pt x="148" y="106"/>
                    </a:lnTo>
                    <a:lnTo>
                      <a:pt x="148" y="106"/>
                    </a:lnTo>
                    <a:lnTo>
                      <a:pt x="154" y="102"/>
                    </a:lnTo>
                    <a:lnTo>
                      <a:pt x="159" y="98"/>
                    </a:lnTo>
                    <a:lnTo>
                      <a:pt x="165" y="94"/>
                    </a:lnTo>
                    <a:lnTo>
                      <a:pt x="169" y="88"/>
                    </a:lnTo>
                    <a:lnTo>
                      <a:pt x="173" y="82"/>
                    </a:lnTo>
                    <a:lnTo>
                      <a:pt x="175" y="76"/>
                    </a:lnTo>
                    <a:lnTo>
                      <a:pt x="177" y="68"/>
                    </a:lnTo>
                    <a:lnTo>
                      <a:pt x="178" y="60"/>
                    </a:lnTo>
                    <a:lnTo>
                      <a:pt x="178" y="60"/>
                    </a:lnTo>
                    <a:lnTo>
                      <a:pt x="177" y="53"/>
                    </a:lnTo>
                    <a:lnTo>
                      <a:pt x="176" y="46"/>
                    </a:lnTo>
                    <a:lnTo>
                      <a:pt x="175" y="40"/>
                    </a:lnTo>
                    <a:lnTo>
                      <a:pt x="173" y="34"/>
                    </a:lnTo>
                    <a:lnTo>
                      <a:pt x="170" y="29"/>
                    </a:lnTo>
                    <a:lnTo>
                      <a:pt x="167" y="24"/>
                    </a:lnTo>
                    <a:lnTo>
                      <a:pt x="164" y="19"/>
                    </a:lnTo>
                    <a:lnTo>
                      <a:pt x="160" y="15"/>
                    </a:lnTo>
                    <a:lnTo>
                      <a:pt x="155" y="12"/>
                    </a:lnTo>
                    <a:lnTo>
                      <a:pt x="150" y="9"/>
                    </a:lnTo>
                    <a:lnTo>
                      <a:pt x="139" y="4"/>
                    </a:lnTo>
                    <a:lnTo>
                      <a:pt x="126" y="1"/>
                    </a:lnTo>
                    <a:lnTo>
                      <a:pt x="112" y="0"/>
                    </a:lnTo>
                    <a:lnTo>
                      <a:pt x="0" y="0"/>
                    </a:lnTo>
                    <a:close/>
                    <a:moveTo>
                      <a:pt x="45" y="90"/>
                    </a:moveTo>
                    <a:lnTo>
                      <a:pt x="45" y="37"/>
                    </a:lnTo>
                    <a:lnTo>
                      <a:pt x="104" y="37"/>
                    </a:lnTo>
                    <a:lnTo>
                      <a:pt x="104" y="37"/>
                    </a:lnTo>
                    <a:lnTo>
                      <a:pt x="112" y="38"/>
                    </a:lnTo>
                    <a:lnTo>
                      <a:pt x="117" y="39"/>
                    </a:lnTo>
                    <a:lnTo>
                      <a:pt x="122" y="42"/>
                    </a:lnTo>
                    <a:lnTo>
                      <a:pt x="126" y="45"/>
                    </a:lnTo>
                    <a:lnTo>
                      <a:pt x="129" y="49"/>
                    </a:lnTo>
                    <a:lnTo>
                      <a:pt x="131" y="53"/>
                    </a:lnTo>
                    <a:lnTo>
                      <a:pt x="132" y="58"/>
                    </a:lnTo>
                    <a:lnTo>
                      <a:pt x="133" y="64"/>
                    </a:lnTo>
                    <a:lnTo>
                      <a:pt x="133" y="64"/>
                    </a:lnTo>
                    <a:lnTo>
                      <a:pt x="132" y="69"/>
                    </a:lnTo>
                    <a:lnTo>
                      <a:pt x="131" y="74"/>
                    </a:lnTo>
                    <a:lnTo>
                      <a:pt x="129" y="78"/>
                    </a:lnTo>
                    <a:lnTo>
                      <a:pt x="126" y="82"/>
                    </a:lnTo>
                    <a:lnTo>
                      <a:pt x="122" y="85"/>
                    </a:lnTo>
                    <a:lnTo>
                      <a:pt x="117" y="88"/>
                    </a:lnTo>
                    <a:lnTo>
                      <a:pt x="111" y="89"/>
                    </a:lnTo>
                    <a:lnTo>
                      <a:pt x="104" y="90"/>
                    </a:lnTo>
                    <a:lnTo>
                      <a:pt x="45" y="90"/>
                    </a:lnTo>
                    <a:close/>
                    <a:moveTo>
                      <a:pt x="45" y="192"/>
                    </a:moveTo>
                    <a:lnTo>
                      <a:pt x="45" y="127"/>
                    </a:lnTo>
                    <a:lnTo>
                      <a:pt x="105" y="127"/>
                    </a:lnTo>
                    <a:lnTo>
                      <a:pt x="105" y="127"/>
                    </a:lnTo>
                    <a:lnTo>
                      <a:pt x="113" y="128"/>
                    </a:lnTo>
                    <a:lnTo>
                      <a:pt x="120" y="129"/>
                    </a:lnTo>
                    <a:lnTo>
                      <a:pt x="126" y="132"/>
                    </a:lnTo>
                    <a:lnTo>
                      <a:pt x="131" y="136"/>
                    </a:lnTo>
                    <a:lnTo>
                      <a:pt x="135" y="141"/>
                    </a:lnTo>
                    <a:lnTo>
                      <a:pt x="137" y="146"/>
                    </a:lnTo>
                    <a:lnTo>
                      <a:pt x="139" y="153"/>
                    </a:lnTo>
                    <a:lnTo>
                      <a:pt x="140" y="160"/>
                    </a:lnTo>
                    <a:lnTo>
                      <a:pt x="140" y="160"/>
                    </a:lnTo>
                    <a:lnTo>
                      <a:pt x="139" y="167"/>
                    </a:lnTo>
                    <a:lnTo>
                      <a:pt x="138" y="173"/>
                    </a:lnTo>
                    <a:lnTo>
                      <a:pt x="135" y="178"/>
                    </a:lnTo>
                    <a:lnTo>
                      <a:pt x="132" y="183"/>
                    </a:lnTo>
                    <a:lnTo>
                      <a:pt x="127" y="187"/>
                    </a:lnTo>
                    <a:lnTo>
                      <a:pt x="121" y="190"/>
                    </a:lnTo>
                    <a:lnTo>
                      <a:pt x="113" y="191"/>
                    </a:lnTo>
                    <a:lnTo>
                      <a:pt x="104" y="192"/>
                    </a:lnTo>
                    <a:lnTo>
                      <a:pt x="45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7" name="Freeform 26"/>
              <p:cNvSpPr>
                <a:spLocks noEditPoints="1"/>
              </p:cNvSpPr>
              <p:nvPr userDrawn="1"/>
            </p:nvSpPr>
            <p:spPr bwMode="auto">
              <a:xfrm>
                <a:off x="1560512" y="6149194"/>
                <a:ext cx="80963" cy="95250"/>
              </a:xfrm>
              <a:custGeom>
                <a:avLst/>
                <a:gdLst>
                  <a:gd name="T0" fmla="*/ 203 w 204"/>
                  <a:gd name="T1" fmla="*/ 105 h 239"/>
                  <a:gd name="T2" fmla="*/ 196 w 204"/>
                  <a:gd name="T3" fmla="*/ 70 h 239"/>
                  <a:gd name="T4" fmla="*/ 181 w 204"/>
                  <a:gd name="T5" fmla="*/ 41 h 239"/>
                  <a:gd name="T6" fmla="*/ 160 w 204"/>
                  <a:gd name="T7" fmla="*/ 19 h 239"/>
                  <a:gd name="T8" fmla="*/ 133 w 204"/>
                  <a:gd name="T9" fmla="*/ 5 h 239"/>
                  <a:gd name="T10" fmla="*/ 102 w 204"/>
                  <a:gd name="T11" fmla="*/ 0 h 239"/>
                  <a:gd name="T12" fmla="*/ 81 w 204"/>
                  <a:gd name="T13" fmla="*/ 2 h 239"/>
                  <a:gd name="T14" fmla="*/ 53 w 204"/>
                  <a:gd name="T15" fmla="*/ 13 h 239"/>
                  <a:gd name="T16" fmla="*/ 29 w 204"/>
                  <a:gd name="T17" fmla="*/ 32 h 239"/>
                  <a:gd name="T18" fmla="*/ 12 w 204"/>
                  <a:gd name="T19" fmla="*/ 59 h 239"/>
                  <a:gd name="T20" fmla="*/ 2 w 204"/>
                  <a:gd name="T21" fmla="*/ 93 h 239"/>
                  <a:gd name="T22" fmla="*/ 0 w 204"/>
                  <a:gd name="T23" fmla="*/ 120 h 239"/>
                  <a:gd name="T24" fmla="*/ 4 w 204"/>
                  <a:gd name="T25" fmla="*/ 157 h 239"/>
                  <a:gd name="T26" fmla="*/ 16 w 204"/>
                  <a:gd name="T27" fmla="*/ 189 h 239"/>
                  <a:gd name="T28" fmla="*/ 36 w 204"/>
                  <a:gd name="T29" fmla="*/ 214 h 239"/>
                  <a:gd name="T30" fmla="*/ 60 w 204"/>
                  <a:gd name="T31" fmla="*/ 230 h 239"/>
                  <a:gd name="T32" fmla="*/ 90 w 204"/>
                  <a:gd name="T33" fmla="*/ 238 h 239"/>
                  <a:gd name="T34" fmla="*/ 111 w 204"/>
                  <a:gd name="T35" fmla="*/ 238 h 239"/>
                  <a:gd name="T36" fmla="*/ 141 w 204"/>
                  <a:gd name="T37" fmla="*/ 231 h 239"/>
                  <a:gd name="T38" fmla="*/ 167 w 204"/>
                  <a:gd name="T39" fmla="*/ 214 h 239"/>
                  <a:gd name="T40" fmla="*/ 187 w 204"/>
                  <a:gd name="T41" fmla="*/ 190 h 239"/>
                  <a:gd name="T42" fmla="*/ 199 w 204"/>
                  <a:gd name="T43" fmla="*/ 158 h 239"/>
                  <a:gd name="T44" fmla="*/ 204 w 204"/>
                  <a:gd name="T45" fmla="*/ 119 h 239"/>
                  <a:gd name="T46" fmla="*/ 158 w 204"/>
                  <a:gd name="T47" fmla="*/ 120 h 239"/>
                  <a:gd name="T48" fmla="*/ 150 w 204"/>
                  <a:gd name="T49" fmla="*/ 162 h 239"/>
                  <a:gd name="T50" fmla="*/ 135 w 204"/>
                  <a:gd name="T51" fmla="*/ 183 h 239"/>
                  <a:gd name="T52" fmla="*/ 120 w 204"/>
                  <a:gd name="T53" fmla="*/ 193 h 239"/>
                  <a:gd name="T54" fmla="*/ 102 w 204"/>
                  <a:gd name="T55" fmla="*/ 196 h 239"/>
                  <a:gd name="T56" fmla="*/ 90 w 204"/>
                  <a:gd name="T57" fmla="*/ 195 h 239"/>
                  <a:gd name="T58" fmla="*/ 74 w 204"/>
                  <a:gd name="T59" fmla="*/ 188 h 239"/>
                  <a:gd name="T60" fmla="*/ 61 w 204"/>
                  <a:gd name="T61" fmla="*/ 176 h 239"/>
                  <a:gd name="T62" fmla="*/ 52 w 204"/>
                  <a:gd name="T63" fmla="*/ 159 h 239"/>
                  <a:gd name="T64" fmla="*/ 45 w 204"/>
                  <a:gd name="T65" fmla="*/ 119 h 239"/>
                  <a:gd name="T66" fmla="*/ 49 w 204"/>
                  <a:gd name="T67" fmla="*/ 88 h 239"/>
                  <a:gd name="T68" fmla="*/ 60 w 204"/>
                  <a:gd name="T69" fmla="*/ 64 h 239"/>
                  <a:gd name="T70" fmla="*/ 72 w 204"/>
                  <a:gd name="T71" fmla="*/ 51 h 239"/>
                  <a:gd name="T72" fmla="*/ 88 w 204"/>
                  <a:gd name="T73" fmla="*/ 44 h 239"/>
                  <a:gd name="T74" fmla="*/ 100 w 204"/>
                  <a:gd name="T75" fmla="*/ 43 h 239"/>
                  <a:gd name="T76" fmla="*/ 119 w 204"/>
                  <a:gd name="T77" fmla="*/ 46 h 239"/>
                  <a:gd name="T78" fmla="*/ 134 w 204"/>
                  <a:gd name="T79" fmla="*/ 55 h 239"/>
                  <a:gd name="T80" fmla="*/ 146 w 204"/>
                  <a:gd name="T81" fmla="*/ 69 h 239"/>
                  <a:gd name="T82" fmla="*/ 154 w 204"/>
                  <a:gd name="T83" fmla="*/ 88 h 239"/>
                  <a:gd name="T84" fmla="*/ 158 w 204"/>
                  <a:gd name="T85" fmla="*/ 12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4" h="239">
                    <a:moveTo>
                      <a:pt x="204" y="119"/>
                    </a:moveTo>
                    <a:lnTo>
                      <a:pt x="204" y="119"/>
                    </a:lnTo>
                    <a:lnTo>
                      <a:pt x="203" y="105"/>
                    </a:lnTo>
                    <a:lnTo>
                      <a:pt x="202" y="93"/>
                    </a:lnTo>
                    <a:lnTo>
                      <a:pt x="199" y="81"/>
                    </a:lnTo>
                    <a:lnTo>
                      <a:pt x="196" y="70"/>
                    </a:lnTo>
                    <a:lnTo>
                      <a:pt x="192" y="59"/>
                    </a:lnTo>
                    <a:lnTo>
                      <a:pt x="187" y="50"/>
                    </a:lnTo>
                    <a:lnTo>
                      <a:pt x="181" y="41"/>
                    </a:lnTo>
                    <a:lnTo>
                      <a:pt x="175" y="33"/>
                    </a:lnTo>
                    <a:lnTo>
                      <a:pt x="168" y="25"/>
                    </a:lnTo>
                    <a:lnTo>
                      <a:pt x="160" y="19"/>
                    </a:lnTo>
                    <a:lnTo>
                      <a:pt x="151" y="13"/>
                    </a:lnTo>
                    <a:lnTo>
                      <a:pt x="142" y="9"/>
                    </a:lnTo>
                    <a:lnTo>
                      <a:pt x="133" y="5"/>
                    </a:lnTo>
                    <a:lnTo>
                      <a:pt x="123" y="3"/>
                    </a:lnTo>
                    <a:lnTo>
                      <a:pt x="113" y="1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1" y="1"/>
                    </a:lnTo>
                    <a:lnTo>
                      <a:pt x="81" y="2"/>
                    </a:lnTo>
                    <a:lnTo>
                      <a:pt x="71" y="5"/>
                    </a:lnTo>
                    <a:lnTo>
                      <a:pt x="62" y="8"/>
                    </a:lnTo>
                    <a:lnTo>
                      <a:pt x="53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4" y="81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5"/>
                    </a:lnTo>
                    <a:lnTo>
                      <a:pt x="4" y="157"/>
                    </a:lnTo>
                    <a:lnTo>
                      <a:pt x="7" y="169"/>
                    </a:lnTo>
                    <a:lnTo>
                      <a:pt x="12" y="179"/>
                    </a:lnTo>
                    <a:lnTo>
                      <a:pt x="16" y="189"/>
                    </a:lnTo>
                    <a:lnTo>
                      <a:pt x="22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3" y="220"/>
                    </a:lnTo>
                    <a:lnTo>
                      <a:pt x="52" y="226"/>
                    </a:lnTo>
                    <a:lnTo>
                      <a:pt x="60" y="230"/>
                    </a:lnTo>
                    <a:lnTo>
                      <a:pt x="70" y="234"/>
                    </a:lnTo>
                    <a:lnTo>
                      <a:pt x="80" y="237"/>
                    </a:lnTo>
                    <a:lnTo>
                      <a:pt x="90" y="238"/>
                    </a:lnTo>
                    <a:lnTo>
                      <a:pt x="100" y="239"/>
                    </a:lnTo>
                    <a:lnTo>
                      <a:pt x="100" y="239"/>
                    </a:lnTo>
                    <a:lnTo>
                      <a:pt x="111" y="238"/>
                    </a:lnTo>
                    <a:lnTo>
                      <a:pt x="122" y="237"/>
                    </a:lnTo>
                    <a:lnTo>
                      <a:pt x="132" y="234"/>
                    </a:lnTo>
                    <a:lnTo>
                      <a:pt x="141" y="231"/>
                    </a:lnTo>
                    <a:lnTo>
                      <a:pt x="151" y="226"/>
                    </a:lnTo>
                    <a:lnTo>
                      <a:pt x="159" y="221"/>
                    </a:lnTo>
                    <a:lnTo>
                      <a:pt x="167" y="214"/>
                    </a:lnTo>
                    <a:lnTo>
                      <a:pt x="174" y="207"/>
                    </a:lnTo>
                    <a:lnTo>
                      <a:pt x="181" y="199"/>
                    </a:lnTo>
                    <a:lnTo>
                      <a:pt x="187" y="190"/>
                    </a:lnTo>
                    <a:lnTo>
                      <a:pt x="192" y="180"/>
                    </a:lnTo>
                    <a:lnTo>
                      <a:pt x="196" y="169"/>
                    </a:lnTo>
                    <a:lnTo>
                      <a:pt x="199" y="158"/>
                    </a:lnTo>
                    <a:lnTo>
                      <a:pt x="202" y="145"/>
                    </a:lnTo>
                    <a:lnTo>
                      <a:pt x="203" y="132"/>
                    </a:lnTo>
                    <a:lnTo>
                      <a:pt x="204" y="119"/>
                    </a:lnTo>
                    <a:lnTo>
                      <a:pt x="204" y="119"/>
                    </a:lnTo>
                    <a:close/>
                    <a:moveTo>
                      <a:pt x="158" y="120"/>
                    </a:moveTo>
                    <a:lnTo>
                      <a:pt x="158" y="120"/>
                    </a:lnTo>
                    <a:lnTo>
                      <a:pt x="157" y="135"/>
                    </a:lnTo>
                    <a:lnTo>
                      <a:pt x="154" y="149"/>
                    </a:lnTo>
                    <a:lnTo>
                      <a:pt x="150" y="162"/>
                    </a:lnTo>
                    <a:lnTo>
                      <a:pt x="143" y="174"/>
                    </a:lnTo>
                    <a:lnTo>
                      <a:pt x="139" y="179"/>
                    </a:lnTo>
                    <a:lnTo>
                      <a:pt x="135" y="183"/>
                    </a:lnTo>
                    <a:lnTo>
                      <a:pt x="130" y="187"/>
                    </a:lnTo>
                    <a:lnTo>
                      <a:pt x="125" y="190"/>
                    </a:lnTo>
                    <a:lnTo>
                      <a:pt x="120" y="193"/>
                    </a:lnTo>
                    <a:lnTo>
                      <a:pt x="114" y="195"/>
                    </a:lnTo>
                    <a:lnTo>
                      <a:pt x="108" y="196"/>
                    </a:lnTo>
                    <a:lnTo>
                      <a:pt x="102" y="196"/>
                    </a:lnTo>
                    <a:lnTo>
                      <a:pt x="102" y="196"/>
                    </a:lnTo>
                    <a:lnTo>
                      <a:pt x="96" y="196"/>
                    </a:lnTo>
                    <a:lnTo>
                      <a:pt x="90" y="195"/>
                    </a:lnTo>
                    <a:lnTo>
                      <a:pt x="84" y="193"/>
                    </a:lnTo>
                    <a:lnTo>
                      <a:pt x="79" y="191"/>
                    </a:lnTo>
                    <a:lnTo>
                      <a:pt x="74" y="188"/>
                    </a:lnTo>
                    <a:lnTo>
                      <a:pt x="69" y="185"/>
                    </a:lnTo>
                    <a:lnTo>
                      <a:pt x="65" y="181"/>
                    </a:lnTo>
                    <a:lnTo>
                      <a:pt x="61" y="176"/>
                    </a:lnTo>
                    <a:lnTo>
                      <a:pt x="57" y="171"/>
                    </a:lnTo>
                    <a:lnTo>
                      <a:pt x="54" y="165"/>
                    </a:lnTo>
                    <a:lnTo>
                      <a:pt x="52" y="159"/>
                    </a:lnTo>
                    <a:lnTo>
                      <a:pt x="49" y="152"/>
                    </a:lnTo>
                    <a:lnTo>
                      <a:pt x="46" y="136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8"/>
                    </a:lnTo>
                    <a:lnTo>
                      <a:pt x="54" y="75"/>
                    </a:lnTo>
                    <a:lnTo>
                      <a:pt x="56" y="69"/>
                    </a:lnTo>
                    <a:lnTo>
                      <a:pt x="60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8" y="44"/>
                    </a:lnTo>
                    <a:lnTo>
                      <a:pt x="94" y="43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107" y="43"/>
                    </a:lnTo>
                    <a:lnTo>
                      <a:pt x="113" y="44"/>
                    </a:lnTo>
                    <a:lnTo>
                      <a:pt x="119" y="46"/>
                    </a:lnTo>
                    <a:lnTo>
                      <a:pt x="124" y="49"/>
                    </a:lnTo>
                    <a:lnTo>
                      <a:pt x="130" y="51"/>
                    </a:lnTo>
                    <a:lnTo>
                      <a:pt x="134" y="55"/>
                    </a:lnTo>
                    <a:lnTo>
                      <a:pt x="139" y="59"/>
                    </a:lnTo>
                    <a:lnTo>
                      <a:pt x="143" y="64"/>
                    </a:lnTo>
                    <a:lnTo>
                      <a:pt x="146" y="69"/>
                    </a:lnTo>
                    <a:lnTo>
                      <a:pt x="150" y="75"/>
                    </a:lnTo>
                    <a:lnTo>
                      <a:pt x="152" y="81"/>
                    </a:lnTo>
                    <a:lnTo>
                      <a:pt x="154" y="88"/>
                    </a:lnTo>
                    <a:lnTo>
                      <a:pt x="157" y="103"/>
                    </a:lnTo>
                    <a:lnTo>
                      <a:pt x="158" y="120"/>
                    </a:lnTo>
                    <a:lnTo>
                      <a:pt x="158" y="12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8" name="Freeform 27"/>
              <p:cNvSpPr>
                <a:spLocks/>
              </p:cNvSpPr>
              <p:nvPr userDrawn="1"/>
            </p:nvSpPr>
            <p:spPr bwMode="auto">
              <a:xfrm>
                <a:off x="1660525" y="6150782"/>
                <a:ext cx="73025" cy="92075"/>
              </a:xfrm>
              <a:custGeom>
                <a:avLst/>
                <a:gdLst>
                  <a:gd name="T0" fmla="*/ 0 w 185"/>
                  <a:gd name="T1" fmla="*/ 0 h 229"/>
                  <a:gd name="T2" fmla="*/ 0 w 185"/>
                  <a:gd name="T3" fmla="*/ 229 h 229"/>
                  <a:gd name="T4" fmla="*/ 45 w 185"/>
                  <a:gd name="T5" fmla="*/ 229 h 229"/>
                  <a:gd name="T6" fmla="*/ 45 w 185"/>
                  <a:gd name="T7" fmla="*/ 39 h 229"/>
                  <a:gd name="T8" fmla="*/ 140 w 185"/>
                  <a:gd name="T9" fmla="*/ 39 h 229"/>
                  <a:gd name="T10" fmla="*/ 140 w 185"/>
                  <a:gd name="T11" fmla="*/ 229 h 229"/>
                  <a:gd name="T12" fmla="*/ 185 w 185"/>
                  <a:gd name="T13" fmla="*/ 229 h 229"/>
                  <a:gd name="T14" fmla="*/ 185 w 185"/>
                  <a:gd name="T15" fmla="*/ 0 h 229"/>
                  <a:gd name="T16" fmla="*/ 0 w 185"/>
                  <a:gd name="T17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5" h="229">
                    <a:moveTo>
                      <a:pt x="0" y="0"/>
                    </a:moveTo>
                    <a:lnTo>
                      <a:pt x="0" y="229"/>
                    </a:lnTo>
                    <a:lnTo>
                      <a:pt x="45" y="229"/>
                    </a:lnTo>
                    <a:lnTo>
                      <a:pt x="45" y="39"/>
                    </a:lnTo>
                    <a:lnTo>
                      <a:pt x="140" y="39"/>
                    </a:lnTo>
                    <a:lnTo>
                      <a:pt x="140" y="229"/>
                    </a:lnTo>
                    <a:lnTo>
                      <a:pt x="185" y="229"/>
                    </a:lnTo>
                    <a:lnTo>
                      <a:pt x="1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9" name="Freeform 28"/>
              <p:cNvSpPr>
                <a:spLocks noEditPoints="1"/>
              </p:cNvSpPr>
              <p:nvPr userDrawn="1"/>
            </p:nvSpPr>
            <p:spPr bwMode="auto">
              <a:xfrm>
                <a:off x="1755775" y="6149194"/>
                <a:ext cx="76200" cy="127000"/>
              </a:xfrm>
              <a:custGeom>
                <a:avLst/>
                <a:gdLst>
                  <a:gd name="T0" fmla="*/ 192 w 192"/>
                  <a:gd name="T1" fmla="*/ 123 h 319"/>
                  <a:gd name="T2" fmla="*/ 191 w 192"/>
                  <a:gd name="T3" fmla="*/ 93 h 319"/>
                  <a:gd name="T4" fmla="*/ 186 w 192"/>
                  <a:gd name="T5" fmla="*/ 67 h 319"/>
                  <a:gd name="T6" fmla="*/ 178 w 192"/>
                  <a:gd name="T7" fmla="*/ 46 h 319"/>
                  <a:gd name="T8" fmla="*/ 167 w 192"/>
                  <a:gd name="T9" fmla="*/ 29 h 319"/>
                  <a:gd name="T10" fmla="*/ 154 w 192"/>
                  <a:gd name="T11" fmla="*/ 16 h 319"/>
                  <a:gd name="T12" fmla="*/ 139 w 192"/>
                  <a:gd name="T13" fmla="*/ 7 h 319"/>
                  <a:gd name="T14" fmla="*/ 122 w 192"/>
                  <a:gd name="T15" fmla="*/ 2 h 319"/>
                  <a:gd name="T16" fmla="*/ 104 w 192"/>
                  <a:gd name="T17" fmla="*/ 0 h 319"/>
                  <a:gd name="T18" fmla="*/ 96 w 192"/>
                  <a:gd name="T19" fmla="*/ 1 h 319"/>
                  <a:gd name="T20" fmla="*/ 79 w 192"/>
                  <a:gd name="T21" fmla="*/ 5 h 319"/>
                  <a:gd name="T22" fmla="*/ 64 w 192"/>
                  <a:gd name="T23" fmla="*/ 12 h 319"/>
                  <a:gd name="T24" fmla="*/ 45 w 192"/>
                  <a:gd name="T25" fmla="*/ 27 h 319"/>
                  <a:gd name="T26" fmla="*/ 0 w 192"/>
                  <a:gd name="T27" fmla="*/ 5 h 319"/>
                  <a:gd name="T28" fmla="*/ 45 w 192"/>
                  <a:gd name="T29" fmla="*/ 295 h 319"/>
                  <a:gd name="T30" fmla="*/ 45 w 192"/>
                  <a:gd name="T31" fmla="*/ 213 h 319"/>
                  <a:gd name="T32" fmla="*/ 58 w 192"/>
                  <a:gd name="T33" fmla="*/ 224 h 319"/>
                  <a:gd name="T34" fmla="*/ 72 w 192"/>
                  <a:gd name="T35" fmla="*/ 232 h 319"/>
                  <a:gd name="T36" fmla="*/ 87 w 192"/>
                  <a:gd name="T37" fmla="*/ 237 h 319"/>
                  <a:gd name="T38" fmla="*/ 102 w 192"/>
                  <a:gd name="T39" fmla="*/ 239 h 319"/>
                  <a:gd name="T40" fmla="*/ 111 w 192"/>
                  <a:gd name="T41" fmla="*/ 238 h 319"/>
                  <a:gd name="T42" fmla="*/ 128 w 192"/>
                  <a:gd name="T43" fmla="*/ 235 h 319"/>
                  <a:gd name="T44" fmla="*/ 144 w 192"/>
                  <a:gd name="T45" fmla="*/ 228 h 319"/>
                  <a:gd name="T46" fmla="*/ 159 w 192"/>
                  <a:gd name="T47" fmla="*/ 217 h 319"/>
                  <a:gd name="T48" fmla="*/ 171 w 192"/>
                  <a:gd name="T49" fmla="*/ 203 h 319"/>
                  <a:gd name="T50" fmla="*/ 181 w 192"/>
                  <a:gd name="T51" fmla="*/ 185 h 319"/>
                  <a:gd name="T52" fmla="*/ 188 w 192"/>
                  <a:gd name="T53" fmla="*/ 163 h 319"/>
                  <a:gd name="T54" fmla="*/ 192 w 192"/>
                  <a:gd name="T55" fmla="*/ 138 h 319"/>
                  <a:gd name="T56" fmla="*/ 192 w 192"/>
                  <a:gd name="T57" fmla="*/ 123 h 319"/>
                  <a:gd name="T58" fmla="*/ 147 w 192"/>
                  <a:gd name="T59" fmla="*/ 125 h 319"/>
                  <a:gd name="T60" fmla="*/ 144 w 192"/>
                  <a:gd name="T61" fmla="*/ 156 h 319"/>
                  <a:gd name="T62" fmla="*/ 138 w 192"/>
                  <a:gd name="T63" fmla="*/ 174 h 319"/>
                  <a:gd name="T64" fmla="*/ 132 w 192"/>
                  <a:gd name="T65" fmla="*/ 183 h 319"/>
                  <a:gd name="T66" fmla="*/ 124 w 192"/>
                  <a:gd name="T67" fmla="*/ 190 h 319"/>
                  <a:gd name="T68" fmla="*/ 115 w 192"/>
                  <a:gd name="T69" fmla="*/ 195 h 319"/>
                  <a:gd name="T70" fmla="*/ 104 w 192"/>
                  <a:gd name="T71" fmla="*/ 197 h 319"/>
                  <a:gd name="T72" fmla="*/ 98 w 192"/>
                  <a:gd name="T73" fmla="*/ 197 h 319"/>
                  <a:gd name="T74" fmla="*/ 81 w 192"/>
                  <a:gd name="T75" fmla="*/ 195 h 319"/>
                  <a:gd name="T76" fmla="*/ 66 w 192"/>
                  <a:gd name="T77" fmla="*/ 187 h 319"/>
                  <a:gd name="T78" fmla="*/ 54 w 192"/>
                  <a:gd name="T79" fmla="*/ 178 h 319"/>
                  <a:gd name="T80" fmla="*/ 44 w 192"/>
                  <a:gd name="T81" fmla="*/ 167 h 319"/>
                  <a:gd name="T82" fmla="*/ 44 w 192"/>
                  <a:gd name="T83" fmla="*/ 71 h 319"/>
                  <a:gd name="T84" fmla="*/ 56 w 192"/>
                  <a:gd name="T85" fmla="*/ 59 h 319"/>
                  <a:gd name="T86" fmla="*/ 68 w 192"/>
                  <a:gd name="T87" fmla="*/ 50 h 319"/>
                  <a:gd name="T88" fmla="*/ 82 w 192"/>
                  <a:gd name="T89" fmla="*/ 44 h 319"/>
                  <a:gd name="T90" fmla="*/ 96 w 192"/>
                  <a:gd name="T91" fmla="*/ 42 h 319"/>
                  <a:gd name="T92" fmla="*/ 102 w 192"/>
                  <a:gd name="T93" fmla="*/ 42 h 319"/>
                  <a:gd name="T94" fmla="*/ 113 w 192"/>
                  <a:gd name="T95" fmla="*/ 45 h 319"/>
                  <a:gd name="T96" fmla="*/ 123 w 192"/>
                  <a:gd name="T97" fmla="*/ 49 h 319"/>
                  <a:gd name="T98" fmla="*/ 131 w 192"/>
                  <a:gd name="T99" fmla="*/ 57 h 319"/>
                  <a:gd name="T100" fmla="*/ 137 w 192"/>
                  <a:gd name="T101" fmla="*/ 67 h 319"/>
                  <a:gd name="T102" fmla="*/ 144 w 192"/>
                  <a:gd name="T103" fmla="*/ 88 h 319"/>
                  <a:gd name="T104" fmla="*/ 147 w 192"/>
                  <a:gd name="T105" fmla="*/ 125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2" h="319">
                    <a:moveTo>
                      <a:pt x="192" y="123"/>
                    </a:moveTo>
                    <a:lnTo>
                      <a:pt x="192" y="123"/>
                    </a:lnTo>
                    <a:lnTo>
                      <a:pt x="192" y="107"/>
                    </a:lnTo>
                    <a:lnTo>
                      <a:pt x="191" y="93"/>
                    </a:lnTo>
                    <a:lnTo>
                      <a:pt x="188" y="79"/>
                    </a:lnTo>
                    <a:lnTo>
                      <a:pt x="186" y="67"/>
                    </a:lnTo>
                    <a:lnTo>
                      <a:pt x="182" y="56"/>
                    </a:lnTo>
                    <a:lnTo>
                      <a:pt x="178" y="46"/>
                    </a:lnTo>
                    <a:lnTo>
                      <a:pt x="172" y="37"/>
                    </a:lnTo>
                    <a:lnTo>
                      <a:pt x="167" y="29"/>
                    </a:lnTo>
                    <a:lnTo>
                      <a:pt x="161" y="22"/>
                    </a:lnTo>
                    <a:lnTo>
                      <a:pt x="154" y="16"/>
                    </a:lnTo>
                    <a:lnTo>
                      <a:pt x="147" y="11"/>
                    </a:lnTo>
                    <a:lnTo>
                      <a:pt x="139" y="7"/>
                    </a:lnTo>
                    <a:lnTo>
                      <a:pt x="131" y="4"/>
                    </a:lnTo>
                    <a:lnTo>
                      <a:pt x="122" y="2"/>
                    </a:lnTo>
                    <a:lnTo>
                      <a:pt x="113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96" y="1"/>
                    </a:lnTo>
                    <a:lnTo>
                      <a:pt x="87" y="2"/>
                    </a:lnTo>
                    <a:lnTo>
                      <a:pt x="79" y="5"/>
                    </a:lnTo>
                    <a:lnTo>
                      <a:pt x="72" y="8"/>
                    </a:lnTo>
                    <a:lnTo>
                      <a:pt x="64" y="12"/>
                    </a:lnTo>
                    <a:lnTo>
                      <a:pt x="58" y="16"/>
                    </a:lnTo>
                    <a:lnTo>
                      <a:pt x="45" y="27"/>
                    </a:lnTo>
                    <a:lnTo>
                      <a:pt x="45" y="5"/>
                    </a:lnTo>
                    <a:lnTo>
                      <a:pt x="0" y="5"/>
                    </a:lnTo>
                    <a:lnTo>
                      <a:pt x="0" y="319"/>
                    </a:lnTo>
                    <a:lnTo>
                      <a:pt x="45" y="295"/>
                    </a:lnTo>
                    <a:lnTo>
                      <a:pt x="45" y="213"/>
                    </a:lnTo>
                    <a:lnTo>
                      <a:pt x="45" y="213"/>
                    </a:lnTo>
                    <a:lnTo>
                      <a:pt x="51" y="219"/>
                    </a:lnTo>
                    <a:lnTo>
                      <a:pt x="58" y="224"/>
                    </a:lnTo>
                    <a:lnTo>
                      <a:pt x="65" y="229"/>
                    </a:lnTo>
                    <a:lnTo>
                      <a:pt x="72" y="232"/>
                    </a:lnTo>
                    <a:lnTo>
                      <a:pt x="79" y="235"/>
                    </a:lnTo>
                    <a:lnTo>
                      <a:pt x="87" y="237"/>
                    </a:lnTo>
                    <a:lnTo>
                      <a:pt x="95" y="238"/>
                    </a:lnTo>
                    <a:lnTo>
                      <a:pt x="102" y="239"/>
                    </a:lnTo>
                    <a:lnTo>
                      <a:pt x="102" y="239"/>
                    </a:lnTo>
                    <a:lnTo>
                      <a:pt x="111" y="238"/>
                    </a:lnTo>
                    <a:lnTo>
                      <a:pt x="120" y="237"/>
                    </a:lnTo>
                    <a:lnTo>
                      <a:pt x="128" y="235"/>
                    </a:lnTo>
                    <a:lnTo>
                      <a:pt x="136" y="232"/>
                    </a:lnTo>
                    <a:lnTo>
                      <a:pt x="144" y="228"/>
                    </a:lnTo>
                    <a:lnTo>
                      <a:pt x="152" y="223"/>
                    </a:lnTo>
                    <a:lnTo>
                      <a:pt x="159" y="217"/>
                    </a:lnTo>
                    <a:lnTo>
                      <a:pt x="165" y="211"/>
                    </a:lnTo>
                    <a:lnTo>
                      <a:pt x="171" y="203"/>
                    </a:lnTo>
                    <a:lnTo>
                      <a:pt x="176" y="194"/>
                    </a:lnTo>
                    <a:lnTo>
                      <a:pt x="181" y="185"/>
                    </a:lnTo>
                    <a:lnTo>
                      <a:pt x="185" y="174"/>
                    </a:lnTo>
                    <a:lnTo>
                      <a:pt x="188" y="163"/>
                    </a:lnTo>
                    <a:lnTo>
                      <a:pt x="190" y="151"/>
                    </a:lnTo>
                    <a:lnTo>
                      <a:pt x="192" y="138"/>
                    </a:lnTo>
                    <a:lnTo>
                      <a:pt x="192" y="123"/>
                    </a:lnTo>
                    <a:lnTo>
                      <a:pt x="192" y="123"/>
                    </a:lnTo>
                    <a:close/>
                    <a:moveTo>
                      <a:pt x="147" y="125"/>
                    </a:moveTo>
                    <a:lnTo>
                      <a:pt x="147" y="125"/>
                    </a:lnTo>
                    <a:lnTo>
                      <a:pt x="147" y="142"/>
                    </a:lnTo>
                    <a:lnTo>
                      <a:pt x="144" y="156"/>
                    </a:lnTo>
                    <a:lnTo>
                      <a:pt x="140" y="169"/>
                    </a:lnTo>
                    <a:lnTo>
                      <a:pt x="138" y="174"/>
                    </a:lnTo>
                    <a:lnTo>
                      <a:pt x="135" y="179"/>
                    </a:lnTo>
                    <a:lnTo>
                      <a:pt x="132" y="183"/>
                    </a:lnTo>
                    <a:lnTo>
                      <a:pt x="128" y="187"/>
                    </a:lnTo>
                    <a:lnTo>
                      <a:pt x="124" y="190"/>
                    </a:lnTo>
                    <a:lnTo>
                      <a:pt x="119" y="193"/>
                    </a:lnTo>
                    <a:lnTo>
                      <a:pt x="115" y="195"/>
                    </a:lnTo>
                    <a:lnTo>
                      <a:pt x="109" y="196"/>
                    </a:lnTo>
                    <a:lnTo>
                      <a:pt x="104" y="197"/>
                    </a:lnTo>
                    <a:lnTo>
                      <a:pt x="98" y="197"/>
                    </a:lnTo>
                    <a:lnTo>
                      <a:pt x="98" y="197"/>
                    </a:lnTo>
                    <a:lnTo>
                      <a:pt x="89" y="197"/>
                    </a:lnTo>
                    <a:lnTo>
                      <a:pt x="81" y="195"/>
                    </a:lnTo>
                    <a:lnTo>
                      <a:pt x="74" y="191"/>
                    </a:lnTo>
                    <a:lnTo>
                      <a:pt x="66" y="187"/>
                    </a:lnTo>
                    <a:lnTo>
                      <a:pt x="60" y="183"/>
                    </a:lnTo>
                    <a:lnTo>
                      <a:pt x="54" y="178"/>
                    </a:lnTo>
                    <a:lnTo>
                      <a:pt x="48" y="173"/>
                    </a:lnTo>
                    <a:lnTo>
                      <a:pt x="44" y="167"/>
                    </a:lnTo>
                    <a:lnTo>
                      <a:pt x="44" y="71"/>
                    </a:lnTo>
                    <a:lnTo>
                      <a:pt x="44" y="71"/>
                    </a:lnTo>
                    <a:lnTo>
                      <a:pt x="50" y="64"/>
                    </a:lnTo>
                    <a:lnTo>
                      <a:pt x="56" y="59"/>
                    </a:lnTo>
                    <a:lnTo>
                      <a:pt x="62" y="54"/>
                    </a:lnTo>
                    <a:lnTo>
                      <a:pt x="68" y="50"/>
                    </a:lnTo>
                    <a:lnTo>
                      <a:pt x="75" y="46"/>
                    </a:lnTo>
                    <a:lnTo>
                      <a:pt x="82" y="44"/>
                    </a:lnTo>
                    <a:lnTo>
                      <a:pt x="89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2" y="42"/>
                    </a:lnTo>
                    <a:lnTo>
                      <a:pt x="108" y="43"/>
                    </a:lnTo>
                    <a:lnTo>
                      <a:pt x="113" y="45"/>
                    </a:lnTo>
                    <a:lnTo>
                      <a:pt x="118" y="47"/>
                    </a:lnTo>
                    <a:lnTo>
                      <a:pt x="123" y="49"/>
                    </a:lnTo>
                    <a:lnTo>
                      <a:pt x="127" y="53"/>
                    </a:lnTo>
                    <a:lnTo>
                      <a:pt x="131" y="57"/>
                    </a:lnTo>
                    <a:lnTo>
                      <a:pt x="134" y="62"/>
                    </a:lnTo>
                    <a:lnTo>
                      <a:pt x="137" y="67"/>
                    </a:lnTo>
                    <a:lnTo>
                      <a:pt x="140" y="73"/>
                    </a:lnTo>
                    <a:lnTo>
                      <a:pt x="144" y="88"/>
                    </a:lnTo>
                    <a:lnTo>
                      <a:pt x="147" y="105"/>
                    </a:lnTo>
                    <a:lnTo>
                      <a:pt x="147" y="125"/>
                    </a:lnTo>
                    <a:lnTo>
                      <a:pt x="147" y="12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auto">
              <a:xfrm>
                <a:off x="1846262" y="6149194"/>
                <a:ext cx="82550" cy="95250"/>
              </a:xfrm>
              <a:custGeom>
                <a:avLst/>
                <a:gdLst>
                  <a:gd name="T0" fmla="*/ 205 w 206"/>
                  <a:gd name="T1" fmla="*/ 105 h 239"/>
                  <a:gd name="T2" fmla="*/ 198 w 206"/>
                  <a:gd name="T3" fmla="*/ 70 h 239"/>
                  <a:gd name="T4" fmla="*/ 183 w 206"/>
                  <a:gd name="T5" fmla="*/ 41 h 239"/>
                  <a:gd name="T6" fmla="*/ 161 w 206"/>
                  <a:gd name="T7" fmla="*/ 19 h 239"/>
                  <a:gd name="T8" fmla="*/ 135 w 206"/>
                  <a:gd name="T9" fmla="*/ 5 h 239"/>
                  <a:gd name="T10" fmla="*/ 103 w 206"/>
                  <a:gd name="T11" fmla="*/ 0 h 239"/>
                  <a:gd name="T12" fmla="*/ 82 w 206"/>
                  <a:gd name="T13" fmla="*/ 2 h 239"/>
                  <a:gd name="T14" fmla="*/ 53 w 206"/>
                  <a:gd name="T15" fmla="*/ 13 h 239"/>
                  <a:gd name="T16" fmla="*/ 30 w 206"/>
                  <a:gd name="T17" fmla="*/ 32 h 239"/>
                  <a:gd name="T18" fmla="*/ 13 w 206"/>
                  <a:gd name="T19" fmla="*/ 59 h 239"/>
                  <a:gd name="T20" fmla="*/ 2 w 206"/>
                  <a:gd name="T21" fmla="*/ 93 h 239"/>
                  <a:gd name="T22" fmla="*/ 0 w 206"/>
                  <a:gd name="T23" fmla="*/ 120 h 239"/>
                  <a:gd name="T24" fmla="*/ 5 w 206"/>
                  <a:gd name="T25" fmla="*/ 157 h 239"/>
                  <a:gd name="T26" fmla="*/ 17 w 206"/>
                  <a:gd name="T27" fmla="*/ 189 h 239"/>
                  <a:gd name="T28" fmla="*/ 36 w 206"/>
                  <a:gd name="T29" fmla="*/ 214 h 239"/>
                  <a:gd name="T30" fmla="*/ 61 w 206"/>
                  <a:gd name="T31" fmla="*/ 230 h 239"/>
                  <a:gd name="T32" fmla="*/ 91 w 206"/>
                  <a:gd name="T33" fmla="*/ 238 h 239"/>
                  <a:gd name="T34" fmla="*/ 113 w 206"/>
                  <a:gd name="T35" fmla="*/ 238 h 239"/>
                  <a:gd name="T36" fmla="*/ 143 w 206"/>
                  <a:gd name="T37" fmla="*/ 231 h 239"/>
                  <a:gd name="T38" fmla="*/ 169 w 206"/>
                  <a:gd name="T39" fmla="*/ 214 h 239"/>
                  <a:gd name="T40" fmla="*/ 188 w 206"/>
                  <a:gd name="T41" fmla="*/ 190 h 239"/>
                  <a:gd name="T42" fmla="*/ 201 w 206"/>
                  <a:gd name="T43" fmla="*/ 158 h 239"/>
                  <a:gd name="T44" fmla="*/ 206 w 206"/>
                  <a:gd name="T45" fmla="*/ 119 h 239"/>
                  <a:gd name="T46" fmla="*/ 160 w 206"/>
                  <a:gd name="T47" fmla="*/ 120 h 239"/>
                  <a:gd name="T48" fmla="*/ 151 w 206"/>
                  <a:gd name="T49" fmla="*/ 162 h 239"/>
                  <a:gd name="T50" fmla="*/ 137 w 206"/>
                  <a:gd name="T51" fmla="*/ 183 h 239"/>
                  <a:gd name="T52" fmla="*/ 122 w 206"/>
                  <a:gd name="T53" fmla="*/ 193 h 239"/>
                  <a:gd name="T54" fmla="*/ 104 w 206"/>
                  <a:gd name="T55" fmla="*/ 196 h 239"/>
                  <a:gd name="T56" fmla="*/ 91 w 206"/>
                  <a:gd name="T57" fmla="*/ 195 h 239"/>
                  <a:gd name="T58" fmla="*/ 75 w 206"/>
                  <a:gd name="T59" fmla="*/ 188 h 239"/>
                  <a:gd name="T60" fmla="*/ 62 w 206"/>
                  <a:gd name="T61" fmla="*/ 176 h 239"/>
                  <a:gd name="T62" fmla="*/ 52 w 206"/>
                  <a:gd name="T63" fmla="*/ 159 h 239"/>
                  <a:gd name="T64" fmla="*/ 46 w 206"/>
                  <a:gd name="T65" fmla="*/ 119 h 239"/>
                  <a:gd name="T66" fmla="*/ 50 w 206"/>
                  <a:gd name="T67" fmla="*/ 88 h 239"/>
                  <a:gd name="T68" fmla="*/ 61 w 206"/>
                  <a:gd name="T69" fmla="*/ 64 h 239"/>
                  <a:gd name="T70" fmla="*/ 73 w 206"/>
                  <a:gd name="T71" fmla="*/ 51 h 239"/>
                  <a:gd name="T72" fmla="*/ 89 w 206"/>
                  <a:gd name="T73" fmla="*/ 44 h 239"/>
                  <a:gd name="T74" fmla="*/ 101 w 206"/>
                  <a:gd name="T75" fmla="*/ 43 h 239"/>
                  <a:gd name="T76" fmla="*/ 121 w 206"/>
                  <a:gd name="T77" fmla="*/ 46 h 239"/>
                  <a:gd name="T78" fmla="*/ 136 w 206"/>
                  <a:gd name="T79" fmla="*/ 55 h 239"/>
                  <a:gd name="T80" fmla="*/ 148 w 206"/>
                  <a:gd name="T81" fmla="*/ 69 h 239"/>
                  <a:gd name="T82" fmla="*/ 156 w 206"/>
                  <a:gd name="T83" fmla="*/ 88 h 239"/>
                  <a:gd name="T84" fmla="*/ 160 w 206"/>
                  <a:gd name="T85" fmla="*/ 12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6" h="239">
                    <a:moveTo>
                      <a:pt x="206" y="119"/>
                    </a:moveTo>
                    <a:lnTo>
                      <a:pt x="206" y="119"/>
                    </a:lnTo>
                    <a:lnTo>
                      <a:pt x="205" y="105"/>
                    </a:lnTo>
                    <a:lnTo>
                      <a:pt x="204" y="93"/>
                    </a:lnTo>
                    <a:lnTo>
                      <a:pt x="201" y="81"/>
                    </a:lnTo>
                    <a:lnTo>
                      <a:pt x="198" y="70"/>
                    </a:lnTo>
                    <a:lnTo>
                      <a:pt x="194" y="59"/>
                    </a:lnTo>
                    <a:lnTo>
                      <a:pt x="189" y="50"/>
                    </a:lnTo>
                    <a:lnTo>
                      <a:pt x="183" y="41"/>
                    </a:lnTo>
                    <a:lnTo>
                      <a:pt x="176" y="33"/>
                    </a:lnTo>
                    <a:lnTo>
                      <a:pt x="169" y="25"/>
                    </a:lnTo>
                    <a:lnTo>
                      <a:pt x="161" y="19"/>
                    </a:lnTo>
                    <a:lnTo>
                      <a:pt x="153" y="13"/>
                    </a:lnTo>
                    <a:lnTo>
                      <a:pt x="144" y="9"/>
                    </a:lnTo>
                    <a:lnTo>
                      <a:pt x="135" y="5"/>
                    </a:lnTo>
                    <a:lnTo>
                      <a:pt x="125" y="3"/>
                    </a:lnTo>
                    <a:lnTo>
                      <a:pt x="114" y="1"/>
                    </a:lnTo>
                    <a:lnTo>
                      <a:pt x="103" y="0"/>
                    </a:lnTo>
                    <a:lnTo>
                      <a:pt x="103" y="0"/>
                    </a:lnTo>
                    <a:lnTo>
                      <a:pt x="92" y="1"/>
                    </a:lnTo>
                    <a:lnTo>
                      <a:pt x="82" y="2"/>
                    </a:lnTo>
                    <a:lnTo>
                      <a:pt x="72" y="5"/>
                    </a:lnTo>
                    <a:lnTo>
                      <a:pt x="62" y="8"/>
                    </a:lnTo>
                    <a:lnTo>
                      <a:pt x="53" y="13"/>
                    </a:lnTo>
                    <a:lnTo>
                      <a:pt x="45" y="18"/>
                    </a:lnTo>
                    <a:lnTo>
                      <a:pt x="37" y="25"/>
                    </a:lnTo>
                    <a:lnTo>
                      <a:pt x="30" y="32"/>
                    </a:lnTo>
                    <a:lnTo>
                      <a:pt x="23" y="40"/>
                    </a:lnTo>
                    <a:lnTo>
                      <a:pt x="18" y="49"/>
                    </a:lnTo>
                    <a:lnTo>
                      <a:pt x="13" y="59"/>
                    </a:lnTo>
                    <a:lnTo>
                      <a:pt x="8" y="70"/>
                    </a:lnTo>
                    <a:lnTo>
                      <a:pt x="5" y="81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5"/>
                    </a:lnTo>
                    <a:lnTo>
                      <a:pt x="5" y="157"/>
                    </a:lnTo>
                    <a:lnTo>
                      <a:pt x="8" y="169"/>
                    </a:lnTo>
                    <a:lnTo>
                      <a:pt x="12" y="179"/>
                    </a:lnTo>
                    <a:lnTo>
                      <a:pt x="17" y="189"/>
                    </a:lnTo>
                    <a:lnTo>
                      <a:pt x="23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4" y="220"/>
                    </a:lnTo>
                    <a:lnTo>
                      <a:pt x="52" y="226"/>
                    </a:lnTo>
                    <a:lnTo>
                      <a:pt x="61" y="230"/>
                    </a:lnTo>
                    <a:lnTo>
                      <a:pt x="71" y="234"/>
                    </a:lnTo>
                    <a:lnTo>
                      <a:pt x="80" y="237"/>
                    </a:lnTo>
                    <a:lnTo>
                      <a:pt x="91" y="238"/>
                    </a:lnTo>
                    <a:lnTo>
                      <a:pt x="101" y="239"/>
                    </a:lnTo>
                    <a:lnTo>
                      <a:pt x="101" y="239"/>
                    </a:lnTo>
                    <a:lnTo>
                      <a:pt x="113" y="238"/>
                    </a:lnTo>
                    <a:lnTo>
                      <a:pt x="124" y="237"/>
                    </a:lnTo>
                    <a:lnTo>
                      <a:pt x="134" y="234"/>
                    </a:lnTo>
                    <a:lnTo>
                      <a:pt x="143" y="231"/>
                    </a:lnTo>
                    <a:lnTo>
                      <a:pt x="152" y="226"/>
                    </a:lnTo>
                    <a:lnTo>
                      <a:pt x="161" y="221"/>
                    </a:lnTo>
                    <a:lnTo>
                      <a:pt x="169" y="214"/>
                    </a:lnTo>
                    <a:lnTo>
                      <a:pt x="176" y="207"/>
                    </a:lnTo>
                    <a:lnTo>
                      <a:pt x="182" y="199"/>
                    </a:lnTo>
                    <a:lnTo>
                      <a:pt x="188" y="190"/>
                    </a:lnTo>
                    <a:lnTo>
                      <a:pt x="193" y="180"/>
                    </a:lnTo>
                    <a:lnTo>
                      <a:pt x="198" y="169"/>
                    </a:lnTo>
                    <a:lnTo>
                      <a:pt x="201" y="158"/>
                    </a:lnTo>
                    <a:lnTo>
                      <a:pt x="203" y="145"/>
                    </a:lnTo>
                    <a:lnTo>
                      <a:pt x="205" y="132"/>
                    </a:lnTo>
                    <a:lnTo>
                      <a:pt x="206" y="119"/>
                    </a:lnTo>
                    <a:lnTo>
                      <a:pt x="206" y="119"/>
                    </a:lnTo>
                    <a:close/>
                    <a:moveTo>
                      <a:pt x="160" y="120"/>
                    </a:moveTo>
                    <a:lnTo>
                      <a:pt x="160" y="120"/>
                    </a:lnTo>
                    <a:lnTo>
                      <a:pt x="159" y="135"/>
                    </a:lnTo>
                    <a:lnTo>
                      <a:pt x="156" y="149"/>
                    </a:lnTo>
                    <a:lnTo>
                      <a:pt x="151" y="162"/>
                    </a:lnTo>
                    <a:lnTo>
                      <a:pt x="145" y="174"/>
                    </a:lnTo>
                    <a:lnTo>
                      <a:pt x="141" y="179"/>
                    </a:lnTo>
                    <a:lnTo>
                      <a:pt x="137" y="183"/>
                    </a:lnTo>
                    <a:lnTo>
                      <a:pt x="132" y="187"/>
                    </a:lnTo>
                    <a:lnTo>
                      <a:pt x="127" y="190"/>
                    </a:lnTo>
                    <a:lnTo>
                      <a:pt x="122" y="193"/>
                    </a:lnTo>
                    <a:lnTo>
                      <a:pt x="116" y="195"/>
                    </a:lnTo>
                    <a:lnTo>
                      <a:pt x="110" y="196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97" y="196"/>
                    </a:lnTo>
                    <a:lnTo>
                      <a:pt x="91" y="195"/>
                    </a:lnTo>
                    <a:lnTo>
                      <a:pt x="85" y="193"/>
                    </a:lnTo>
                    <a:lnTo>
                      <a:pt x="80" y="191"/>
                    </a:lnTo>
                    <a:lnTo>
                      <a:pt x="75" y="188"/>
                    </a:lnTo>
                    <a:lnTo>
                      <a:pt x="70" y="185"/>
                    </a:lnTo>
                    <a:lnTo>
                      <a:pt x="66" y="181"/>
                    </a:lnTo>
                    <a:lnTo>
                      <a:pt x="62" y="176"/>
                    </a:lnTo>
                    <a:lnTo>
                      <a:pt x="58" y="171"/>
                    </a:lnTo>
                    <a:lnTo>
                      <a:pt x="55" y="165"/>
                    </a:lnTo>
                    <a:lnTo>
                      <a:pt x="52" y="159"/>
                    </a:lnTo>
                    <a:lnTo>
                      <a:pt x="50" y="152"/>
                    </a:lnTo>
                    <a:lnTo>
                      <a:pt x="47" y="136"/>
                    </a:lnTo>
                    <a:lnTo>
                      <a:pt x="46" y="119"/>
                    </a:lnTo>
                    <a:lnTo>
                      <a:pt x="46" y="119"/>
                    </a:lnTo>
                    <a:lnTo>
                      <a:pt x="47" y="102"/>
                    </a:lnTo>
                    <a:lnTo>
                      <a:pt x="50" y="88"/>
                    </a:lnTo>
                    <a:lnTo>
                      <a:pt x="54" y="75"/>
                    </a:lnTo>
                    <a:lnTo>
                      <a:pt x="57" y="69"/>
                    </a:lnTo>
                    <a:lnTo>
                      <a:pt x="61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3" y="51"/>
                    </a:lnTo>
                    <a:lnTo>
                      <a:pt x="78" y="48"/>
                    </a:lnTo>
                    <a:lnTo>
                      <a:pt x="83" y="46"/>
                    </a:lnTo>
                    <a:lnTo>
                      <a:pt x="89" y="44"/>
                    </a:lnTo>
                    <a:lnTo>
                      <a:pt x="95" y="43"/>
                    </a:lnTo>
                    <a:lnTo>
                      <a:pt x="101" y="43"/>
                    </a:lnTo>
                    <a:lnTo>
                      <a:pt x="101" y="43"/>
                    </a:lnTo>
                    <a:lnTo>
                      <a:pt x="108" y="43"/>
                    </a:lnTo>
                    <a:lnTo>
                      <a:pt x="115" y="44"/>
                    </a:lnTo>
                    <a:lnTo>
                      <a:pt x="121" y="46"/>
                    </a:lnTo>
                    <a:lnTo>
                      <a:pt x="126" y="49"/>
                    </a:lnTo>
                    <a:lnTo>
                      <a:pt x="131" y="51"/>
                    </a:lnTo>
                    <a:lnTo>
                      <a:pt x="136" y="55"/>
                    </a:lnTo>
                    <a:lnTo>
                      <a:pt x="141" y="59"/>
                    </a:lnTo>
                    <a:lnTo>
                      <a:pt x="145" y="64"/>
                    </a:lnTo>
                    <a:lnTo>
                      <a:pt x="148" y="69"/>
                    </a:lnTo>
                    <a:lnTo>
                      <a:pt x="151" y="75"/>
                    </a:lnTo>
                    <a:lnTo>
                      <a:pt x="154" y="81"/>
                    </a:lnTo>
                    <a:lnTo>
                      <a:pt x="156" y="88"/>
                    </a:lnTo>
                    <a:lnTo>
                      <a:pt x="159" y="103"/>
                    </a:lnTo>
                    <a:lnTo>
                      <a:pt x="160" y="120"/>
                    </a:lnTo>
                    <a:lnTo>
                      <a:pt x="160" y="12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1" name="Freeform 30"/>
              <p:cNvSpPr>
                <a:spLocks/>
              </p:cNvSpPr>
              <p:nvPr userDrawn="1"/>
            </p:nvSpPr>
            <p:spPr bwMode="auto">
              <a:xfrm>
                <a:off x="1943100" y="6149194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4 w 181"/>
                  <a:gd name="T3" fmla="*/ 22 h 239"/>
                  <a:gd name="T4" fmla="*/ 145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2 w 181"/>
                  <a:gd name="T19" fmla="*/ 40 h 239"/>
                  <a:gd name="T20" fmla="*/ 12 w 181"/>
                  <a:gd name="T21" fmla="*/ 59 h 239"/>
                  <a:gd name="T22" fmla="*/ 4 w 181"/>
                  <a:gd name="T23" fmla="*/ 81 h 239"/>
                  <a:gd name="T24" fmla="*/ 0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7 w 181"/>
                  <a:gd name="T31" fmla="*/ 169 h 239"/>
                  <a:gd name="T32" fmla="*/ 16 w 181"/>
                  <a:gd name="T33" fmla="*/ 189 h 239"/>
                  <a:gd name="T34" fmla="*/ 28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8 w 181"/>
                  <a:gd name="T41" fmla="*/ 237 h 239"/>
                  <a:gd name="T42" fmla="*/ 99 w 181"/>
                  <a:gd name="T43" fmla="*/ 239 h 239"/>
                  <a:gd name="T44" fmla="*/ 113 w 181"/>
                  <a:gd name="T45" fmla="*/ 238 h 239"/>
                  <a:gd name="T46" fmla="*/ 138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39 w 181"/>
                  <a:gd name="T55" fmla="*/ 180 h 239"/>
                  <a:gd name="T56" fmla="*/ 127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3 w 181"/>
                  <a:gd name="T63" fmla="*/ 196 h 239"/>
                  <a:gd name="T64" fmla="*/ 82 w 181"/>
                  <a:gd name="T65" fmla="*/ 193 h 239"/>
                  <a:gd name="T66" fmla="*/ 71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3 w 181"/>
                  <a:gd name="T79" fmla="*/ 74 h 239"/>
                  <a:gd name="T80" fmla="*/ 60 w 181"/>
                  <a:gd name="T81" fmla="*/ 64 h 239"/>
                  <a:gd name="T82" fmla="*/ 67 w 181"/>
                  <a:gd name="T83" fmla="*/ 55 h 239"/>
                  <a:gd name="T84" fmla="*/ 76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6 w 181"/>
                  <a:gd name="T91" fmla="*/ 43 h 239"/>
                  <a:gd name="T92" fmla="*/ 120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4" y="22"/>
                    </a:lnTo>
                    <a:lnTo>
                      <a:pt x="155" y="16"/>
                    </a:lnTo>
                    <a:lnTo>
                      <a:pt x="145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2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2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4" y="81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7" y="169"/>
                    </a:lnTo>
                    <a:lnTo>
                      <a:pt x="11" y="179"/>
                    </a:lnTo>
                    <a:lnTo>
                      <a:pt x="16" y="189"/>
                    </a:lnTo>
                    <a:lnTo>
                      <a:pt x="22" y="198"/>
                    </a:lnTo>
                    <a:lnTo>
                      <a:pt x="28" y="206"/>
                    </a:lnTo>
                    <a:lnTo>
                      <a:pt x="35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8" y="237"/>
                    </a:lnTo>
                    <a:lnTo>
                      <a:pt x="88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3" y="238"/>
                    </a:lnTo>
                    <a:lnTo>
                      <a:pt x="126" y="235"/>
                    </a:lnTo>
                    <a:lnTo>
                      <a:pt x="138" y="231"/>
                    </a:lnTo>
                    <a:lnTo>
                      <a:pt x="148" y="226"/>
                    </a:lnTo>
                    <a:lnTo>
                      <a:pt x="158" y="220"/>
                    </a:lnTo>
                    <a:lnTo>
                      <a:pt x="166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39" y="180"/>
                    </a:lnTo>
                    <a:lnTo>
                      <a:pt x="133" y="185"/>
                    </a:lnTo>
                    <a:lnTo>
                      <a:pt x="127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3" y="196"/>
                    </a:lnTo>
                    <a:lnTo>
                      <a:pt x="87" y="195"/>
                    </a:lnTo>
                    <a:lnTo>
                      <a:pt x="82" y="193"/>
                    </a:lnTo>
                    <a:lnTo>
                      <a:pt x="76" y="190"/>
                    </a:lnTo>
                    <a:lnTo>
                      <a:pt x="71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59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3" y="74"/>
                    </a:lnTo>
                    <a:lnTo>
                      <a:pt x="56" y="69"/>
                    </a:lnTo>
                    <a:lnTo>
                      <a:pt x="60" y="64"/>
                    </a:lnTo>
                    <a:lnTo>
                      <a:pt x="63" y="59"/>
                    </a:lnTo>
                    <a:lnTo>
                      <a:pt x="67" y="55"/>
                    </a:lnTo>
                    <a:lnTo>
                      <a:pt x="72" y="51"/>
                    </a:lnTo>
                    <a:lnTo>
                      <a:pt x="76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6" y="43"/>
                    </a:lnTo>
                    <a:lnTo>
                      <a:pt x="113" y="45"/>
                    </a:lnTo>
                    <a:lnTo>
                      <a:pt x="120" y="47"/>
                    </a:lnTo>
                    <a:lnTo>
                      <a:pt x="127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4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2" name="Freeform 31"/>
              <p:cNvSpPr>
                <a:spLocks noEditPoints="1"/>
              </p:cNvSpPr>
              <p:nvPr userDrawn="1"/>
            </p:nvSpPr>
            <p:spPr bwMode="auto">
              <a:xfrm>
                <a:off x="2027237" y="6119032"/>
                <a:ext cx="82550" cy="125413"/>
              </a:xfrm>
              <a:custGeom>
                <a:avLst/>
                <a:gdLst>
                  <a:gd name="T0" fmla="*/ 211 w 211"/>
                  <a:gd name="T1" fmla="*/ 81 h 315"/>
                  <a:gd name="T2" fmla="*/ 209 w 211"/>
                  <a:gd name="T3" fmla="*/ 62 h 315"/>
                  <a:gd name="T4" fmla="*/ 204 w 211"/>
                  <a:gd name="T5" fmla="*/ 46 h 315"/>
                  <a:gd name="T6" fmla="*/ 195 w 211"/>
                  <a:gd name="T7" fmla="*/ 32 h 315"/>
                  <a:gd name="T8" fmla="*/ 182 w 211"/>
                  <a:gd name="T9" fmla="*/ 21 h 315"/>
                  <a:gd name="T10" fmla="*/ 167 w 211"/>
                  <a:gd name="T11" fmla="*/ 12 h 315"/>
                  <a:gd name="T12" fmla="*/ 149 w 211"/>
                  <a:gd name="T13" fmla="*/ 5 h 315"/>
                  <a:gd name="T14" fmla="*/ 128 w 211"/>
                  <a:gd name="T15" fmla="*/ 1 h 315"/>
                  <a:gd name="T16" fmla="*/ 106 w 211"/>
                  <a:gd name="T17" fmla="*/ 0 h 315"/>
                  <a:gd name="T18" fmla="*/ 89 w 211"/>
                  <a:gd name="T19" fmla="*/ 1 h 315"/>
                  <a:gd name="T20" fmla="*/ 59 w 211"/>
                  <a:gd name="T21" fmla="*/ 8 h 315"/>
                  <a:gd name="T22" fmla="*/ 32 w 211"/>
                  <a:gd name="T23" fmla="*/ 20 h 315"/>
                  <a:gd name="T24" fmla="*/ 9 w 211"/>
                  <a:gd name="T25" fmla="*/ 36 h 315"/>
                  <a:gd name="T26" fmla="*/ 29 w 211"/>
                  <a:gd name="T27" fmla="*/ 79 h 315"/>
                  <a:gd name="T28" fmla="*/ 38 w 211"/>
                  <a:gd name="T29" fmla="*/ 71 h 315"/>
                  <a:gd name="T30" fmla="*/ 56 w 211"/>
                  <a:gd name="T31" fmla="*/ 58 h 315"/>
                  <a:gd name="T32" fmla="*/ 74 w 211"/>
                  <a:gd name="T33" fmla="*/ 50 h 315"/>
                  <a:gd name="T34" fmla="*/ 94 w 211"/>
                  <a:gd name="T35" fmla="*/ 46 h 315"/>
                  <a:gd name="T36" fmla="*/ 105 w 211"/>
                  <a:gd name="T37" fmla="*/ 45 h 315"/>
                  <a:gd name="T38" fmla="*/ 130 w 211"/>
                  <a:gd name="T39" fmla="*/ 48 h 315"/>
                  <a:gd name="T40" fmla="*/ 149 w 211"/>
                  <a:gd name="T41" fmla="*/ 55 h 315"/>
                  <a:gd name="T42" fmla="*/ 161 w 211"/>
                  <a:gd name="T43" fmla="*/ 67 h 315"/>
                  <a:gd name="T44" fmla="*/ 165 w 211"/>
                  <a:gd name="T45" fmla="*/ 84 h 315"/>
                  <a:gd name="T46" fmla="*/ 164 w 211"/>
                  <a:gd name="T47" fmla="*/ 91 h 315"/>
                  <a:gd name="T48" fmla="*/ 160 w 211"/>
                  <a:gd name="T49" fmla="*/ 103 h 315"/>
                  <a:gd name="T50" fmla="*/ 152 w 211"/>
                  <a:gd name="T51" fmla="*/ 113 h 315"/>
                  <a:gd name="T52" fmla="*/ 131 w 211"/>
                  <a:gd name="T53" fmla="*/ 127 h 315"/>
                  <a:gd name="T54" fmla="*/ 115 w 211"/>
                  <a:gd name="T55" fmla="*/ 137 h 315"/>
                  <a:gd name="T56" fmla="*/ 92 w 211"/>
                  <a:gd name="T57" fmla="*/ 155 h 315"/>
                  <a:gd name="T58" fmla="*/ 84 w 211"/>
                  <a:gd name="T59" fmla="*/ 165 h 315"/>
                  <a:gd name="T60" fmla="*/ 79 w 211"/>
                  <a:gd name="T61" fmla="*/ 177 h 315"/>
                  <a:gd name="T62" fmla="*/ 74 w 211"/>
                  <a:gd name="T63" fmla="*/ 204 h 315"/>
                  <a:gd name="T64" fmla="*/ 121 w 211"/>
                  <a:gd name="T65" fmla="*/ 222 h 315"/>
                  <a:gd name="T66" fmla="*/ 121 w 211"/>
                  <a:gd name="T67" fmla="*/ 211 h 315"/>
                  <a:gd name="T68" fmla="*/ 124 w 211"/>
                  <a:gd name="T69" fmla="*/ 193 h 315"/>
                  <a:gd name="T70" fmla="*/ 131 w 211"/>
                  <a:gd name="T71" fmla="*/ 180 h 315"/>
                  <a:gd name="T72" fmla="*/ 145 w 211"/>
                  <a:gd name="T73" fmla="*/ 168 h 315"/>
                  <a:gd name="T74" fmla="*/ 155 w 211"/>
                  <a:gd name="T75" fmla="*/ 163 h 315"/>
                  <a:gd name="T76" fmla="*/ 179 w 211"/>
                  <a:gd name="T77" fmla="*/ 147 h 315"/>
                  <a:gd name="T78" fmla="*/ 197 w 211"/>
                  <a:gd name="T79" fmla="*/ 130 h 315"/>
                  <a:gd name="T80" fmla="*/ 208 w 211"/>
                  <a:gd name="T81" fmla="*/ 109 h 315"/>
                  <a:gd name="T82" fmla="*/ 211 w 211"/>
                  <a:gd name="T83" fmla="*/ 81 h 315"/>
                  <a:gd name="T84" fmla="*/ 130 w 211"/>
                  <a:gd name="T85" fmla="*/ 282 h 315"/>
                  <a:gd name="T86" fmla="*/ 129 w 211"/>
                  <a:gd name="T87" fmla="*/ 276 h 315"/>
                  <a:gd name="T88" fmla="*/ 124 w 211"/>
                  <a:gd name="T89" fmla="*/ 264 h 315"/>
                  <a:gd name="T90" fmla="*/ 115 w 211"/>
                  <a:gd name="T91" fmla="*/ 255 h 315"/>
                  <a:gd name="T92" fmla="*/ 104 w 211"/>
                  <a:gd name="T93" fmla="*/ 250 h 315"/>
                  <a:gd name="T94" fmla="*/ 97 w 211"/>
                  <a:gd name="T95" fmla="*/ 249 h 315"/>
                  <a:gd name="T96" fmla="*/ 85 w 211"/>
                  <a:gd name="T97" fmla="*/ 252 h 315"/>
                  <a:gd name="T98" fmla="*/ 74 w 211"/>
                  <a:gd name="T99" fmla="*/ 259 h 315"/>
                  <a:gd name="T100" fmla="*/ 67 w 211"/>
                  <a:gd name="T101" fmla="*/ 269 h 315"/>
                  <a:gd name="T102" fmla="*/ 65 w 211"/>
                  <a:gd name="T103" fmla="*/ 282 h 315"/>
                  <a:gd name="T104" fmla="*/ 65 w 211"/>
                  <a:gd name="T105" fmla="*/ 289 h 315"/>
                  <a:gd name="T106" fmla="*/ 70 w 211"/>
                  <a:gd name="T107" fmla="*/ 301 h 315"/>
                  <a:gd name="T108" fmla="*/ 79 w 211"/>
                  <a:gd name="T109" fmla="*/ 309 h 315"/>
                  <a:gd name="T110" fmla="*/ 91 w 211"/>
                  <a:gd name="T111" fmla="*/ 314 h 315"/>
                  <a:gd name="T112" fmla="*/ 97 w 211"/>
                  <a:gd name="T113" fmla="*/ 315 h 315"/>
                  <a:gd name="T114" fmla="*/ 110 w 211"/>
                  <a:gd name="T115" fmla="*/ 312 h 315"/>
                  <a:gd name="T116" fmla="*/ 120 w 211"/>
                  <a:gd name="T117" fmla="*/ 305 h 315"/>
                  <a:gd name="T118" fmla="*/ 127 w 211"/>
                  <a:gd name="T119" fmla="*/ 295 h 315"/>
                  <a:gd name="T120" fmla="*/ 130 w 211"/>
                  <a:gd name="T121" fmla="*/ 28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11" h="315">
                    <a:moveTo>
                      <a:pt x="211" y="81"/>
                    </a:moveTo>
                    <a:lnTo>
                      <a:pt x="211" y="81"/>
                    </a:lnTo>
                    <a:lnTo>
                      <a:pt x="211" y="71"/>
                    </a:lnTo>
                    <a:lnTo>
                      <a:pt x="209" y="62"/>
                    </a:lnTo>
                    <a:lnTo>
                      <a:pt x="207" y="54"/>
                    </a:lnTo>
                    <a:lnTo>
                      <a:pt x="204" y="46"/>
                    </a:lnTo>
                    <a:lnTo>
                      <a:pt x="199" y="39"/>
                    </a:lnTo>
                    <a:lnTo>
                      <a:pt x="195" y="32"/>
                    </a:lnTo>
                    <a:lnTo>
                      <a:pt x="189" y="26"/>
                    </a:lnTo>
                    <a:lnTo>
                      <a:pt x="182" y="21"/>
                    </a:lnTo>
                    <a:lnTo>
                      <a:pt x="175" y="16"/>
                    </a:lnTo>
                    <a:lnTo>
                      <a:pt x="167" y="12"/>
                    </a:lnTo>
                    <a:lnTo>
                      <a:pt x="159" y="8"/>
                    </a:lnTo>
                    <a:lnTo>
                      <a:pt x="149" y="5"/>
                    </a:lnTo>
                    <a:lnTo>
                      <a:pt x="139" y="3"/>
                    </a:lnTo>
                    <a:lnTo>
                      <a:pt x="128" y="1"/>
                    </a:lnTo>
                    <a:lnTo>
                      <a:pt x="117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89" y="1"/>
                    </a:lnTo>
                    <a:lnTo>
                      <a:pt x="74" y="4"/>
                    </a:lnTo>
                    <a:lnTo>
                      <a:pt x="59" y="8"/>
                    </a:lnTo>
                    <a:lnTo>
                      <a:pt x="45" y="13"/>
                    </a:lnTo>
                    <a:lnTo>
                      <a:pt x="32" y="20"/>
                    </a:lnTo>
                    <a:lnTo>
                      <a:pt x="20" y="27"/>
                    </a:lnTo>
                    <a:lnTo>
                      <a:pt x="9" y="36"/>
                    </a:lnTo>
                    <a:lnTo>
                      <a:pt x="0" y="45"/>
                    </a:lnTo>
                    <a:lnTo>
                      <a:pt x="29" y="79"/>
                    </a:lnTo>
                    <a:lnTo>
                      <a:pt x="29" y="79"/>
                    </a:lnTo>
                    <a:lnTo>
                      <a:pt x="38" y="71"/>
                    </a:lnTo>
                    <a:lnTo>
                      <a:pt x="47" y="64"/>
                    </a:lnTo>
                    <a:lnTo>
                      <a:pt x="56" y="58"/>
                    </a:lnTo>
                    <a:lnTo>
                      <a:pt x="65" y="54"/>
                    </a:lnTo>
                    <a:lnTo>
                      <a:pt x="74" y="50"/>
                    </a:lnTo>
                    <a:lnTo>
                      <a:pt x="84" y="47"/>
                    </a:lnTo>
                    <a:lnTo>
                      <a:pt x="94" y="46"/>
                    </a:lnTo>
                    <a:lnTo>
                      <a:pt x="105" y="45"/>
                    </a:lnTo>
                    <a:lnTo>
                      <a:pt x="105" y="45"/>
                    </a:lnTo>
                    <a:lnTo>
                      <a:pt x="118" y="46"/>
                    </a:lnTo>
                    <a:lnTo>
                      <a:pt x="130" y="48"/>
                    </a:lnTo>
                    <a:lnTo>
                      <a:pt x="140" y="51"/>
                    </a:lnTo>
                    <a:lnTo>
                      <a:pt x="149" y="55"/>
                    </a:lnTo>
                    <a:lnTo>
                      <a:pt x="156" y="61"/>
                    </a:lnTo>
                    <a:lnTo>
                      <a:pt x="161" y="67"/>
                    </a:lnTo>
                    <a:lnTo>
                      <a:pt x="164" y="75"/>
                    </a:lnTo>
                    <a:lnTo>
                      <a:pt x="165" y="84"/>
                    </a:lnTo>
                    <a:lnTo>
                      <a:pt x="165" y="84"/>
                    </a:lnTo>
                    <a:lnTo>
                      <a:pt x="164" y="91"/>
                    </a:lnTo>
                    <a:lnTo>
                      <a:pt x="163" y="98"/>
                    </a:lnTo>
                    <a:lnTo>
                      <a:pt x="160" y="103"/>
                    </a:lnTo>
                    <a:lnTo>
                      <a:pt x="157" y="108"/>
                    </a:lnTo>
                    <a:lnTo>
                      <a:pt x="152" y="113"/>
                    </a:lnTo>
                    <a:lnTo>
                      <a:pt x="147" y="118"/>
                    </a:lnTo>
                    <a:lnTo>
                      <a:pt x="131" y="127"/>
                    </a:lnTo>
                    <a:lnTo>
                      <a:pt x="131" y="127"/>
                    </a:lnTo>
                    <a:lnTo>
                      <a:pt x="115" y="137"/>
                    </a:lnTo>
                    <a:lnTo>
                      <a:pt x="102" y="146"/>
                    </a:lnTo>
                    <a:lnTo>
                      <a:pt x="92" y="155"/>
                    </a:lnTo>
                    <a:lnTo>
                      <a:pt x="88" y="160"/>
                    </a:lnTo>
                    <a:lnTo>
                      <a:pt x="84" y="165"/>
                    </a:lnTo>
                    <a:lnTo>
                      <a:pt x="81" y="171"/>
                    </a:lnTo>
                    <a:lnTo>
                      <a:pt x="79" y="177"/>
                    </a:lnTo>
                    <a:lnTo>
                      <a:pt x="76" y="189"/>
                    </a:lnTo>
                    <a:lnTo>
                      <a:pt x="74" y="204"/>
                    </a:lnTo>
                    <a:lnTo>
                      <a:pt x="74" y="222"/>
                    </a:lnTo>
                    <a:lnTo>
                      <a:pt x="121" y="222"/>
                    </a:lnTo>
                    <a:lnTo>
                      <a:pt x="121" y="222"/>
                    </a:lnTo>
                    <a:lnTo>
                      <a:pt x="121" y="211"/>
                    </a:lnTo>
                    <a:lnTo>
                      <a:pt x="122" y="201"/>
                    </a:lnTo>
                    <a:lnTo>
                      <a:pt x="124" y="193"/>
                    </a:lnTo>
                    <a:lnTo>
                      <a:pt x="127" y="186"/>
                    </a:lnTo>
                    <a:lnTo>
                      <a:pt x="131" y="180"/>
                    </a:lnTo>
                    <a:lnTo>
                      <a:pt x="137" y="174"/>
                    </a:lnTo>
                    <a:lnTo>
                      <a:pt x="145" y="168"/>
                    </a:lnTo>
                    <a:lnTo>
                      <a:pt x="155" y="163"/>
                    </a:lnTo>
                    <a:lnTo>
                      <a:pt x="155" y="163"/>
                    </a:lnTo>
                    <a:lnTo>
                      <a:pt x="168" y="155"/>
                    </a:lnTo>
                    <a:lnTo>
                      <a:pt x="179" y="147"/>
                    </a:lnTo>
                    <a:lnTo>
                      <a:pt x="189" y="139"/>
                    </a:lnTo>
                    <a:lnTo>
                      <a:pt x="197" y="130"/>
                    </a:lnTo>
                    <a:lnTo>
                      <a:pt x="203" y="120"/>
                    </a:lnTo>
                    <a:lnTo>
                      <a:pt x="208" y="109"/>
                    </a:lnTo>
                    <a:lnTo>
                      <a:pt x="210" y="96"/>
                    </a:lnTo>
                    <a:lnTo>
                      <a:pt x="211" y="81"/>
                    </a:lnTo>
                    <a:lnTo>
                      <a:pt x="211" y="81"/>
                    </a:lnTo>
                    <a:close/>
                    <a:moveTo>
                      <a:pt x="130" y="282"/>
                    </a:moveTo>
                    <a:lnTo>
                      <a:pt x="130" y="282"/>
                    </a:lnTo>
                    <a:lnTo>
                      <a:pt x="129" y="276"/>
                    </a:lnTo>
                    <a:lnTo>
                      <a:pt x="127" y="269"/>
                    </a:lnTo>
                    <a:lnTo>
                      <a:pt x="124" y="264"/>
                    </a:lnTo>
                    <a:lnTo>
                      <a:pt x="120" y="259"/>
                    </a:lnTo>
                    <a:lnTo>
                      <a:pt x="115" y="255"/>
                    </a:lnTo>
                    <a:lnTo>
                      <a:pt x="110" y="252"/>
                    </a:lnTo>
                    <a:lnTo>
                      <a:pt x="104" y="250"/>
                    </a:lnTo>
                    <a:lnTo>
                      <a:pt x="97" y="249"/>
                    </a:lnTo>
                    <a:lnTo>
                      <a:pt x="97" y="249"/>
                    </a:lnTo>
                    <a:lnTo>
                      <a:pt x="91" y="250"/>
                    </a:lnTo>
                    <a:lnTo>
                      <a:pt x="85" y="252"/>
                    </a:lnTo>
                    <a:lnTo>
                      <a:pt x="79" y="255"/>
                    </a:lnTo>
                    <a:lnTo>
                      <a:pt x="74" y="259"/>
                    </a:lnTo>
                    <a:lnTo>
                      <a:pt x="70" y="264"/>
                    </a:lnTo>
                    <a:lnTo>
                      <a:pt x="67" y="269"/>
                    </a:lnTo>
                    <a:lnTo>
                      <a:pt x="65" y="276"/>
                    </a:lnTo>
                    <a:lnTo>
                      <a:pt x="65" y="282"/>
                    </a:lnTo>
                    <a:lnTo>
                      <a:pt x="65" y="282"/>
                    </a:lnTo>
                    <a:lnTo>
                      <a:pt x="65" y="289"/>
                    </a:lnTo>
                    <a:lnTo>
                      <a:pt x="67" y="295"/>
                    </a:lnTo>
                    <a:lnTo>
                      <a:pt x="70" y="301"/>
                    </a:lnTo>
                    <a:lnTo>
                      <a:pt x="74" y="305"/>
                    </a:lnTo>
                    <a:lnTo>
                      <a:pt x="79" y="309"/>
                    </a:lnTo>
                    <a:lnTo>
                      <a:pt x="85" y="312"/>
                    </a:lnTo>
                    <a:lnTo>
                      <a:pt x="91" y="314"/>
                    </a:lnTo>
                    <a:lnTo>
                      <a:pt x="97" y="315"/>
                    </a:lnTo>
                    <a:lnTo>
                      <a:pt x="97" y="315"/>
                    </a:lnTo>
                    <a:lnTo>
                      <a:pt x="104" y="314"/>
                    </a:lnTo>
                    <a:lnTo>
                      <a:pt x="110" y="312"/>
                    </a:lnTo>
                    <a:lnTo>
                      <a:pt x="115" y="309"/>
                    </a:lnTo>
                    <a:lnTo>
                      <a:pt x="120" y="305"/>
                    </a:lnTo>
                    <a:lnTo>
                      <a:pt x="124" y="301"/>
                    </a:lnTo>
                    <a:lnTo>
                      <a:pt x="127" y="295"/>
                    </a:lnTo>
                    <a:lnTo>
                      <a:pt x="129" y="289"/>
                    </a:lnTo>
                    <a:lnTo>
                      <a:pt x="130" y="282"/>
                    </a:lnTo>
                    <a:lnTo>
                      <a:pt x="130" y="28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3" name="Freeform 32"/>
              <p:cNvSpPr>
                <a:spLocks/>
              </p:cNvSpPr>
              <p:nvPr userDrawn="1"/>
            </p:nvSpPr>
            <p:spPr bwMode="auto">
              <a:xfrm>
                <a:off x="2163762" y="6120619"/>
                <a:ext cx="104775" cy="122238"/>
              </a:xfrm>
              <a:custGeom>
                <a:avLst/>
                <a:gdLst>
                  <a:gd name="T0" fmla="*/ 120 w 264"/>
                  <a:gd name="T1" fmla="*/ 305 h 305"/>
                  <a:gd name="T2" fmla="*/ 264 w 264"/>
                  <a:gd name="T3" fmla="*/ 0 h 305"/>
                  <a:gd name="T4" fmla="*/ 212 w 264"/>
                  <a:gd name="T5" fmla="*/ 0 h 305"/>
                  <a:gd name="T6" fmla="*/ 170 w 264"/>
                  <a:gd name="T7" fmla="*/ 98 h 305"/>
                  <a:gd name="T8" fmla="*/ 170 w 264"/>
                  <a:gd name="T9" fmla="*/ 98 h 305"/>
                  <a:gd name="T10" fmla="*/ 154 w 264"/>
                  <a:gd name="T11" fmla="*/ 136 h 305"/>
                  <a:gd name="T12" fmla="*/ 141 w 264"/>
                  <a:gd name="T13" fmla="*/ 167 h 305"/>
                  <a:gd name="T14" fmla="*/ 141 w 264"/>
                  <a:gd name="T15" fmla="*/ 167 h 305"/>
                  <a:gd name="T16" fmla="*/ 126 w 264"/>
                  <a:gd name="T17" fmla="*/ 135 h 305"/>
                  <a:gd name="T18" fmla="*/ 107 w 264"/>
                  <a:gd name="T19" fmla="*/ 97 h 305"/>
                  <a:gd name="T20" fmla="*/ 57 w 264"/>
                  <a:gd name="T21" fmla="*/ 0 h 305"/>
                  <a:gd name="T22" fmla="*/ 0 w 264"/>
                  <a:gd name="T23" fmla="*/ 0 h 305"/>
                  <a:gd name="T24" fmla="*/ 115 w 264"/>
                  <a:gd name="T25" fmla="*/ 213 h 305"/>
                  <a:gd name="T26" fmla="*/ 69 w 264"/>
                  <a:gd name="T27" fmla="*/ 305 h 305"/>
                  <a:gd name="T28" fmla="*/ 120 w 264"/>
                  <a:gd name="T2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305">
                    <a:moveTo>
                      <a:pt x="120" y="305"/>
                    </a:moveTo>
                    <a:lnTo>
                      <a:pt x="264" y="0"/>
                    </a:lnTo>
                    <a:lnTo>
                      <a:pt x="212" y="0"/>
                    </a:lnTo>
                    <a:lnTo>
                      <a:pt x="170" y="98"/>
                    </a:lnTo>
                    <a:lnTo>
                      <a:pt x="170" y="98"/>
                    </a:lnTo>
                    <a:lnTo>
                      <a:pt x="154" y="136"/>
                    </a:lnTo>
                    <a:lnTo>
                      <a:pt x="141" y="167"/>
                    </a:lnTo>
                    <a:lnTo>
                      <a:pt x="141" y="167"/>
                    </a:lnTo>
                    <a:lnTo>
                      <a:pt x="126" y="135"/>
                    </a:lnTo>
                    <a:lnTo>
                      <a:pt x="107" y="97"/>
                    </a:lnTo>
                    <a:lnTo>
                      <a:pt x="57" y="0"/>
                    </a:lnTo>
                    <a:lnTo>
                      <a:pt x="0" y="0"/>
                    </a:lnTo>
                    <a:lnTo>
                      <a:pt x="115" y="213"/>
                    </a:lnTo>
                    <a:lnTo>
                      <a:pt x="69" y="305"/>
                    </a:lnTo>
                    <a:lnTo>
                      <a:pt x="120" y="30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4" name="Freeform 33"/>
              <p:cNvSpPr>
                <a:spLocks/>
              </p:cNvSpPr>
              <p:nvPr userDrawn="1"/>
            </p:nvSpPr>
            <p:spPr bwMode="auto">
              <a:xfrm>
                <a:off x="2327275" y="6150782"/>
                <a:ext cx="73025" cy="92075"/>
              </a:xfrm>
              <a:custGeom>
                <a:avLst/>
                <a:gdLst>
                  <a:gd name="T0" fmla="*/ 139 w 184"/>
                  <a:gd name="T1" fmla="*/ 0 h 229"/>
                  <a:gd name="T2" fmla="*/ 139 w 184"/>
                  <a:gd name="T3" fmla="*/ 88 h 229"/>
                  <a:gd name="T4" fmla="*/ 45 w 184"/>
                  <a:gd name="T5" fmla="*/ 88 h 229"/>
                  <a:gd name="T6" fmla="*/ 45 w 184"/>
                  <a:gd name="T7" fmla="*/ 0 h 229"/>
                  <a:gd name="T8" fmla="*/ 0 w 184"/>
                  <a:gd name="T9" fmla="*/ 0 h 229"/>
                  <a:gd name="T10" fmla="*/ 0 w 184"/>
                  <a:gd name="T11" fmla="*/ 229 h 229"/>
                  <a:gd name="T12" fmla="*/ 45 w 184"/>
                  <a:gd name="T13" fmla="*/ 229 h 229"/>
                  <a:gd name="T14" fmla="*/ 45 w 184"/>
                  <a:gd name="T15" fmla="*/ 127 h 229"/>
                  <a:gd name="T16" fmla="*/ 139 w 184"/>
                  <a:gd name="T17" fmla="*/ 127 h 229"/>
                  <a:gd name="T18" fmla="*/ 139 w 184"/>
                  <a:gd name="T19" fmla="*/ 229 h 229"/>
                  <a:gd name="T20" fmla="*/ 184 w 184"/>
                  <a:gd name="T21" fmla="*/ 229 h 229"/>
                  <a:gd name="T22" fmla="*/ 184 w 184"/>
                  <a:gd name="T23" fmla="*/ 0 h 229"/>
                  <a:gd name="T24" fmla="*/ 139 w 184"/>
                  <a:gd name="T25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4" h="229">
                    <a:moveTo>
                      <a:pt x="139" y="0"/>
                    </a:moveTo>
                    <a:lnTo>
                      <a:pt x="139" y="88"/>
                    </a:lnTo>
                    <a:lnTo>
                      <a:pt x="45" y="88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29"/>
                    </a:lnTo>
                    <a:lnTo>
                      <a:pt x="45" y="229"/>
                    </a:lnTo>
                    <a:lnTo>
                      <a:pt x="45" y="127"/>
                    </a:lnTo>
                    <a:lnTo>
                      <a:pt x="139" y="127"/>
                    </a:lnTo>
                    <a:lnTo>
                      <a:pt x="139" y="229"/>
                    </a:lnTo>
                    <a:lnTo>
                      <a:pt x="184" y="229"/>
                    </a:lnTo>
                    <a:lnTo>
                      <a:pt x="184" y="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5" name="Freeform 34"/>
              <p:cNvSpPr>
                <a:spLocks noEditPoints="1"/>
              </p:cNvSpPr>
              <p:nvPr userDrawn="1"/>
            </p:nvSpPr>
            <p:spPr bwMode="auto">
              <a:xfrm>
                <a:off x="2419350" y="6149194"/>
                <a:ext cx="73025" cy="95250"/>
              </a:xfrm>
              <a:custGeom>
                <a:avLst/>
                <a:gdLst>
                  <a:gd name="T0" fmla="*/ 187 w 187"/>
                  <a:gd name="T1" fmla="*/ 77 h 239"/>
                  <a:gd name="T2" fmla="*/ 187 w 187"/>
                  <a:gd name="T3" fmla="*/ 68 h 239"/>
                  <a:gd name="T4" fmla="*/ 184 w 187"/>
                  <a:gd name="T5" fmla="*/ 51 h 239"/>
                  <a:gd name="T6" fmla="*/ 178 w 187"/>
                  <a:gd name="T7" fmla="*/ 36 h 239"/>
                  <a:gd name="T8" fmla="*/ 169 w 187"/>
                  <a:gd name="T9" fmla="*/ 24 h 239"/>
                  <a:gd name="T10" fmla="*/ 158 w 187"/>
                  <a:gd name="T11" fmla="*/ 15 h 239"/>
                  <a:gd name="T12" fmla="*/ 143 w 187"/>
                  <a:gd name="T13" fmla="*/ 8 h 239"/>
                  <a:gd name="T14" fmla="*/ 127 w 187"/>
                  <a:gd name="T15" fmla="*/ 3 h 239"/>
                  <a:gd name="T16" fmla="*/ 110 w 187"/>
                  <a:gd name="T17" fmla="*/ 1 h 239"/>
                  <a:gd name="T18" fmla="*/ 101 w 187"/>
                  <a:gd name="T19" fmla="*/ 0 h 239"/>
                  <a:gd name="T20" fmla="*/ 78 w 187"/>
                  <a:gd name="T21" fmla="*/ 2 h 239"/>
                  <a:gd name="T22" fmla="*/ 57 w 187"/>
                  <a:gd name="T23" fmla="*/ 6 h 239"/>
                  <a:gd name="T24" fmla="*/ 39 w 187"/>
                  <a:gd name="T25" fmla="*/ 12 h 239"/>
                  <a:gd name="T26" fmla="*/ 22 w 187"/>
                  <a:gd name="T27" fmla="*/ 21 h 239"/>
                  <a:gd name="T28" fmla="*/ 39 w 187"/>
                  <a:gd name="T29" fmla="*/ 55 h 239"/>
                  <a:gd name="T30" fmla="*/ 67 w 187"/>
                  <a:gd name="T31" fmla="*/ 44 h 239"/>
                  <a:gd name="T32" fmla="*/ 99 w 187"/>
                  <a:gd name="T33" fmla="*/ 40 h 239"/>
                  <a:gd name="T34" fmla="*/ 109 w 187"/>
                  <a:gd name="T35" fmla="*/ 41 h 239"/>
                  <a:gd name="T36" fmla="*/ 125 w 187"/>
                  <a:gd name="T37" fmla="*/ 46 h 239"/>
                  <a:gd name="T38" fmla="*/ 136 w 187"/>
                  <a:gd name="T39" fmla="*/ 56 h 239"/>
                  <a:gd name="T40" fmla="*/ 142 w 187"/>
                  <a:gd name="T41" fmla="*/ 70 h 239"/>
                  <a:gd name="T42" fmla="*/ 142 w 187"/>
                  <a:gd name="T43" fmla="*/ 96 h 239"/>
                  <a:gd name="T44" fmla="*/ 133 w 187"/>
                  <a:gd name="T45" fmla="*/ 93 h 239"/>
                  <a:gd name="T46" fmla="*/ 108 w 187"/>
                  <a:gd name="T47" fmla="*/ 88 h 239"/>
                  <a:gd name="T48" fmla="*/ 91 w 187"/>
                  <a:gd name="T49" fmla="*/ 88 h 239"/>
                  <a:gd name="T50" fmla="*/ 64 w 187"/>
                  <a:gd name="T51" fmla="*/ 90 h 239"/>
                  <a:gd name="T52" fmla="*/ 47 w 187"/>
                  <a:gd name="T53" fmla="*/ 94 h 239"/>
                  <a:gd name="T54" fmla="*/ 33 w 187"/>
                  <a:gd name="T55" fmla="*/ 101 h 239"/>
                  <a:gd name="T56" fmla="*/ 21 w 187"/>
                  <a:gd name="T57" fmla="*/ 110 h 239"/>
                  <a:gd name="T58" fmla="*/ 11 w 187"/>
                  <a:gd name="T59" fmla="*/ 122 h 239"/>
                  <a:gd name="T60" fmla="*/ 4 w 187"/>
                  <a:gd name="T61" fmla="*/ 136 h 239"/>
                  <a:gd name="T62" fmla="*/ 1 w 187"/>
                  <a:gd name="T63" fmla="*/ 152 h 239"/>
                  <a:gd name="T64" fmla="*/ 0 w 187"/>
                  <a:gd name="T65" fmla="*/ 162 h 239"/>
                  <a:gd name="T66" fmla="*/ 2 w 187"/>
                  <a:gd name="T67" fmla="*/ 181 h 239"/>
                  <a:gd name="T68" fmla="*/ 7 w 187"/>
                  <a:gd name="T69" fmla="*/ 197 h 239"/>
                  <a:gd name="T70" fmla="*/ 16 w 187"/>
                  <a:gd name="T71" fmla="*/ 211 h 239"/>
                  <a:gd name="T72" fmla="*/ 26 w 187"/>
                  <a:gd name="T73" fmla="*/ 221 h 239"/>
                  <a:gd name="T74" fmla="*/ 38 w 187"/>
                  <a:gd name="T75" fmla="*/ 229 h 239"/>
                  <a:gd name="T76" fmla="*/ 52 w 187"/>
                  <a:gd name="T77" fmla="*/ 235 h 239"/>
                  <a:gd name="T78" fmla="*/ 80 w 187"/>
                  <a:gd name="T79" fmla="*/ 239 h 239"/>
                  <a:gd name="T80" fmla="*/ 91 w 187"/>
                  <a:gd name="T81" fmla="*/ 238 h 239"/>
                  <a:gd name="T82" fmla="*/ 109 w 187"/>
                  <a:gd name="T83" fmla="*/ 234 h 239"/>
                  <a:gd name="T84" fmla="*/ 116 w 187"/>
                  <a:gd name="T85" fmla="*/ 231 h 239"/>
                  <a:gd name="T86" fmla="*/ 134 w 187"/>
                  <a:gd name="T87" fmla="*/ 218 h 239"/>
                  <a:gd name="T88" fmla="*/ 142 w 187"/>
                  <a:gd name="T89" fmla="*/ 234 h 239"/>
                  <a:gd name="T90" fmla="*/ 142 w 187"/>
                  <a:gd name="T91" fmla="*/ 169 h 239"/>
                  <a:gd name="T92" fmla="*/ 138 w 187"/>
                  <a:gd name="T93" fmla="*/ 174 h 239"/>
                  <a:gd name="T94" fmla="*/ 127 w 187"/>
                  <a:gd name="T95" fmla="*/ 185 h 239"/>
                  <a:gd name="T96" fmla="*/ 112 w 187"/>
                  <a:gd name="T97" fmla="*/ 193 h 239"/>
                  <a:gd name="T98" fmla="*/ 96 w 187"/>
                  <a:gd name="T99" fmla="*/ 198 h 239"/>
                  <a:gd name="T100" fmla="*/ 87 w 187"/>
                  <a:gd name="T101" fmla="*/ 198 h 239"/>
                  <a:gd name="T102" fmla="*/ 69 w 187"/>
                  <a:gd name="T103" fmla="*/ 196 h 239"/>
                  <a:gd name="T104" fmla="*/ 56 w 187"/>
                  <a:gd name="T105" fmla="*/ 189 h 239"/>
                  <a:gd name="T106" fmla="*/ 51 w 187"/>
                  <a:gd name="T107" fmla="*/ 184 h 239"/>
                  <a:gd name="T108" fmla="*/ 44 w 187"/>
                  <a:gd name="T109" fmla="*/ 170 h 239"/>
                  <a:gd name="T110" fmla="*/ 43 w 187"/>
                  <a:gd name="T111" fmla="*/ 160 h 239"/>
                  <a:gd name="T112" fmla="*/ 46 w 187"/>
                  <a:gd name="T113" fmla="*/ 146 h 239"/>
                  <a:gd name="T114" fmla="*/ 56 w 187"/>
                  <a:gd name="T115" fmla="*/ 136 h 239"/>
                  <a:gd name="T116" fmla="*/ 70 w 187"/>
                  <a:gd name="T117" fmla="*/ 129 h 239"/>
                  <a:gd name="T118" fmla="*/ 90 w 187"/>
                  <a:gd name="T119" fmla="*/ 126 h 239"/>
                  <a:gd name="T120" fmla="*/ 107 w 187"/>
                  <a:gd name="T121" fmla="*/ 127 h 239"/>
                  <a:gd name="T122" fmla="*/ 120 w 187"/>
                  <a:gd name="T123" fmla="*/ 129 h 239"/>
                  <a:gd name="T124" fmla="*/ 142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4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7" y="68"/>
                    </a:lnTo>
                    <a:lnTo>
                      <a:pt x="186" y="59"/>
                    </a:lnTo>
                    <a:lnTo>
                      <a:pt x="184" y="51"/>
                    </a:lnTo>
                    <a:lnTo>
                      <a:pt x="181" y="43"/>
                    </a:lnTo>
                    <a:lnTo>
                      <a:pt x="178" y="36"/>
                    </a:lnTo>
                    <a:lnTo>
                      <a:pt x="174" y="30"/>
                    </a:lnTo>
                    <a:lnTo>
                      <a:pt x="169" y="24"/>
                    </a:lnTo>
                    <a:lnTo>
                      <a:pt x="164" y="19"/>
                    </a:lnTo>
                    <a:lnTo>
                      <a:pt x="158" y="15"/>
                    </a:lnTo>
                    <a:lnTo>
                      <a:pt x="150" y="11"/>
                    </a:lnTo>
                    <a:lnTo>
                      <a:pt x="143" y="8"/>
                    </a:lnTo>
                    <a:lnTo>
                      <a:pt x="135" y="5"/>
                    </a:lnTo>
                    <a:lnTo>
                      <a:pt x="127" y="3"/>
                    </a:lnTo>
                    <a:lnTo>
                      <a:pt x="119" y="2"/>
                    </a:lnTo>
                    <a:lnTo>
                      <a:pt x="110" y="1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7" y="3"/>
                    </a:lnTo>
                    <a:lnTo>
                      <a:pt x="57" y="6"/>
                    </a:lnTo>
                    <a:lnTo>
                      <a:pt x="48" y="8"/>
                    </a:lnTo>
                    <a:lnTo>
                      <a:pt x="39" y="12"/>
                    </a:lnTo>
                    <a:lnTo>
                      <a:pt x="30" y="16"/>
                    </a:lnTo>
                    <a:lnTo>
                      <a:pt x="22" y="21"/>
                    </a:lnTo>
                    <a:lnTo>
                      <a:pt x="39" y="55"/>
                    </a:lnTo>
                    <a:lnTo>
                      <a:pt x="39" y="55"/>
                    </a:lnTo>
                    <a:lnTo>
                      <a:pt x="53" y="48"/>
                    </a:lnTo>
                    <a:lnTo>
                      <a:pt x="67" y="44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9" y="41"/>
                    </a:lnTo>
                    <a:lnTo>
                      <a:pt x="118" y="43"/>
                    </a:lnTo>
                    <a:lnTo>
                      <a:pt x="125" y="46"/>
                    </a:lnTo>
                    <a:lnTo>
                      <a:pt x="131" y="51"/>
                    </a:lnTo>
                    <a:lnTo>
                      <a:pt x="136" y="56"/>
                    </a:lnTo>
                    <a:lnTo>
                      <a:pt x="140" y="63"/>
                    </a:lnTo>
                    <a:lnTo>
                      <a:pt x="142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3" y="93"/>
                    </a:lnTo>
                    <a:lnTo>
                      <a:pt x="122" y="90"/>
                    </a:lnTo>
                    <a:lnTo>
                      <a:pt x="108" y="88"/>
                    </a:lnTo>
                    <a:lnTo>
                      <a:pt x="91" y="88"/>
                    </a:lnTo>
                    <a:lnTo>
                      <a:pt x="91" y="88"/>
                    </a:lnTo>
                    <a:lnTo>
                      <a:pt x="73" y="89"/>
                    </a:lnTo>
                    <a:lnTo>
                      <a:pt x="64" y="90"/>
                    </a:lnTo>
                    <a:lnTo>
                      <a:pt x="55" y="92"/>
                    </a:lnTo>
                    <a:lnTo>
                      <a:pt x="47" y="94"/>
                    </a:lnTo>
                    <a:lnTo>
                      <a:pt x="40" y="98"/>
                    </a:lnTo>
                    <a:lnTo>
                      <a:pt x="33" y="101"/>
                    </a:lnTo>
                    <a:lnTo>
                      <a:pt x="26" y="105"/>
                    </a:lnTo>
                    <a:lnTo>
                      <a:pt x="21" y="110"/>
                    </a:lnTo>
                    <a:lnTo>
                      <a:pt x="15" y="116"/>
                    </a:lnTo>
                    <a:lnTo>
                      <a:pt x="11" y="122"/>
                    </a:lnTo>
                    <a:lnTo>
                      <a:pt x="7" y="129"/>
                    </a:lnTo>
                    <a:lnTo>
                      <a:pt x="4" y="136"/>
                    </a:lnTo>
                    <a:lnTo>
                      <a:pt x="2" y="144"/>
                    </a:lnTo>
                    <a:lnTo>
                      <a:pt x="1" y="152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1" y="172"/>
                    </a:lnTo>
                    <a:lnTo>
                      <a:pt x="2" y="181"/>
                    </a:lnTo>
                    <a:lnTo>
                      <a:pt x="4" y="190"/>
                    </a:lnTo>
                    <a:lnTo>
                      <a:pt x="7" y="197"/>
                    </a:lnTo>
                    <a:lnTo>
                      <a:pt x="11" y="204"/>
                    </a:lnTo>
                    <a:lnTo>
                      <a:pt x="16" y="211"/>
                    </a:lnTo>
                    <a:lnTo>
                      <a:pt x="21" y="216"/>
                    </a:lnTo>
                    <a:lnTo>
                      <a:pt x="26" y="221"/>
                    </a:lnTo>
                    <a:lnTo>
                      <a:pt x="32" y="226"/>
                    </a:lnTo>
                    <a:lnTo>
                      <a:pt x="38" y="229"/>
                    </a:lnTo>
                    <a:lnTo>
                      <a:pt x="45" y="232"/>
                    </a:lnTo>
                    <a:lnTo>
                      <a:pt x="52" y="235"/>
                    </a:lnTo>
                    <a:lnTo>
                      <a:pt x="66" y="238"/>
                    </a:lnTo>
                    <a:lnTo>
                      <a:pt x="80" y="239"/>
                    </a:lnTo>
                    <a:lnTo>
                      <a:pt x="80" y="239"/>
                    </a:lnTo>
                    <a:lnTo>
                      <a:pt x="91" y="238"/>
                    </a:lnTo>
                    <a:lnTo>
                      <a:pt x="100" y="236"/>
                    </a:lnTo>
                    <a:lnTo>
                      <a:pt x="109" y="234"/>
                    </a:lnTo>
                    <a:lnTo>
                      <a:pt x="116" y="231"/>
                    </a:lnTo>
                    <a:lnTo>
                      <a:pt x="116" y="231"/>
                    </a:lnTo>
                    <a:lnTo>
                      <a:pt x="128" y="223"/>
                    </a:lnTo>
                    <a:lnTo>
                      <a:pt x="134" y="218"/>
                    </a:lnTo>
                    <a:lnTo>
                      <a:pt x="142" y="211"/>
                    </a:lnTo>
                    <a:lnTo>
                      <a:pt x="142" y="234"/>
                    </a:lnTo>
                    <a:lnTo>
                      <a:pt x="187" y="234"/>
                    </a:lnTo>
                    <a:close/>
                    <a:moveTo>
                      <a:pt x="142" y="169"/>
                    </a:moveTo>
                    <a:lnTo>
                      <a:pt x="142" y="169"/>
                    </a:lnTo>
                    <a:lnTo>
                      <a:pt x="138" y="174"/>
                    </a:lnTo>
                    <a:lnTo>
                      <a:pt x="133" y="180"/>
                    </a:lnTo>
                    <a:lnTo>
                      <a:pt x="127" y="185"/>
                    </a:lnTo>
                    <a:lnTo>
                      <a:pt x="120" y="189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6" y="198"/>
                    </a:lnTo>
                    <a:lnTo>
                      <a:pt x="87" y="198"/>
                    </a:lnTo>
                    <a:lnTo>
                      <a:pt x="87" y="198"/>
                    </a:lnTo>
                    <a:lnTo>
                      <a:pt x="77" y="198"/>
                    </a:lnTo>
                    <a:lnTo>
                      <a:pt x="69" y="196"/>
                    </a:lnTo>
                    <a:lnTo>
                      <a:pt x="62" y="193"/>
                    </a:lnTo>
                    <a:lnTo>
                      <a:pt x="56" y="189"/>
                    </a:lnTo>
                    <a:lnTo>
                      <a:pt x="56" y="189"/>
                    </a:lnTo>
                    <a:lnTo>
                      <a:pt x="51" y="184"/>
                    </a:lnTo>
                    <a:lnTo>
                      <a:pt x="47" y="178"/>
                    </a:lnTo>
                    <a:lnTo>
                      <a:pt x="44" y="170"/>
                    </a:lnTo>
                    <a:lnTo>
                      <a:pt x="43" y="160"/>
                    </a:lnTo>
                    <a:lnTo>
                      <a:pt x="43" y="160"/>
                    </a:lnTo>
                    <a:lnTo>
                      <a:pt x="44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6" y="136"/>
                    </a:lnTo>
                    <a:lnTo>
                      <a:pt x="62" y="132"/>
                    </a:lnTo>
                    <a:lnTo>
                      <a:pt x="70" y="129"/>
                    </a:lnTo>
                    <a:lnTo>
                      <a:pt x="80" y="127"/>
                    </a:lnTo>
                    <a:lnTo>
                      <a:pt x="90" y="126"/>
                    </a:lnTo>
                    <a:lnTo>
                      <a:pt x="90" y="126"/>
                    </a:lnTo>
                    <a:lnTo>
                      <a:pt x="107" y="127"/>
                    </a:lnTo>
                    <a:lnTo>
                      <a:pt x="120" y="129"/>
                    </a:lnTo>
                    <a:lnTo>
                      <a:pt x="120" y="129"/>
                    </a:lnTo>
                    <a:lnTo>
                      <a:pt x="131" y="132"/>
                    </a:lnTo>
                    <a:lnTo>
                      <a:pt x="142" y="136"/>
                    </a:lnTo>
                    <a:lnTo>
                      <a:pt x="142" y="16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6" name="Freeform 35"/>
              <p:cNvSpPr>
                <a:spLocks/>
              </p:cNvSpPr>
              <p:nvPr userDrawn="1"/>
            </p:nvSpPr>
            <p:spPr bwMode="auto">
              <a:xfrm>
                <a:off x="2511425" y="6149194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4 w 181"/>
                  <a:gd name="T3" fmla="*/ 22 h 239"/>
                  <a:gd name="T4" fmla="*/ 145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3 w 181"/>
                  <a:gd name="T19" fmla="*/ 40 h 239"/>
                  <a:gd name="T20" fmla="*/ 12 w 181"/>
                  <a:gd name="T21" fmla="*/ 59 h 239"/>
                  <a:gd name="T22" fmla="*/ 4 w 181"/>
                  <a:gd name="T23" fmla="*/ 81 h 239"/>
                  <a:gd name="T24" fmla="*/ 0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7 w 181"/>
                  <a:gd name="T31" fmla="*/ 169 h 239"/>
                  <a:gd name="T32" fmla="*/ 16 w 181"/>
                  <a:gd name="T33" fmla="*/ 189 h 239"/>
                  <a:gd name="T34" fmla="*/ 28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8 w 181"/>
                  <a:gd name="T41" fmla="*/ 237 h 239"/>
                  <a:gd name="T42" fmla="*/ 99 w 181"/>
                  <a:gd name="T43" fmla="*/ 239 h 239"/>
                  <a:gd name="T44" fmla="*/ 113 w 181"/>
                  <a:gd name="T45" fmla="*/ 238 h 239"/>
                  <a:gd name="T46" fmla="*/ 138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39 w 181"/>
                  <a:gd name="T55" fmla="*/ 180 h 239"/>
                  <a:gd name="T56" fmla="*/ 127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1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3 w 181"/>
                  <a:gd name="T79" fmla="*/ 74 h 239"/>
                  <a:gd name="T80" fmla="*/ 60 w 181"/>
                  <a:gd name="T81" fmla="*/ 64 h 239"/>
                  <a:gd name="T82" fmla="*/ 67 w 181"/>
                  <a:gd name="T83" fmla="*/ 55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6 w 181"/>
                  <a:gd name="T91" fmla="*/ 43 h 239"/>
                  <a:gd name="T92" fmla="*/ 120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4" y="22"/>
                    </a:lnTo>
                    <a:lnTo>
                      <a:pt x="155" y="16"/>
                    </a:lnTo>
                    <a:lnTo>
                      <a:pt x="145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2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4" y="81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7" y="169"/>
                    </a:lnTo>
                    <a:lnTo>
                      <a:pt x="11" y="179"/>
                    </a:lnTo>
                    <a:lnTo>
                      <a:pt x="16" y="189"/>
                    </a:lnTo>
                    <a:lnTo>
                      <a:pt x="22" y="198"/>
                    </a:lnTo>
                    <a:lnTo>
                      <a:pt x="28" y="206"/>
                    </a:lnTo>
                    <a:lnTo>
                      <a:pt x="35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8" y="237"/>
                    </a:lnTo>
                    <a:lnTo>
                      <a:pt x="88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3" y="238"/>
                    </a:lnTo>
                    <a:lnTo>
                      <a:pt x="126" y="235"/>
                    </a:lnTo>
                    <a:lnTo>
                      <a:pt x="138" y="231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6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39" y="180"/>
                    </a:lnTo>
                    <a:lnTo>
                      <a:pt x="133" y="185"/>
                    </a:lnTo>
                    <a:lnTo>
                      <a:pt x="127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4" y="196"/>
                    </a:lnTo>
                    <a:lnTo>
                      <a:pt x="87" y="195"/>
                    </a:lnTo>
                    <a:lnTo>
                      <a:pt x="82" y="193"/>
                    </a:lnTo>
                    <a:lnTo>
                      <a:pt x="76" y="190"/>
                    </a:lnTo>
                    <a:lnTo>
                      <a:pt x="71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59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3" y="74"/>
                    </a:lnTo>
                    <a:lnTo>
                      <a:pt x="56" y="69"/>
                    </a:lnTo>
                    <a:lnTo>
                      <a:pt x="60" y="64"/>
                    </a:lnTo>
                    <a:lnTo>
                      <a:pt x="63" y="59"/>
                    </a:lnTo>
                    <a:lnTo>
                      <a:pt x="67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6" y="43"/>
                    </a:lnTo>
                    <a:lnTo>
                      <a:pt x="113" y="45"/>
                    </a:lnTo>
                    <a:lnTo>
                      <a:pt x="120" y="47"/>
                    </a:lnTo>
                    <a:lnTo>
                      <a:pt x="127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5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auto">
              <a:xfrm>
                <a:off x="2641600" y="6149194"/>
                <a:ext cx="77788" cy="95250"/>
              </a:xfrm>
              <a:custGeom>
                <a:avLst/>
                <a:gdLst>
                  <a:gd name="T0" fmla="*/ 198 w 198"/>
                  <a:gd name="T1" fmla="*/ 115 h 239"/>
                  <a:gd name="T2" fmla="*/ 197 w 198"/>
                  <a:gd name="T3" fmla="*/ 92 h 239"/>
                  <a:gd name="T4" fmla="*/ 192 w 198"/>
                  <a:gd name="T5" fmla="*/ 71 h 239"/>
                  <a:gd name="T6" fmla="*/ 185 w 198"/>
                  <a:gd name="T7" fmla="*/ 52 h 239"/>
                  <a:gd name="T8" fmla="*/ 174 w 198"/>
                  <a:gd name="T9" fmla="*/ 34 h 239"/>
                  <a:gd name="T10" fmla="*/ 161 w 198"/>
                  <a:gd name="T11" fmla="*/ 20 h 239"/>
                  <a:gd name="T12" fmla="*/ 144 w 198"/>
                  <a:gd name="T13" fmla="*/ 10 h 239"/>
                  <a:gd name="T14" fmla="*/ 125 w 198"/>
                  <a:gd name="T15" fmla="*/ 3 h 239"/>
                  <a:gd name="T16" fmla="*/ 102 w 198"/>
                  <a:gd name="T17" fmla="*/ 0 h 239"/>
                  <a:gd name="T18" fmla="*/ 90 w 198"/>
                  <a:gd name="T19" fmla="*/ 1 h 239"/>
                  <a:gd name="T20" fmla="*/ 69 w 198"/>
                  <a:gd name="T21" fmla="*/ 5 h 239"/>
                  <a:gd name="T22" fmla="*/ 51 w 198"/>
                  <a:gd name="T23" fmla="*/ 12 h 239"/>
                  <a:gd name="T24" fmla="*/ 35 w 198"/>
                  <a:gd name="T25" fmla="*/ 24 h 239"/>
                  <a:gd name="T26" fmla="*/ 22 w 198"/>
                  <a:gd name="T27" fmla="*/ 39 h 239"/>
                  <a:gd name="T28" fmla="*/ 12 w 198"/>
                  <a:gd name="T29" fmla="*/ 58 h 239"/>
                  <a:gd name="T30" fmla="*/ 5 w 198"/>
                  <a:gd name="T31" fmla="*/ 80 h 239"/>
                  <a:gd name="T32" fmla="*/ 1 w 198"/>
                  <a:gd name="T33" fmla="*/ 106 h 239"/>
                  <a:gd name="T34" fmla="*/ 0 w 198"/>
                  <a:gd name="T35" fmla="*/ 120 h 239"/>
                  <a:gd name="T36" fmla="*/ 3 w 198"/>
                  <a:gd name="T37" fmla="*/ 148 h 239"/>
                  <a:gd name="T38" fmla="*/ 9 w 198"/>
                  <a:gd name="T39" fmla="*/ 172 h 239"/>
                  <a:gd name="T40" fmla="*/ 19 w 198"/>
                  <a:gd name="T41" fmla="*/ 193 h 239"/>
                  <a:gd name="T42" fmla="*/ 31 w 198"/>
                  <a:gd name="T43" fmla="*/ 209 h 239"/>
                  <a:gd name="T44" fmla="*/ 37 w 198"/>
                  <a:gd name="T45" fmla="*/ 215 h 239"/>
                  <a:gd name="T46" fmla="*/ 51 w 198"/>
                  <a:gd name="T47" fmla="*/ 226 h 239"/>
                  <a:gd name="T48" fmla="*/ 68 w 198"/>
                  <a:gd name="T49" fmla="*/ 234 h 239"/>
                  <a:gd name="T50" fmla="*/ 88 w 198"/>
                  <a:gd name="T51" fmla="*/ 238 h 239"/>
                  <a:gd name="T52" fmla="*/ 100 w 198"/>
                  <a:gd name="T53" fmla="*/ 239 h 239"/>
                  <a:gd name="T54" fmla="*/ 126 w 198"/>
                  <a:gd name="T55" fmla="*/ 237 h 239"/>
                  <a:gd name="T56" fmla="*/ 146 w 198"/>
                  <a:gd name="T57" fmla="*/ 231 h 239"/>
                  <a:gd name="T58" fmla="*/ 155 w 198"/>
                  <a:gd name="T59" fmla="*/ 227 h 239"/>
                  <a:gd name="T60" fmla="*/ 171 w 198"/>
                  <a:gd name="T61" fmla="*/ 216 h 239"/>
                  <a:gd name="T62" fmla="*/ 153 w 198"/>
                  <a:gd name="T63" fmla="*/ 180 h 239"/>
                  <a:gd name="T64" fmla="*/ 141 w 198"/>
                  <a:gd name="T65" fmla="*/ 188 h 239"/>
                  <a:gd name="T66" fmla="*/ 130 w 198"/>
                  <a:gd name="T67" fmla="*/ 193 h 239"/>
                  <a:gd name="T68" fmla="*/ 117 w 198"/>
                  <a:gd name="T69" fmla="*/ 197 h 239"/>
                  <a:gd name="T70" fmla="*/ 103 w 198"/>
                  <a:gd name="T71" fmla="*/ 198 h 239"/>
                  <a:gd name="T72" fmla="*/ 93 w 198"/>
                  <a:gd name="T73" fmla="*/ 197 h 239"/>
                  <a:gd name="T74" fmla="*/ 73 w 198"/>
                  <a:gd name="T75" fmla="*/ 190 h 239"/>
                  <a:gd name="T76" fmla="*/ 58 w 198"/>
                  <a:gd name="T77" fmla="*/ 175 h 239"/>
                  <a:gd name="T78" fmla="*/ 47 w 198"/>
                  <a:gd name="T79" fmla="*/ 151 h 239"/>
                  <a:gd name="T80" fmla="*/ 197 w 198"/>
                  <a:gd name="T81" fmla="*/ 136 h 239"/>
                  <a:gd name="T82" fmla="*/ 198 w 198"/>
                  <a:gd name="T83" fmla="*/ 127 h 239"/>
                  <a:gd name="T84" fmla="*/ 198 w 198"/>
                  <a:gd name="T85" fmla="*/ 115 h 239"/>
                  <a:gd name="T86" fmla="*/ 45 w 198"/>
                  <a:gd name="T87" fmla="*/ 98 h 239"/>
                  <a:gd name="T88" fmla="*/ 51 w 198"/>
                  <a:gd name="T89" fmla="*/ 74 h 239"/>
                  <a:gd name="T90" fmla="*/ 61 w 198"/>
                  <a:gd name="T91" fmla="*/ 56 h 239"/>
                  <a:gd name="T92" fmla="*/ 77 w 198"/>
                  <a:gd name="T93" fmla="*/ 45 h 239"/>
                  <a:gd name="T94" fmla="*/ 99 w 198"/>
                  <a:gd name="T95" fmla="*/ 41 h 239"/>
                  <a:gd name="T96" fmla="*/ 105 w 198"/>
                  <a:gd name="T97" fmla="*/ 41 h 239"/>
                  <a:gd name="T98" fmla="*/ 117 w 198"/>
                  <a:gd name="T99" fmla="*/ 44 h 239"/>
                  <a:gd name="T100" fmla="*/ 127 w 198"/>
                  <a:gd name="T101" fmla="*/ 48 h 239"/>
                  <a:gd name="T102" fmla="*/ 139 w 198"/>
                  <a:gd name="T103" fmla="*/ 58 h 239"/>
                  <a:gd name="T104" fmla="*/ 149 w 198"/>
                  <a:gd name="T105" fmla="*/ 76 h 239"/>
                  <a:gd name="T106" fmla="*/ 153 w 198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8" h="239">
                    <a:moveTo>
                      <a:pt x="198" y="115"/>
                    </a:moveTo>
                    <a:lnTo>
                      <a:pt x="198" y="115"/>
                    </a:lnTo>
                    <a:lnTo>
                      <a:pt x="198" y="104"/>
                    </a:lnTo>
                    <a:lnTo>
                      <a:pt x="197" y="92"/>
                    </a:lnTo>
                    <a:lnTo>
                      <a:pt x="195" y="81"/>
                    </a:lnTo>
                    <a:lnTo>
                      <a:pt x="192" y="71"/>
                    </a:lnTo>
                    <a:lnTo>
                      <a:pt x="189" y="61"/>
                    </a:lnTo>
                    <a:lnTo>
                      <a:pt x="185" y="52"/>
                    </a:lnTo>
                    <a:lnTo>
                      <a:pt x="180" y="43"/>
                    </a:lnTo>
                    <a:lnTo>
                      <a:pt x="174" y="34"/>
                    </a:lnTo>
                    <a:lnTo>
                      <a:pt x="168" y="27"/>
                    </a:lnTo>
                    <a:lnTo>
                      <a:pt x="161" y="20"/>
                    </a:lnTo>
                    <a:lnTo>
                      <a:pt x="153" y="14"/>
                    </a:lnTo>
                    <a:lnTo>
                      <a:pt x="144" y="10"/>
                    </a:lnTo>
                    <a:lnTo>
                      <a:pt x="135" y="6"/>
                    </a:lnTo>
                    <a:lnTo>
                      <a:pt x="125" y="3"/>
                    </a:lnTo>
                    <a:lnTo>
                      <a:pt x="114" y="1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0" y="1"/>
                    </a:lnTo>
                    <a:lnTo>
                      <a:pt x="79" y="2"/>
                    </a:lnTo>
                    <a:lnTo>
                      <a:pt x="69" y="5"/>
                    </a:lnTo>
                    <a:lnTo>
                      <a:pt x="60" y="8"/>
                    </a:lnTo>
                    <a:lnTo>
                      <a:pt x="51" y="12"/>
                    </a:lnTo>
                    <a:lnTo>
                      <a:pt x="43" y="18"/>
                    </a:lnTo>
                    <a:lnTo>
                      <a:pt x="35" y="24"/>
                    </a:lnTo>
                    <a:lnTo>
                      <a:pt x="28" y="31"/>
                    </a:lnTo>
                    <a:lnTo>
                      <a:pt x="22" y="39"/>
                    </a:lnTo>
                    <a:lnTo>
                      <a:pt x="17" y="48"/>
                    </a:lnTo>
                    <a:lnTo>
                      <a:pt x="12" y="58"/>
                    </a:lnTo>
                    <a:lnTo>
                      <a:pt x="8" y="68"/>
                    </a:lnTo>
                    <a:lnTo>
                      <a:pt x="5" y="80"/>
                    </a:lnTo>
                    <a:lnTo>
                      <a:pt x="2" y="92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4"/>
                    </a:lnTo>
                    <a:lnTo>
                      <a:pt x="3" y="148"/>
                    </a:lnTo>
                    <a:lnTo>
                      <a:pt x="5" y="160"/>
                    </a:lnTo>
                    <a:lnTo>
                      <a:pt x="9" y="172"/>
                    </a:lnTo>
                    <a:lnTo>
                      <a:pt x="14" y="183"/>
                    </a:lnTo>
                    <a:lnTo>
                      <a:pt x="19" y="193"/>
                    </a:lnTo>
                    <a:lnTo>
                      <a:pt x="25" y="201"/>
                    </a:lnTo>
                    <a:lnTo>
                      <a:pt x="31" y="209"/>
                    </a:lnTo>
                    <a:lnTo>
                      <a:pt x="31" y="209"/>
                    </a:lnTo>
                    <a:lnTo>
                      <a:pt x="37" y="215"/>
                    </a:lnTo>
                    <a:lnTo>
                      <a:pt x="44" y="220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8" y="236"/>
                    </a:lnTo>
                    <a:lnTo>
                      <a:pt x="88" y="238"/>
                    </a:lnTo>
                    <a:lnTo>
                      <a:pt x="100" y="239"/>
                    </a:lnTo>
                    <a:lnTo>
                      <a:pt x="100" y="239"/>
                    </a:lnTo>
                    <a:lnTo>
                      <a:pt x="114" y="238"/>
                    </a:lnTo>
                    <a:lnTo>
                      <a:pt x="126" y="237"/>
                    </a:lnTo>
                    <a:lnTo>
                      <a:pt x="137" y="234"/>
                    </a:lnTo>
                    <a:lnTo>
                      <a:pt x="146" y="231"/>
                    </a:lnTo>
                    <a:lnTo>
                      <a:pt x="146" y="231"/>
                    </a:lnTo>
                    <a:lnTo>
                      <a:pt x="155" y="227"/>
                    </a:lnTo>
                    <a:lnTo>
                      <a:pt x="163" y="222"/>
                    </a:lnTo>
                    <a:lnTo>
                      <a:pt x="171" y="216"/>
                    </a:lnTo>
                    <a:lnTo>
                      <a:pt x="179" y="209"/>
                    </a:lnTo>
                    <a:lnTo>
                      <a:pt x="153" y="180"/>
                    </a:lnTo>
                    <a:lnTo>
                      <a:pt x="153" y="180"/>
                    </a:lnTo>
                    <a:lnTo>
                      <a:pt x="141" y="188"/>
                    </a:lnTo>
                    <a:lnTo>
                      <a:pt x="130" y="193"/>
                    </a:lnTo>
                    <a:lnTo>
                      <a:pt x="130" y="193"/>
                    </a:lnTo>
                    <a:lnTo>
                      <a:pt x="124" y="195"/>
                    </a:lnTo>
                    <a:lnTo>
                      <a:pt x="117" y="197"/>
                    </a:lnTo>
                    <a:lnTo>
                      <a:pt x="110" y="198"/>
                    </a:lnTo>
                    <a:lnTo>
                      <a:pt x="103" y="198"/>
                    </a:lnTo>
                    <a:lnTo>
                      <a:pt x="103" y="198"/>
                    </a:lnTo>
                    <a:lnTo>
                      <a:pt x="93" y="197"/>
                    </a:lnTo>
                    <a:lnTo>
                      <a:pt x="82" y="195"/>
                    </a:lnTo>
                    <a:lnTo>
                      <a:pt x="73" y="190"/>
                    </a:lnTo>
                    <a:lnTo>
                      <a:pt x="65" y="183"/>
                    </a:lnTo>
                    <a:lnTo>
                      <a:pt x="58" y="175"/>
                    </a:lnTo>
                    <a:lnTo>
                      <a:pt x="52" y="164"/>
                    </a:lnTo>
                    <a:lnTo>
                      <a:pt x="47" y="151"/>
                    </a:lnTo>
                    <a:lnTo>
                      <a:pt x="45" y="136"/>
                    </a:lnTo>
                    <a:lnTo>
                      <a:pt x="197" y="136"/>
                    </a:lnTo>
                    <a:lnTo>
                      <a:pt x="197" y="136"/>
                    </a:lnTo>
                    <a:lnTo>
                      <a:pt x="198" y="127"/>
                    </a:lnTo>
                    <a:lnTo>
                      <a:pt x="198" y="115"/>
                    </a:lnTo>
                    <a:lnTo>
                      <a:pt x="198" y="115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1" y="74"/>
                    </a:lnTo>
                    <a:lnTo>
                      <a:pt x="56" y="64"/>
                    </a:lnTo>
                    <a:lnTo>
                      <a:pt x="61" y="56"/>
                    </a:lnTo>
                    <a:lnTo>
                      <a:pt x="69" y="49"/>
                    </a:lnTo>
                    <a:lnTo>
                      <a:pt x="77" y="45"/>
                    </a:lnTo>
                    <a:lnTo>
                      <a:pt x="87" y="42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105" y="41"/>
                    </a:lnTo>
                    <a:lnTo>
                      <a:pt x="112" y="42"/>
                    </a:lnTo>
                    <a:lnTo>
                      <a:pt x="117" y="44"/>
                    </a:lnTo>
                    <a:lnTo>
                      <a:pt x="122" y="45"/>
                    </a:lnTo>
                    <a:lnTo>
                      <a:pt x="127" y="48"/>
                    </a:lnTo>
                    <a:lnTo>
                      <a:pt x="132" y="51"/>
                    </a:lnTo>
                    <a:lnTo>
                      <a:pt x="139" y="58"/>
                    </a:lnTo>
                    <a:lnTo>
                      <a:pt x="144" y="66"/>
                    </a:lnTo>
                    <a:lnTo>
                      <a:pt x="149" y="76"/>
                    </a:lnTo>
                    <a:lnTo>
                      <a:pt x="151" y="87"/>
                    </a:lnTo>
                    <a:lnTo>
                      <a:pt x="153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8" name="Freeform 37"/>
              <p:cNvSpPr>
                <a:spLocks/>
              </p:cNvSpPr>
              <p:nvPr userDrawn="1"/>
            </p:nvSpPr>
            <p:spPr bwMode="auto">
              <a:xfrm>
                <a:off x="2735262" y="6149194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4 w 181"/>
                  <a:gd name="T3" fmla="*/ 22 h 239"/>
                  <a:gd name="T4" fmla="*/ 145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3 w 181"/>
                  <a:gd name="T19" fmla="*/ 40 h 239"/>
                  <a:gd name="T20" fmla="*/ 12 w 181"/>
                  <a:gd name="T21" fmla="*/ 59 h 239"/>
                  <a:gd name="T22" fmla="*/ 4 w 181"/>
                  <a:gd name="T23" fmla="*/ 81 h 239"/>
                  <a:gd name="T24" fmla="*/ 0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7 w 181"/>
                  <a:gd name="T31" fmla="*/ 169 h 239"/>
                  <a:gd name="T32" fmla="*/ 16 w 181"/>
                  <a:gd name="T33" fmla="*/ 189 h 239"/>
                  <a:gd name="T34" fmla="*/ 28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8 w 181"/>
                  <a:gd name="T41" fmla="*/ 237 h 239"/>
                  <a:gd name="T42" fmla="*/ 99 w 181"/>
                  <a:gd name="T43" fmla="*/ 239 h 239"/>
                  <a:gd name="T44" fmla="*/ 113 w 181"/>
                  <a:gd name="T45" fmla="*/ 238 h 239"/>
                  <a:gd name="T46" fmla="*/ 138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39 w 181"/>
                  <a:gd name="T55" fmla="*/ 180 h 239"/>
                  <a:gd name="T56" fmla="*/ 127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1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3 w 181"/>
                  <a:gd name="T79" fmla="*/ 74 h 239"/>
                  <a:gd name="T80" fmla="*/ 60 w 181"/>
                  <a:gd name="T81" fmla="*/ 64 h 239"/>
                  <a:gd name="T82" fmla="*/ 67 w 181"/>
                  <a:gd name="T83" fmla="*/ 55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6 w 181"/>
                  <a:gd name="T91" fmla="*/ 43 h 239"/>
                  <a:gd name="T92" fmla="*/ 120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4" y="22"/>
                    </a:lnTo>
                    <a:lnTo>
                      <a:pt x="155" y="16"/>
                    </a:lnTo>
                    <a:lnTo>
                      <a:pt x="145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2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4" y="81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7" y="169"/>
                    </a:lnTo>
                    <a:lnTo>
                      <a:pt x="11" y="179"/>
                    </a:lnTo>
                    <a:lnTo>
                      <a:pt x="16" y="189"/>
                    </a:lnTo>
                    <a:lnTo>
                      <a:pt x="22" y="198"/>
                    </a:lnTo>
                    <a:lnTo>
                      <a:pt x="28" y="206"/>
                    </a:lnTo>
                    <a:lnTo>
                      <a:pt x="35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8" y="237"/>
                    </a:lnTo>
                    <a:lnTo>
                      <a:pt x="88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3" y="238"/>
                    </a:lnTo>
                    <a:lnTo>
                      <a:pt x="126" y="235"/>
                    </a:lnTo>
                    <a:lnTo>
                      <a:pt x="138" y="231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6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39" y="180"/>
                    </a:lnTo>
                    <a:lnTo>
                      <a:pt x="133" y="185"/>
                    </a:lnTo>
                    <a:lnTo>
                      <a:pt x="127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4" y="196"/>
                    </a:lnTo>
                    <a:lnTo>
                      <a:pt x="87" y="195"/>
                    </a:lnTo>
                    <a:lnTo>
                      <a:pt x="82" y="193"/>
                    </a:lnTo>
                    <a:lnTo>
                      <a:pt x="76" y="190"/>
                    </a:lnTo>
                    <a:lnTo>
                      <a:pt x="71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59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3" y="74"/>
                    </a:lnTo>
                    <a:lnTo>
                      <a:pt x="56" y="69"/>
                    </a:lnTo>
                    <a:lnTo>
                      <a:pt x="60" y="64"/>
                    </a:lnTo>
                    <a:lnTo>
                      <a:pt x="63" y="59"/>
                    </a:lnTo>
                    <a:lnTo>
                      <a:pt x="67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6" y="43"/>
                    </a:lnTo>
                    <a:lnTo>
                      <a:pt x="113" y="45"/>
                    </a:lnTo>
                    <a:lnTo>
                      <a:pt x="120" y="47"/>
                    </a:lnTo>
                    <a:lnTo>
                      <a:pt x="127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5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9" name="Freeform 38"/>
              <p:cNvSpPr>
                <a:spLocks/>
              </p:cNvSpPr>
              <p:nvPr userDrawn="1"/>
            </p:nvSpPr>
            <p:spPr bwMode="auto">
              <a:xfrm>
                <a:off x="2816225" y="6150782"/>
                <a:ext cx="73025" cy="92075"/>
              </a:xfrm>
              <a:custGeom>
                <a:avLst/>
                <a:gdLst>
                  <a:gd name="T0" fmla="*/ 185 w 185"/>
                  <a:gd name="T1" fmla="*/ 39 h 229"/>
                  <a:gd name="T2" fmla="*/ 185 w 185"/>
                  <a:gd name="T3" fmla="*/ 0 h 229"/>
                  <a:gd name="T4" fmla="*/ 0 w 185"/>
                  <a:gd name="T5" fmla="*/ 0 h 229"/>
                  <a:gd name="T6" fmla="*/ 0 w 185"/>
                  <a:gd name="T7" fmla="*/ 39 h 229"/>
                  <a:gd name="T8" fmla="*/ 69 w 185"/>
                  <a:gd name="T9" fmla="*/ 39 h 229"/>
                  <a:gd name="T10" fmla="*/ 69 w 185"/>
                  <a:gd name="T11" fmla="*/ 229 h 229"/>
                  <a:gd name="T12" fmla="*/ 114 w 185"/>
                  <a:gd name="T13" fmla="*/ 229 h 229"/>
                  <a:gd name="T14" fmla="*/ 114 w 185"/>
                  <a:gd name="T15" fmla="*/ 39 h 229"/>
                  <a:gd name="T16" fmla="*/ 185 w 185"/>
                  <a:gd name="T17" fmla="*/ 3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5" h="229">
                    <a:moveTo>
                      <a:pt x="185" y="39"/>
                    </a:moveTo>
                    <a:lnTo>
                      <a:pt x="185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69" y="39"/>
                    </a:lnTo>
                    <a:lnTo>
                      <a:pt x="69" y="229"/>
                    </a:lnTo>
                    <a:lnTo>
                      <a:pt x="114" y="229"/>
                    </a:lnTo>
                    <a:lnTo>
                      <a:pt x="114" y="39"/>
                    </a:lnTo>
                    <a:lnTo>
                      <a:pt x="185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0" name="Freeform 39"/>
              <p:cNvSpPr>
                <a:spLocks noEditPoints="1"/>
              </p:cNvSpPr>
              <p:nvPr userDrawn="1"/>
            </p:nvSpPr>
            <p:spPr bwMode="auto">
              <a:xfrm>
                <a:off x="2901950" y="6150782"/>
                <a:ext cx="74613" cy="92075"/>
              </a:xfrm>
              <a:custGeom>
                <a:avLst/>
                <a:gdLst>
                  <a:gd name="T0" fmla="*/ 45 w 184"/>
                  <a:gd name="T1" fmla="*/ 0 h 229"/>
                  <a:gd name="T2" fmla="*/ 0 w 184"/>
                  <a:gd name="T3" fmla="*/ 0 h 229"/>
                  <a:gd name="T4" fmla="*/ 0 w 184"/>
                  <a:gd name="T5" fmla="*/ 229 h 229"/>
                  <a:gd name="T6" fmla="*/ 106 w 184"/>
                  <a:gd name="T7" fmla="*/ 229 h 229"/>
                  <a:gd name="T8" fmla="*/ 106 w 184"/>
                  <a:gd name="T9" fmla="*/ 229 h 229"/>
                  <a:gd name="T10" fmla="*/ 114 w 184"/>
                  <a:gd name="T11" fmla="*/ 229 h 229"/>
                  <a:gd name="T12" fmla="*/ 122 w 184"/>
                  <a:gd name="T13" fmla="*/ 228 h 229"/>
                  <a:gd name="T14" fmla="*/ 130 w 184"/>
                  <a:gd name="T15" fmla="*/ 226 h 229"/>
                  <a:gd name="T16" fmla="*/ 137 w 184"/>
                  <a:gd name="T17" fmla="*/ 224 h 229"/>
                  <a:gd name="T18" fmla="*/ 144 w 184"/>
                  <a:gd name="T19" fmla="*/ 222 h 229"/>
                  <a:gd name="T20" fmla="*/ 151 w 184"/>
                  <a:gd name="T21" fmla="*/ 218 h 229"/>
                  <a:gd name="T22" fmla="*/ 157 w 184"/>
                  <a:gd name="T23" fmla="*/ 214 h 229"/>
                  <a:gd name="T24" fmla="*/ 162 w 184"/>
                  <a:gd name="T25" fmla="*/ 210 h 229"/>
                  <a:gd name="T26" fmla="*/ 167 w 184"/>
                  <a:gd name="T27" fmla="*/ 205 h 229"/>
                  <a:gd name="T28" fmla="*/ 172 w 184"/>
                  <a:gd name="T29" fmla="*/ 200 h 229"/>
                  <a:gd name="T30" fmla="*/ 175 w 184"/>
                  <a:gd name="T31" fmla="*/ 193 h 229"/>
                  <a:gd name="T32" fmla="*/ 178 w 184"/>
                  <a:gd name="T33" fmla="*/ 187 h 229"/>
                  <a:gd name="T34" fmla="*/ 181 w 184"/>
                  <a:gd name="T35" fmla="*/ 180 h 229"/>
                  <a:gd name="T36" fmla="*/ 183 w 184"/>
                  <a:gd name="T37" fmla="*/ 172 h 229"/>
                  <a:gd name="T38" fmla="*/ 184 w 184"/>
                  <a:gd name="T39" fmla="*/ 163 h 229"/>
                  <a:gd name="T40" fmla="*/ 184 w 184"/>
                  <a:gd name="T41" fmla="*/ 154 h 229"/>
                  <a:gd name="T42" fmla="*/ 184 w 184"/>
                  <a:gd name="T43" fmla="*/ 154 h 229"/>
                  <a:gd name="T44" fmla="*/ 184 w 184"/>
                  <a:gd name="T45" fmla="*/ 146 h 229"/>
                  <a:gd name="T46" fmla="*/ 183 w 184"/>
                  <a:gd name="T47" fmla="*/ 137 h 229"/>
                  <a:gd name="T48" fmla="*/ 181 w 184"/>
                  <a:gd name="T49" fmla="*/ 130 h 229"/>
                  <a:gd name="T50" fmla="*/ 178 w 184"/>
                  <a:gd name="T51" fmla="*/ 122 h 229"/>
                  <a:gd name="T52" fmla="*/ 175 w 184"/>
                  <a:gd name="T53" fmla="*/ 116 h 229"/>
                  <a:gd name="T54" fmla="*/ 172 w 184"/>
                  <a:gd name="T55" fmla="*/ 110 h 229"/>
                  <a:gd name="T56" fmla="*/ 167 w 184"/>
                  <a:gd name="T57" fmla="*/ 104 h 229"/>
                  <a:gd name="T58" fmla="*/ 163 w 184"/>
                  <a:gd name="T59" fmla="*/ 99 h 229"/>
                  <a:gd name="T60" fmla="*/ 157 w 184"/>
                  <a:gd name="T61" fmla="*/ 95 h 229"/>
                  <a:gd name="T62" fmla="*/ 151 w 184"/>
                  <a:gd name="T63" fmla="*/ 91 h 229"/>
                  <a:gd name="T64" fmla="*/ 145 w 184"/>
                  <a:gd name="T65" fmla="*/ 88 h 229"/>
                  <a:gd name="T66" fmla="*/ 139 w 184"/>
                  <a:gd name="T67" fmla="*/ 85 h 229"/>
                  <a:gd name="T68" fmla="*/ 132 w 184"/>
                  <a:gd name="T69" fmla="*/ 83 h 229"/>
                  <a:gd name="T70" fmla="*/ 124 w 184"/>
                  <a:gd name="T71" fmla="*/ 82 h 229"/>
                  <a:gd name="T72" fmla="*/ 116 w 184"/>
                  <a:gd name="T73" fmla="*/ 81 h 229"/>
                  <a:gd name="T74" fmla="*/ 108 w 184"/>
                  <a:gd name="T75" fmla="*/ 81 h 229"/>
                  <a:gd name="T76" fmla="*/ 45 w 184"/>
                  <a:gd name="T77" fmla="*/ 81 h 229"/>
                  <a:gd name="T78" fmla="*/ 45 w 184"/>
                  <a:gd name="T79" fmla="*/ 0 h 229"/>
                  <a:gd name="T80" fmla="*/ 45 w 184"/>
                  <a:gd name="T81" fmla="*/ 192 h 229"/>
                  <a:gd name="T82" fmla="*/ 45 w 184"/>
                  <a:gd name="T83" fmla="*/ 118 h 229"/>
                  <a:gd name="T84" fmla="*/ 102 w 184"/>
                  <a:gd name="T85" fmla="*/ 118 h 229"/>
                  <a:gd name="T86" fmla="*/ 102 w 184"/>
                  <a:gd name="T87" fmla="*/ 118 h 229"/>
                  <a:gd name="T88" fmla="*/ 110 w 184"/>
                  <a:gd name="T89" fmla="*/ 118 h 229"/>
                  <a:gd name="T90" fmla="*/ 118 w 184"/>
                  <a:gd name="T91" fmla="*/ 120 h 229"/>
                  <a:gd name="T92" fmla="*/ 124 w 184"/>
                  <a:gd name="T93" fmla="*/ 123 h 229"/>
                  <a:gd name="T94" fmla="*/ 129 w 184"/>
                  <a:gd name="T95" fmla="*/ 127 h 229"/>
                  <a:gd name="T96" fmla="*/ 134 w 184"/>
                  <a:gd name="T97" fmla="*/ 133 h 229"/>
                  <a:gd name="T98" fmla="*/ 137 w 184"/>
                  <a:gd name="T99" fmla="*/ 139 h 229"/>
                  <a:gd name="T100" fmla="*/ 139 w 184"/>
                  <a:gd name="T101" fmla="*/ 146 h 229"/>
                  <a:gd name="T102" fmla="*/ 139 w 184"/>
                  <a:gd name="T103" fmla="*/ 155 h 229"/>
                  <a:gd name="T104" fmla="*/ 139 w 184"/>
                  <a:gd name="T105" fmla="*/ 155 h 229"/>
                  <a:gd name="T106" fmla="*/ 139 w 184"/>
                  <a:gd name="T107" fmla="*/ 163 h 229"/>
                  <a:gd name="T108" fmla="*/ 137 w 184"/>
                  <a:gd name="T109" fmla="*/ 170 h 229"/>
                  <a:gd name="T110" fmla="*/ 134 w 184"/>
                  <a:gd name="T111" fmla="*/ 177 h 229"/>
                  <a:gd name="T112" fmla="*/ 130 w 184"/>
                  <a:gd name="T113" fmla="*/ 182 h 229"/>
                  <a:gd name="T114" fmla="*/ 125 w 184"/>
                  <a:gd name="T115" fmla="*/ 186 h 229"/>
                  <a:gd name="T116" fmla="*/ 119 w 184"/>
                  <a:gd name="T117" fmla="*/ 189 h 229"/>
                  <a:gd name="T118" fmla="*/ 111 w 184"/>
                  <a:gd name="T119" fmla="*/ 191 h 229"/>
                  <a:gd name="T120" fmla="*/ 102 w 184"/>
                  <a:gd name="T121" fmla="*/ 192 h 229"/>
                  <a:gd name="T122" fmla="*/ 45 w 184"/>
                  <a:gd name="T123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4" h="229">
                    <a:moveTo>
                      <a:pt x="45" y="0"/>
                    </a:moveTo>
                    <a:lnTo>
                      <a:pt x="0" y="0"/>
                    </a:lnTo>
                    <a:lnTo>
                      <a:pt x="0" y="229"/>
                    </a:lnTo>
                    <a:lnTo>
                      <a:pt x="106" y="229"/>
                    </a:lnTo>
                    <a:lnTo>
                      <a:pt x="106" y="229"/>
                    </a:lnTo>
                    <a:lnTo>
                      <a:pt x="114" y="229"/>
                    </a:lnTo>
                    <a:lnTo>
                      <a:pt x="122" y="228"/>
                    </a:lnTo>
                    <a:lnTo>
                      <a:pt x="130" y="226"/>
                    </a:lnTo>
                    <a:lnTo>
                      <a:pt x="137" y="224"/>
                    </a:lnTo>
                    <a:lnTo>
                      <a:pt x="144" y="222"/>
                    </a:lnTo>
                    <a:lnTo>
                      <a:pt x="151" y="218"/>
                    </a:lnTo>
                    <a:lnTo>
                      <a:pt x="157" y="214"/>
                    </a:lnTo>
                    <a:lnTo>
                      <a:pt x="162" y="210"/>
                    </a:lnTo>
                    <a:lnTo>
                      <a:pt x="167" y="205"/>
                    </a:lnTo>
                    <a:lnTo>
                      <a:pt x="172" y="200"/>
                    </a:lnTo>
                    <a:lnTo>
                      <a:pt x="175" y="193"/>
                    </a:lnTo>
                    <a:lnTo>
                      <a:pt x="178" y="187"/>
                    </a:lnTo>
                    <a:lnTo>
                      <a:pt x="181" y="180"/>
                    </a:lnTo>
                    <a:lnTo>
                      <a:pt x="183" y="172"/>
                    </a:lnTo>
                    <a:lnTo>
                      <a:pt x="184" y="163"/>
                    </a:lnTo>
                    <a:lnTo>
                      <a:pt x="184" y="154"/>
                    </a:lnTo>
                    <a:lnTo>
                      <a:pt x="184" y="154"/>
                    </a:lnTo>
                    <a:lnTo>
                      <a:pt x="184" y="146"/>
                    </a:lnTo>
                    <a:lnTo>
                      <a:pt x="183" y="137"/>
                    </a:lnTo>
                    <a:lnTo>
                      <a:pt x="181" y="130"/>
                    </a:lnTo>
                    <a:lnTo>
                      <a:pt x="178" y="122"/>
                    </a:lnTo>
                    <a:lnTo>
                      <a:pt x="175" y="116"/>
                    </a:lnTo>
                    <a:lnTo>
                      <a:pt x="172" y="110"/>
                    </a:lnTo>
                    <a:lnTo>
                      <a:pt x="167" y="104"/>
                    </a:lnTo>
                    <a:lnTo>
                      <a:pt x="163" y="99"/>
                    </a:lnTo>
                    <a:lnTo>
                      <a:pt x="157" y="95"/>
                    </a:lnTo>
                    <a:lnTo>
                      <a:pt x="151" y="91"/>
                    </a:lnTo>
                    <a:lnTo>
                      <a:pt x="145" y="88"/>
                    </a:lnTo>
                    <a:lnTo>
                      <a:pt x="139" y="85"/>
                    </a:lnTo>
                    <a:lnTo>
                      <a:pt x="132" y="83"/>
                    </a:lnTo>
                    <a:lnTo>
                      <a:pt x="124" y="82"/>
                    </a:lnTo>
                    <a:lnTo>
                      <a:pt x="116" y="81"/>
                    </a:lnTo>
                    <a:lnTo>
                      <a:pt x="108" y="81"/>
                    </a:lnTo>
                    <a:lnTo>
                      <a:pt x="45" y="81"/>
                    </a:lnTo>
                    <a:lnTo>
                      <a:pt x="45" y="0"/>
                    </a:lnTo>
                    <a:close/>
                    <a:moveTo>
                      <a:pt x="45" y="192"/>
                    </a:moveTo>
                    <a:lnTo>
                      <a:pt x="45" y="118"/>
                    </a:lnTo>
                    <a:lnTo>
                      <a:pt x="102" y="118"/>
                    </a:lnTo>
                    <a:lnTo>
                      <a:pt x="102" y="118"/>
                    </a:lnTo>
                    <a:lnTo>
                      <a:pt x="110" y="118"/>
                    </a:lnTo>
                    <a:lnTo>
                      <a:pt x="118" y="120"/>
                    </a:lnTo>
                    <a:lnTo>
                      <a:pt x="124" y="123"/>
                    </a:lnTo>
                    <a:lnTo>
                      <a:pt x="129" y="127"/>
                    </a:lnTo>
                    <a:lnTo>
                      <a:pt x="134" y="133"/>
                    </a:lnTo>
                    <a:lnTo>
                      <a:pt x="137" y="139"/>
                    </a:lnTo>
                    <a:lnTo>
                      <a:pt x="139" y="146"/>
                    </a:lnTo>
                    <a:lnTo>
                      <a:pt x="139" y="155"/>
                    </a:lnTo>
                    <a:lnTo>
                      <a:pt x="139" y="155"/>
                    </a:lnTo>
                    <a:lnTo>
                      <a:pt x="139" y="163"/>
                    </a:lnTo>
                    <a:lnTo>
                      <a:pt x="137" y="170"/>
                    </a:lnTo>
                    <a:lnTo>
                      <a:pt x="134" y="177"/>
                    </a:lnTo>
                    <a:lnTo>
                      <a:pt x="130" y="182"/>
                    </a:lnTo>
                    <a:lnTo>
                      <a:pt x="125" y="186"/>
                    </a:lnTo>
                    <a:lnTo>
                      <a:pt x="119" y="189"/>
                    </a:lnTo>
                    <a:lnTo>
                      <a:pt x="111" y="191"/>
                    </a:lnTo>
                    <a:lnTo>
                      <a:pt x="102" y="192"/>
                    </a:lnTo>
                    <a:lnTo>
                      <a:pt x="45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1" name="Freeform 40"/>
              <p:cNvSpPr>
                <a:spLocks noEditPoints="1"/>
              </p:cNvSpPr>
              <p:nvPr userDrawn="1"/>
            </p:nvSpPr>
            <p:spPr bwMode="auto">
              <a:xfrm>
                <a:off x="3033712" y="6149194"/>
                <a:ext cx="80963" cy="95250"/>
              </a:xfrm>
              <a:custGeom>
                <a:avLst/>
                <a:gdLst>
                  <a:gd name="T0" fmla="*/ 205 w 205"/>
                  <a:gd name="T1" fmla="*/ 105 h 239"/>
                  <a:gd name="T2" fmla="*/ 198 w 205"/>
                  <a:gd name="T3" fmla="*/ 70 h 239"/>
                  <a:gd name="T4" fmla="*/ 183 w 205"/>
                  <a:gd name="T5" fmla="*/ 41 h 239"/>
                  <a:gd name="T6" fmla="*/ 161 w 205"/>
                  <a:gd name="T7" fmla="*/ 19 h 239"/>
                  <a:gd name="T8" fmla="*/ 135 w 205"/>
                  <a:gd name="T9" fmla="*/ 5 h 239"/>
                  <a:gd name="T10" fmla="*/ 103 w 205"/>
                  <a:gd name="T11" fmla="*/ 0 h 239"/>
                  <a:gd name="T12" fmla="*/ 81 w 205"/>
                  <a:gd name="T13" fmla="*/ 2 h 239"/>
                  <a:gd name="T14" fmla="*/ 53 w 205"/>
                  <a:gd name="T15" fmla="*/ 13 h 239"/>
                  <a:gd name="T16" fmla="*/ 30 w 205"/>
                  <a:gd name="T17" fmla="*/ 32 h 239"/>
                  <a:gd name="T18" fmla="*/ 12 w 205"/>
                  <a:gd name="T19" fmla="*/ 59 h 239"/>
                  <a:gd name="T20" fmla="*/ 2 w 205"/>
                  <a:gd name="T21" fmla="*/ 93 h 239"/>
                  <a:gd name="T22" fmla="*/ 0 w 205"/>
                  <a:gd name="T23" fmla="*/ 120 h 239"/>
                  <a:gd name="T24" fmla="*/ 5 w 205"/>
                  <a:gd name="T25" fmla="*/ 157 h 239"/>
                  <a:gd name="T26" fmla="*/ 17 w 205"/>
                  <a:gd name="T27" fmla="*/ 189 h 239"/>
                  <a:gd name="T28" fmla="*/ 36 w 205"/>
                  <a:gd name="T29" fmla="*/ 214 h 239"/>
                  <a:gd name="T30" fmla="*/ 61 w 205"/>
                  <a:gd name="T31" fmla="*/ 230 h 239"/>
                  <a:gd name="T32" fmla="*/ 90 w 205"/>
                  <a:gd name="T33" fmla="*/ 238 h 239"/>
                  <a:gd name="T34" fmla="*/ 113 w 205"/>
                  <a:gd name="T35" fmla="*/ 238 h 239"/>
                  <a:gd name="T36" fmla="*/ 143 w 205"/>
                  <a:gd name="T37" fmla="*/ 231 h 239"/>
                  <a:gd name="T38" fmla="*/ 169 w 205"/>
                  <a:gd name="T39" fmla="*/ 214 h 239"/>
                  <a:gd name="T40" fmla="*/ 188 w 205"/>
                  <a:gd name="T41" fmla="*/ 190 h 239"/>
                  <a:gd name="T42" fmla="*/ 201 w 205"/>
                  <a:gd name="T43" fmla="*/ 158 h 239"/>
                  <a:gd name="T44" fmla="*/ 205 w 205"/>
                  <a:gd name="T45" fmla="*/ 119 h 239"/>
                  <a:gd name="T46" fmla="*/ 160 w 205"/>
                  <a:gd name="T47" fmla="*/ 120 h 239"/>
                  <a:gd name="T48" fmla="*/ 151 w 205"/>
                  <a:gd name="T49" fmla="*/ 162 h 239"/>
                  <a:gd name="T50" fmla="*/ 137 w 205"/>
                  <a:gd name="T51" fmla="*/ 183 h 239"/>
                  <a:gd name="T52" fmla="*/ 122 w 205"/>
                  <a:gd name="T53" fmla="*/ 193 h 239"/>
                  <a:gd name="T54" fmla="*/ 104 w 205"/>
                  <a:gd name="T55" fmla="*/ 196 h 239"/>
                  <a:gd name="T56" fmla="*/ 91 w 205"/>
                  <a:gd name="T57" fmla="*/ 195 h 239"/>
                  <a:gd name="T58" fmla="*/ 75 w 205"/>
                  <a:gd name="T59" fmla="*/ 188 h 239"/>
                  <a:gd name="T60" fmla="*/ 62 w 205"/>
                  <a:gd name="T61" fmla="*/ 176 h 239"/>
                  <a:gd name="T62" fmla="*/ 52 w 205"/>
                  <a:gd name="T63" fmla="*/ 159 h 239"/>
                  <a:gd name="T64" fmla="*/ 46 w 205"/>
                  <a:gd name="T65" fmla="*/ 119 h 239"/>
                  <a:gd name="T66" fmla="*/ 50 w 205"/>
                  <a:gd name="T67" fmla="*/ 88 h 239"/>
                  <a:gd name="T68" fmla="*/ 60 w 205"/>
                  <a:gd name="T69" fmla="*/ 64 h 239"/>
                  <a:gd name="T70" fmla="*/ 73 w 205"/>
                  <a:gd name="T71" fmla="*/ 51 h 239"/>
                  <a:gd name="T72" fmla="*/ 89 w 205"/>
                  <a:gd name="T73" fmla="*/ 44 h 239"/>
                  <a:gd name="T74" fmla="*/ 101 w 205"/>
                  <a:gd name="T75" fmla="*/ 43 h 239"/>
                  <a:gd name="T76" fmla="*/ 120 w 205"/>
                  <a:gd name="T77" fmla="*/ 46 h 239"/>
                  <a:gd name="T78" fmla="*/ 136 w 205"/>
                  <a:gd name="T79" fmla="*/ 55 h 239"/>
                  <a:gd name="T80" fmla="*/ 148 w 205"/>
                  <a:gd name="T81" fmla="*/ 69 h 239"/>
                  <a:gd name="T82" fmla="*/ 156 w 205"/>
                  <a:gd name="T83" fmla="*/ 88 h 239"/>
                  <a:gd name="T84" fmla="*/ 160 w 205"/>
                  <a:gd name="T85" fmla="*/ 12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5" h="239">
                    <a:moveTo>
                      <a:pt x="205" y="119"/>
                    </a:moveTo>
                    <a:lnTo>
                      <a:pt x="205" y="119"/>
                    </a:lnTo>
                    <a:lnTo>
                      <a:pt x="205" y="105"/>
                    </a:lnTo>
                    <a:lnTo>
                      <a:pt x="203" y="93"/>
                    </a:lnTo>
                    <a:lnTo>
                      <a:pt x="201" y="81"/>
                    </a:lnTo>
                    <a:lnTo>
                      <a:pt x="198" y="70"/>
                    </a:lnTo>
                    <a:lnTo>
                      <a:pt x="194" y="59"/>
                    </a:lnTo>
                    <a:lnTo>
                      <a:pt x="189" y="50"/>
                    </a:lnTo>
                    <a:lnTo>
                      <a:pt x="183" y="41"/>
                    </a:lnTo>
                    <a:lnTo>
                      <a:pt x="176" y="33"/>
                    </a:lnTo>
                    <a:lnTo>
                      <a:pt x="169" y="25"/>
                    </a:lnTo>
                    <a:lnTo>
                      <a:pt x="161" y="19"/>
                    </a:lnTo>
                    <a:lnTo>
                      <a:pt x="153" y="13"/>
                    </a:lnTo>
                    <a:lnTo>
                      <a:pt x="144" y="9"/>
                    </a:lnTo>
                    <a:lnTo>
                      <a:pt x="135" y="5"/>
                    </a:lnTo>
                    <a:lnTo>
                      <a:pt x="125" y="3"/>
                    </a:lnTo>
                    <a:lnTo>
                      <a:pt x="114" y="1"/>
                    </a:lnTo>
                    <a:lnTo>
                      <a:pt x="103" y="0"/>
                    </a:lnTo>
                    <a:lnTo>
                      <a:pt x="103" y="0"/>
                    </a:lnTo>
                    <a:lnTo>
                      <a:pt x="92" y="1"/>
                    </a:lnTo>
                    <a:lnTo>
                      <a:pt x="81" y="2"/>
                    </a:lnTo>
                    <a:lnTo>
                      <a:pt x="72" y="5"/>
                    </a:lnTo>
                    <a:lnTo>
                      <a:pt x="62" y="8"/>
                    </a:lnTo>
                    <a:lnTo>
                      <a:pt x="53" y="13"/>
                    </a:lnTo>
                    <a:lnTo>
                      <a:pt x="45" y="18"/>
                    </a:lnTo>
                    <a:lnTo>
                      <a:pt x="37" y="25"/>
                    </a:lnTo>
                    <a:lnTo>
                      <a:pt x="30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5" y="81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5"/>
                    </a:lnTo>
                    <a:lnTo>
                      <a:pt x="5" y="157"/>
                    </a:lnTo>
                    <a:lnTo>
                      <a:pt x="8" y="169"/>
                    </a:lnTo>
                    <a:lnTo>
                      <a:pt x="12" y="179"/>
                    </a:lnTo>
                    <a:lnTo>
                      <a:pt x="17" y="189"/>
                    </a:lnTo>
                    <a:lnTo>
                      <a:pt x="23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4" y="220"/>
                    </a:lnTo>
                    <a:lnTo>
                      <a:pt x="52" y="226"/>
                    </a:lnTo>
                    <a:lnTo>
                      <a:pt x="61" y="230"/>
                    </a:lnTo>
                    <a:lnTo>
                      <a:pt x="70" y="234"/>
                    </a:lnTo>
                    <a:lnTo>
                      <a:pt x="80" y="237"/>
                    </a:lnTo>
                    <a:lnTo>
                      <a:pt x="90" y="238"/>
                    </a:lnTo>
                    <a:lnTo>
                      <a:pt x="101" y="239"/>
                    </a:lnTo>
                    <a:lnTo>
                      <a:pt x="101" y="239"/>
                    </a:lnTo>
                    <a:lnTo>
                      <a:pt x="113" y="238"/>
                    </a:lnTo>
                    <a:lnTo>
                      <a:pt x="123" y="237"/>
                    </a:lnTo>
                    <a:lnTo>
                      <a:pt x="133" y="234"/>
                    </a:lnTo>
                    <a:lnTo>
                      <a:pt x="143" y="231"/>
                    </a:lnTo>
                    <a:lnTo>
                      <a:pt x="152" y="226"/>
                    </a:lnTo>
                    <a:lnTo>
                      <a:pt x="161" y="221"/>
                    </a:lnTo>
                    <a:lnTo>
                      <a:pt x="169" y="214"/>
                    </a:lnTo>
                    <a:lnTo>
                      <a:pt x="176" y="207"/>
                    </a:lnTo>
                    <a:lnTo>
                      <a:pt x="182" y="199"/>
                    </a:lnTo>
                    <a:lnTo>
                      <a:pt x="188" y="190"/>
                    </a:lnTo>
                    <a:lnTo>
                      <a:pt x="193" y="180"/>
                    </a:lnTo>
                    <a:lnTo>
                      <a:pt x="198" y="169"/>
                    </a:lnTo>
                    <a:lnTo>
                      <a:pt x="201" y="158"/>
                    </a:lnTo>
                    <a:lnTo>
                      <a:pt x="203" y="145"/>
                    </a:lnTo>
                    <a:lnTo>
                      <a:pt x="205" y="132"/>
                    </a:lnTo>
                    <a:lnTo>
                      <a:pt x="205" y="119"/>
                    </a:lnTo>
                    <a:lnTo>
                      <a:pt x="205" y="119"/>
                    </a:lnTo>
                    <a:close/>
                    <a:moveTo>
                      <a:pt x="160" y="120"/>
                    </a:moveTo>
                    <a:lnTo>
                      <a:pt x="160" y="120"/>
                    </a:lnTo>
                    <a:lnTo>
                      <a:pt x="159" y="135"/>
                    </a:lnTo>
                    <a:lnTo>
                      <a:pt x="156" y="149"/>
                    </a:lnTo>
                    <a:lnTo>
                      <a:pt x="151" y="162"/>
                    </a:lnTo>
                    <a:lnTo>
                      <a:pt x="145" y="174"/>
                    </a:lnTo>
                    <a:lnTo>
                      <a:pt x="141" y="179"/>
                    </a:lnTo>
                    <a:lnTo>
                      <a:pt x="137" y="183"/>
                    </a:lnTo>
                    <a:lnTo>
                      <a:pt x="132" y="187"/>
                    </a:lnTo>
                    <a:lnTo>
                      <a:pt x="127" y="190"/>
                    </a:lnTo>
                    <a:lnTo>
                      <a:pt x="122" y="193"/>
                    </a:lnTo>
                    <a:lnTo>
                      <a:pt x="116" y="195"/>
                    </a:lnTo>
                    <a:lnTo>
                      <a:pt x="110" y="196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97" y="196"/>
                    </a:lnTo>
                    <a:lnTo>
                      <a:pt x="91" y="195"/>
                    </a:lnTo>
                    <a:lnTo>
                      <a:pt x="85" y="193"/>
                    </a:lnTo>
                    <a:lnTo>
                      <a:pt x="80" y="191"/>
                    </a:lnTo>
                    <a:lnTo>
                      <a:pt x="75" y="188"/>
                    </a:lnTo>
                    <a:lnTo>
                      <a:pt x="70" y="185"/>
                    </a:lnTo>
                    <a:lnTo>
                      <a:pt x="65" y="181"/>
                    </a:lnTo>
                    <a:lnTo>
                      <a:pt x="62" y="176"/>
                    </a:lnTo>
                    <a:lnTo>
                      <a:pt x="58" y="171"/>
                    </a:lnTo>
                    <a:lnTo>
                      <a:pt x="55" y="165"/>
                    </a:lnTo>
                    <a:lnTo>
                      <a:pt x="52" y="159"/>
                    </a:lnTo>
                    <a:lnTo>
                      <a:pt x="50" y="152"/>
                    </a:lnTo>
                    <a:lnTo>
                      <a:pt x="47" y="136"/>
                    </a:lnTo>
                    <a:lnTo>
                      <a:pt x="46" y="119"/>
                    </a:lnTo>
                    <a:lnTo>
                      <a:pt x="46" y="119"/>
                    </a:lnTo>
                    <a:lnTo>
                      <a:pt x="47" y="102"/>
                    </a:lnTo>
                    <a:lnTo>
                      <a:pt x="50" y="88"/>
                    </a:lnTo>
                    <a:lnTo>
                      <a:pt x="54" y="75"/>
                    </a:lnTo>
                    <a:lnTo>
                      <a:pt x="57" y="69"/>
                    </a:lnTo>
                    <a:lnTo>
                      <a:pt x="60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3" y="51"/>
                    </a:lnTo>
                    <a:lnTo>
                      <a:pt x="78" y="48"/>
                    </a:lnTo>
                    <a:lnTo>
                      <a:pt x="83" y="46"/>
                    </a:lnTo>
                    <a:lnTo>
                      <a:pt x="89" y="44"/>
                    </a:lnTo>
                    <a:lnTo>
                      <a:pt x="94" y="43"/>
                    </a:lnTo>
                    <a:lnTo>
                      <a:pt x="101" y="43"/>
                    </a:lnTo>
                    <a:lnTo>
                      <a:pt x="101" y="43"/>
                    </a:lnTo>
                    <a:lnTo>
                      <a:pt x="108" y="43"/>
                    </a:lnTo>
                    <a:lnTo>
                      <a:pt x="115" y="44"/>
                    </a:lnTo>
                    <a:lnTo>
                      <a:pt x="120" y="46"/>
                    </a:lnTo>
                    <a:lnTo>
                      <a:pt x="126" y="49"/>
                    </a:lnTo>
                    <a:lnTo>
                      <a:pt x="131" y="51"/>
                    </a:lnTo>
                    <a:lnTo>
                      <a:pt x="136" y="55"/>
                    </a:lnTo>
                    <a:lnTo>
                      <a:pt x="140" y="59"/>
                    </a:lnTo>
                    <a:lnTo>
                      <a:pt x="144" y="64"/>
                    </a:lnTo>
                    <a:lnTo>
                      <a:pt x="148" y="69"/>
                    </a:lnTo>
                    <a:lnTo>
                      <a:pt x="151" y="75"/>
                    </a:lnTo>
                    <a:lnTo>
                      <a:pt x="154" y="81"/>
                    </a:lnTo>
                    <a:lnTo>
                      <a:pt x="156" y="88"/>
                    </a:lnTo>
                    <a:lnTo>
                      <a:pt x="159" y="103"/>
                    </a:lnTo>
                    <a:lnTo>
                      <a:pt x="160" y="120"/>
                    </a:lnTo>
                    <a:lnTo>
                      <a:pt x="160" y="12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2" name="Freeform 41"/>
              <p:cNvSpPr>
                <a:spLocks/>
              </p:cNvSpPr>
              <p:nvPr userDrawn="1"/>
            </p:nvSpPr>
            <p:spPr bwMode="auto">
              <a:xfrm>
                <a:off x="3124200" y="6150782"/>
                <a:ext cx="73025" cy="92075"/>
              </a:xfrm>
              <a:custGeom>
                <a:avLst/>
                <a:gdLst>
                  <a:gd name="T0" fmla="*/ 184 w 184"/>
                  <a:gd name="T1" fmla="*/ 39 h 229"/>
                  <a:gd name="T2" fmla="*/ 184 w 184"/>
                  <a:gd name="T3" fmla="*/ 0 h 229"/>
                  <a:gd name="T4" fmla="*/ 0 w 184"/>
                  <a:gd name="T5" fmla="*/ 0 h 229"/>
                  <a:gd name="T6" fmla="*/ 0 w 184"/>
                  <a:gd name="T7" fmla="*/ 39 h 229"/>
                  <a:gd name="T8" fmla="*/ 69 w 184"/>
                  <a:gd name="T9" fmla="*/ 39 h 229"/>
                  <a:gd name="T10" fmla="*/ 69 w 184"/>
                  <a:gd name="T11" fmla="*/ 229 h 229"/>
                  <a:gd name="T12" fmla="*/ 114 w 184"/>
                  <a:gd name="T13" fmla="*/ 229 h 229"/>
                  <a:gd name="T14" fmla="*/ 114 w 184"/>
                  <a:gd name="T15" fmla="*/ 39 h 229"/>
                  <a:gd name="T16" fmla="*/ 184 w 184"/>
                  <a:gd name="T17" fmla="*/ 3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229">
                    <a:moveTo>
                      <a:pt x="184" y="39"/>
                    </a:moveTo>
                    <a:lnTo>
                      <a:pt x="184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69" y="39"/>
                    </a:lnTo>
                    <a:lnTo>
                      <a:pt x="69" y="229"/>
                    </a:lnTo>
                    <a:lnTo>
                      <a:pt x="114" y="229"/>
                    </a:lnTo>
                    <a:lnTo>
                      <a:pt x="114" y="39"/>
                    </a:lnTo>
                    <a:lnTo>
                      <a:pt x="184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3" name="Freeform 42"/>
              <p:cNvSpPr>
                <a:spLocks noEditPoints="1"/>
              </p:cNvSpPr>
              <p:nvPr userDrawn="1"/>
            </p:nvSpPr>
            <p:spPr bwMode="auto">
              <a:xfrm>
                <a:off x="3209925" y="6150782"/>
                <a:ext cx="73025" cy="92075"/>
              </a:xfrm>
              <a:custGeom>
                <a:avLst/>
                <a:gdLst>
                  <a:gd name="T0" fmla="*/ 0 w 185"/>
                  <a:gd name="T1" fmla="*/ 229 h 229"/>
                  <a:gd name="T2" fmla="*/ 105 w 185"/>
                  <a:gd name="T3" fmla="*/ 229 h 229"/>
                  <a:gd name="T4" fmla="*/ 131 w 185"/>
                  <a:gd name="T5" fmla="*/ 227 h 229"/>
                  <a:gd name="T6" fmla="*/ 146 w 185"/>
                  <a:gd name="T7" fmla="*/ 222 h 229"/>
                  <a:gd name="T8" fmla="*/ 159 w 185"/>
                  <a:gd name="T9" fmla="*/ 215 h 229"/>
                  <a:gd name="T10" fmla="*/ 169 w 185"/>
                  <a:gd name="T11" fmla="*/ 207 h 229"/>
                  <a:gd name="T12" fmla="*/ 177 w 185"/>
                  <a:gd name="T13" fmla="*/ 196 h 229"/>
                  <a:gd name="T14" fmla="*/ 182 w 185"/>
                  <a:gd name="T15" fmla="*/ 182 h 229"/>
                  <a:gd name="T16" fmla="*/ 184 w 185"/>
                  <a:gd name="T17" fmla="*/ 167 h 229"/>
                  <a:gd name="T18" fmla="*/ 185 w 185"/>
                  <a:gd name="T19" fmla="*/ 159 h 229"/>
                  <a:gd name="T20" fmla="*/ 181 w 185"/>
                  <a:gd name="T21" fmla="*/ 138 h 229"/>
                  <a:gd name="T22" fmla="*/ 173 w 185"/>
                  <a:gd name="T23" fmla="*/ 122 h 229"/>
                  <a:gd name="T24" fmla="*/ 161 w 185"/>
                  <a:gd name="T25" fmla="*/ 112 h 229"/>
                  <a:gd name="T26" fmla="*/ 147 w 185"/>
                  <a:gd name="T27" fmla="*/ 106 h 229"/>
                  <a:gd name="T28" fmla="*/ 153 w 185"/>
                  <a:gd name="T29" fmla="*/ 102 h 229"/>
                  <a:gd name="T30" fmla="*/ 165 w 185"/>
                  <a:gd name="T31" fmla="*/ 94 h 229"/>
                  <a:gd name="T32" fmla="*/ 173 w 185"/>
                  <a:gd name="T33" fmla="*/ 82 h 229"/>
                  <a:gd name="T34" fmla="*/ 177 w 185"/>
                  <a:gd name="T35" fmla="*/ 68 h 229"/>
                  <a:gd name="T36" fmla="*/ 178 w 185"/>
                  <a:gd name="T37" fmla="*/ 60 h 229"/>
                  <a:gd name="T38" fmla="*/ 177 w 185"/>
                  <a:gd name="T39" fmla="*/ 46 h 229"/>
                  <a:gd name="T40" fmla="*/ 173 w 185"/>
                  <a:gd name="T41" fmla="*/ 34 h 229"/>
                  <a:gd name="T42" fmla="*/ 167 w 185"/>
                  <a:gd name="T43" fmla="*/ 24 h 229"/>
                  <a:gd name="T44" fmla="*/ 160 w 185"/>
                  <a:gd name="T45" fmla="*/ 15 h 229"/>
                  <a:gd name="T46" fmla="*/ 149 w 185"/>
                  <a:gd name="T47" fmla="*/ 9 h 229"/>
                  <a:gd name="T48" fmla="*/ 125 w 185"/>
                  <a:gd name="T49" fmla="*/ 1 h 229"/>
                  <a:gd name="T50" fmla="*/ 0 w 185"/>
                  <a:gd name="T51" fmla="*/ 0 h 229"/>
                  <a:gd name="T52" fmla="*/ 44 w 185"/>
                  <a:gd name="T53" fmla="*/ 37 h 229"/>
                  <a:gd name="T54" fmla="*/ 104 w 185"/>
                  <a:gd name="T55" fmla="*/ 37 h 229"/>
                  <a:gd name="T56" fmla="*/ 117 w 185"/>
                  <a:gd name="T57" fmla="*/ 39 h 229"/>
                  <a:gd name="T58" fmla="*/ 125 w 185"/>
                  <a:gd name="T59" fmla="*/ 45 h 229"/>
                  <a:gd name="T60" fmla="*/ 130 w 185"/>
                  <a:gd name="T61" fmla="*/ 53 h 229"/>
                  <a:gd name="T62" fmla="*/ 132 w 185"/>
                  <a:gd name="T63" fmla="*/ 64 h 229"/>
                  <a:gd name="T64" fmla="*/ 131 w 185"/>
                  <a:gd name="T65" fmla="*/ 69 h 229"/>
                  <a:gd name="T66" fmla="*/ 128 w 185"/>
                  <a:gd name="T67" fmla="*/ 78 h 229"/>
                  <a:gd name="T68" fmla="*/ 121 w 185"/>
                  <a:gd name="T69" fmla="*/ 85 h 229"/>
                  <a:gd name="T70" fmla="*/ 111 w 185"/>
                  <a:gd name="T71" fmla="*/ 89 h 229"/>
                  <a:gd name="T72" fmla="*/ 44 w 185"/>
                  <a:gd name="T73" fmla="*/ 90 h 229"/>
                  <a:gd name="T74" fmla="*/ 44 w 185"/>
                  <a:gd name="T75" fmla="*/ 127 h 229"/>
                  <a:gd name="T76" fmla="*/ 104 w 185"/>
                  <a:gd name="T77" fmla="*/ 127 h 229"/>
                  <a:gd name="T78" fmla="*/ 119 w 185"/>
                  <a:gd name="T79" fmla="*/ 129 h 229"/>
                  <a:gd name="T80" fmla="*/ 130 w 185"/>
                  <a:gd name="T81" fmla="*/ 136 h 229"/>
                  <a:gd name="T82" fmla="*/ 137 w 185"/>
                  <a:gd name="T83" fmla="*/ 146 h 229"/>
                  <a:gd name="T84" fmla="*/ 139 w 185"/>
                  <a:gd name="T85" fmla="*/ 160 h 229"/>
                  <a:gd name="T86" fmla="*/ 138 w 185"/>
                  <a:gd name="T87" fmla="*/ 167 h 229"/>
                  <a:gd name="T88" fmla="*/ 134 w 185"/>
                  <a:gd name="T89" fmla="*/ 178 h 229"/>
                  <a:gd name="T90" fmla="*/ 126 w 185"/>
                  <a:gd name="T91" fmla="*/ 187 h 229"/>
                  <a:gd name="T92" fmla="*/ 112 w 185"/>
                  <a:gd name="T93" fmla="*/ 191 h 229"/>
                  <a:gd name="T94" fmla="*/ 44 w 185"/>
                  <a:gd name="T95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5" h="229">
                    <a:moveTo>
                      <a:pt x="0" y="0"/>
                    </a:moveTo>
                    <a:lnTo>
                      <a:pt x="0" y="229"/>
                    </a:lnTo>
                    <a:lnTo>
                      <a:pt x="105" y="229"/>
                    </a:lnTo>
                    <a:lnTo>
                      <a:pt x="105" y="229"/>
                    </a:lnTo>
                    <a:lnTo>
                      <a:pt x="123" y="228"/>
                    </a:lnTo>
                    <a:lnTo>
                      <a:pt x="131" y="227"/>
                    </a:lnTo>
                    <a:lnTo>
                      <a:pt x="139" y="225"/>
                    </a:lnTo>
                    <a:lnTo>
                      <a:pt x="146" y="222"/>
                    </a:lnTo>
                    <a:lnTo>
                      <a:pt x="152" y="219"/>
                    </a:lnTo>
                    <a:lnTo>
                      <a:pt x="159" y="215"/>
                    </a:lnTo>
                    <a:lnTo>
                      <a:pt x="164" y="211"/>
                    </a:lnTo>
                    <a:lnTo>
                      <a:pt x="169" y="207"/>
                    </a:lnTo>
                    <a:lnTo>
                      <a:pt x="173" y="201"/>
                    </a:lnTo>
                    <a:lnTo>
                      <a:pt x="177" y="196"/>
                    </a:lnTo>
                    <a:lnTo>
                      <a:pt x="180" y="189"/>
                    </a:lnTo>
                    <a:lnTo>
                      <a:pt x="182" y="182"/>
                    </a:lnTo>
                    <a:lnTo>
                      <a:pt x="183" y="175"/>
                    </a:lnTo>
                    <a:lnTo>
                      <a:pt x="184" y="167"/>
                    </a:lnTo>
                    <a:lnTo>
                      <a:pt x="185" y="159"/>
                    </a:lnTo>
                    <a:lnTo>
                      <a:pt x="185" y="159"/>
                    </a:lnTo>
                    <a:lnTo>
                      <a:pt x="184" y="148"/>
                    </a:lnTo>
                    <a:lnTo>
                      <a:pt x="181" y="138"/>
                    </a:lnTo>
                    <a:lnTo>
                      <a:pt x="178" y="129"/>
                    </a:lnTo>
                    <a:lnTo>
                      <a:pt x="173" y="122"/>
                    </a:lnTo>
                    <a:lnTo>
                      <a:pt x="167" y="116"/>
                    </a:lnTo>
                    <a:lnTo>
                      <a:pt x="161" y="112"/>
                    </a:lnTo>
                    <a:lnTo>
                      <a:pt x="153" y="108"/>
                    </a:lnTo>
                    <a:lnTo>
                      <a:pt x="147" y="106"/>
                    </a:lnTo>
                    <a:lnTo>
                      <a:pt x="147" y="106"/>
                    </a:lnTo>
                    <a:lnTo>
                      <a:pt x="153" y="102"/>
                    </a:lnTo>
                    <a:lnTo>
                      <a:pt x="160" y="98"/>
                    </a:lnTo>
                    <a:lnTo>
                      <a:pt x="165" y="94"/>
                    </a:lnTo>
                    <a:lnTo>
                      <a:pt x="169" y="88"/>
                    </a:lnTo>
                    <a:lnTo>
                      <a:pt x="173" y="82"/>
                    </a:lnTo>
                    <a:lnTo>
                      <a:pt x="175" y="76"/>
                    </a:lnTo>
                    <a:lnTo>
                      <a:pt x="177" y="68"/>
                    </a:lnTo>
                    <a:lnTo>
                      <a:pt x="178" y="60"/>
                    </a:lnTo>
                    <a:lnTo>
                      <a:pt x="178" y="60"/>
                    </a:lnTo>
                    <a:lnTo>
                      <a:pt x="177" y="53"/>
                    </a:lnTo>
                    <a:lnTo>
                      <a:pt x="177" y="46"/>
                    </a:lnTo>
                    <a:lnTo>
                      <a:pt x="175" y="40"/>
                    </a:lnTo>
                    <a:lnTo>
                      <a:pt x="173" y="34"/>
                    </a:lnTo>
                    <a:lnTo>
                      <a:pt x="171" y="29"/>
                    </a:lnTo>
                    <a:lnTo>
                      <a:pt x="167" y="24"/>
                    </a:lnTo>
                    <a:lnTo>
                      <a:pt x="164" y="19"/>
                    </a:lnTo>
                    <a:lnTo>
                      <a:pt x="160" y="15"/>
                    </a:lnTo>
                    <a:lnTo>
                      <a:pt x="154" y="12"/>
                    </a:lnTo>
                    <a:lnTo>
                      <a:pt x="149" y="9"/>
                    </a:lnTo>
                    <a:lnTo>
                      <a:pt x="138" y="4"/>
                    </a:lnTo>
                    <a:lnTo>
                      <a:pt x="125" y="1"/>
                    </a:lnTo>
                    <a:lnTo>
                      <a:pt x="111" y="0"/>
                    </a:lnTo>
                    <a:lnTo>
                      <a:pt x="0" y="0"/>
                    </a:lnTo>
                    <a:close/>
                    <a:moveTo>
                      <a:pt x="44" y="90"/>
                    </a:moveTo>
                    <a:lnTo>
                      <a:pt x="44" y="37"/>
                    </a:lnTo>
                    <a:lnTo>
                      <a:pt x="104" y="37"/>
                    </a:lnTo>
                    <a:lnTo>
                      <a:pt x="104" y="37"/>
                    </a:lnTo>
                    <a:lnTo>
                      <a:pt x="111" y="38"/>
                    </a:lnTo>
                    <a:lnTo>
                      <a:pt x="117" y="39"/>
                    </a:lnTo>
                    <a:lnTo>
                      <a:pt x="122" y="42"/>
                    </a:lnTo>
                    <a:lnTo>
                      <a:pt x="125" y="45"/>
                    </a:lnTo>
                    <a:lnTo>
                      <a:pt x="128" y="49"/>
                    </a:lnTo>
                    <a:lnTo>
                      <a:pt x="130" y="53"/>
                    </a:lnTo>
                    <a:lnTo>
                      <a:pt x="132" y="58"/>
                    </a:lnTo>
                    <a:lnTo>
                      <a:pt x="132" y="64"/>
                    </a:lnTo>
                    <a:lnTo>
                      <a:pt x="132" y="64"/>
                    </a:lnTo>
                    <a:lnTo>
                      <a:pt x="131" y="69"/>
                    </a:lnTo>
                    <a:lnTo>
                      <a:pt x="130" y="74"/>
                    </a:lnTo>
                    <a:lnTo>
                      <a:pt x="128" y="78"/>
                    </a:lnTo>
                    <a:lnTo>
                      <a:pt x="125" y="82"/>
                    </a:lnTo>
                    <a:lnTo>
                      <a:pt x="121" y="85"/>
                    </a:lnTo>
                    <a:lnTo>
                      <a:pt x="116" y="88"/>
                    </a:lnTo>
                    <a:lnTo>
                      <a:pt x="111" y="89"/>
                    </a:lnTo>
                    <a:lnTo>
                      <a:pt x="104" y="90"/>
                    </a:lnTo>
                    <a:lnTo>
                      <a:pt x="44" y="90"/>
                    </a:lnTo>
                    <a:close/>
                    <a:moveTo>
                      <a:pt x="44" y="192"/>
                    </a:moveTo>
                    <a:lnTo>
                      <a:pt x="44" y="127"/>
                    </a:lnTo>
                    <a:lnTo>
                      <a:pt x="104" y="127"/>
                    </a:lnTo>
                    <a:lnTo>
                      <a:pt x="104" y="127"/>
                    </a:lnTo>
                    <a:lnTo>
                      <a:pt x="112" y="128"/>
                    </a:lnTo>
                    <a:lnTo>
                      <a:pt x="119" y="129"/>
                    </a:lnTo>
                    <a:lnTo>
                      <a:pt x="125" y="132"/>
                    </a:lnTo>
                    <a:lnTo>
                      <a:pt x="130" y="136"/>
                    </a:lnTo>
                    <a:lnTo>
                      <a:pt x="134" y="141"/>
                    </a:lnTo>
                    <a:lnTo>
                      <a:pt x="137" y="146"/>
                    </a:lnTo>
                    <a:lnTo>
                      <a:pt x="138" y="153"/>
                    </a:lnTo>
                    <a:lnTo>
                      <a:pt x="139" y="160"/>
                    </a:lnTo>
                    <a:lnTo>
                      <a:pt x="139" y="160"/>
                    </a:lnTo>
                    <a:lnTo>
                      <a:pt x="138" y="167"/>
                    </a:lnTo>
                    <a:lnTo>
                      <a:pt x="137" y="173"/>
                    </a:lnTo>
                    <a:lnTo>
                      <a:pt x="134" y="178"/>
                    </a:lnTo>
                    <a:lnTo>
                      <a:pt x="131" y="183"/>
                    </a:lnTo>
                    <a:lnTo>
                      <a:pt x="126" y="187"/>
                    </a:lnTo>
                    <a:lnTo>
                      <a:pt x="120" y="190"/>
                    </a:lnTo>
                    <a:lnTo>
                      <a:pt x="112" y="191"/>
                    </a:lnTo>
                    <a:lnTo>
                      <a:pt x="103" y="192"/>
                    </a:lnTo>
                    <a:lnTo>
                      <a:pt x="44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auto">
              <a:xfrm>
                <a:off x="3295650" y="6149194"/>
                <a:ext cx="79375" cy="95250"/>
              </a:xfrm>
              <a:custGeom>
                <a:avLst/>
                <a:gdLst>
                  <a:gd name="T0" fmla="*/ 197 w 197"/>
                  <a:gd name="T1" fmla="*/ 115 h 239"/>
                  <a:gd name="T2" fmla="*/ 195 w 197"/>
                  <a:gd name="T3" fmla="*/ 92 h 239"/>
                  <a:gd name="T4" fmla="*/ 191 w 197"/>
                  <a:gd name="T5" fmla="*/ 71 h 239"/>
                  <a:gd name="T6" fmla="*/ 183 w 197"/>
                  <a:gd name="T7" fmla="*/ 52 h 239"/>
                  <a:gd name="T8" fmla="*/ 173 w 197"/>
                  <a:gd name="T9" fmla="*/ 34 h 239"/>
                  <a:gd name="T10" fmla="*/ 159 w 197"/>
                  <a:gd name="T11" fmla="*/ 20 h 239"/>
                  <a:gd name="T12" fmla="*/ 143 w 197"/>
                  <a:gd name="T13" fmla="*/ 10 h 239"/>
                  <a:gd name="T14" fmla="*/ 123 w 197"/>
                  <a:gd name="T15" fmla="*/ 3 h 239"/>
                  <a:gd name="T16" fmla="*/ 100 w 197"/>
                  <a:gd name="T17" fmla="*/ 0 h 239"/>
                  <a:gd name="T18" fmla="*/ 89 w 197"/>
                  <a:gd name="T19" fmla="*/ 1 h 239"/>
                  <a:gd name="T20" fmla="*/ 69 w 197"/>
                  <a:gd name="T21" fmla="*/ 5 h 239"/>
                  <a:gd name="T22" fmla="*/ 51 w 197"/>
                  <a:gd name="T23" fmla="*/ 12 h 239"/>
                  <a:gd name="T24" fmla="*/ 35 w 197"/>
                  <a:gd name="T25" fmla="*/ 24 h 239"/>
                  <a:gd name="T26" fmla="*/ 22 w 197"/>
                  <a:gd name="T27" fmla="*/ 39 h 239"/>
                  <a:gd name="T28" fmla="*/ 11 w 197"/>
                  <a:gd name="T29" fmla="*/ 58 h 239"/>
                  <a:gd name="T30" fmla="*/ 4 w 197"/>
                  <a:gd name="T31" fmla="*/ 80 h 239"/>
                  <a:gd name="T32" fmla="*/ 0 w 197"/>
                  <a:gd name="T33" fmla="*/ 106 h 239"/>
                  <a:gd name="T34" fmla="*/ 0 w 197"/>
                  <a:gd name="T35" fmla="*/ 120 h 239"/>
                  <a:gd name="T36" fmla="*/ 2 w 197"/>
                  <a:gd name="T37" fmla="*/ 148 h 239"/>
                  <a:gd name="T38" fmla="*/ 9 w 197"/>
                  <a:gd name="T39" fmla="*/ 172 h 239"/>
                  <a:gd name="T40" fmla="*/ 18 w 197"/>
                  <a:gd name="T41" fmla="*/ 193 h 239"/>
                  <a:gd name="T42" fmla="*/ 30 w 197"/>
                  <a:gd name="T43" fmla="*/ 209 h 239"/>
                  <a:gd name="T44" fmla="*/ 36 w 197"/>
                  <a:gd name="T45" fmla="*/ 215 h 239"/>
                  <a:gd name="T46" fmla="*/ 51 w 197"/>
                  <a:gd name="T47" fmla="*/ 226 h 239"/>
                  <a:gd name="T48" fmla="*/ 68 w 197"/>
                  <a:gd name="T49" fmla="*/ 234 h 239"/>
                  <a:gd name="T50" fmla="*/ 88 w 197"/>
                  <a:gd name="T51" fmla="*/ 238 h 239"/>
                  <a:gd name="T52" fmla="*/ 99 w 197"/>
                  <a:gd name="T53" fmla="*/ 239 h 239"/>
                  <a:gd name="T54" fmla="*/ 124 w 197"/>
                  <a:gd name="T55" fmla="*/ 237 h 239"/>
                  <a:gd name="T56" fmla="*/ 145 w 197"/>
                  <a:gd name="T57" fmla="*/ 231 h 239"/>
                  <a:gd name="T58" fmla="*/ 153 w 197"/>
                  <a:gd name="T59" fmla="*/ 227 h 239"/>
                  <a:gd name="T60" fmla="*/ 170 w 197"/>
                  <a:gd name="T61" fmla="*/ 216 h 239"/>
                  <a:gd name="T62" fmla="*/ 151 w 197"/>
                  <a:gd name="T63" fmla="*/ 180 h 239"/>
                  <a:gd name="T64" fmla="*/ 139 w 197"/>
                  <a:gd name="T65" fmla="*/ 188 h 239"/>
                  <a:gd name="T66" fmla="*/ 128 w 197"/>
                  <a:gd name="T67" fmla="*/ 193 h 239"/>
                  <a:gd name="T68" fmla="*/ 116 w 197"/>
                  <a:gd name="T69" fmla="*/ 197 h 239"/>
                  <a:gd name="T70" fmla="*/ 101 w 197"/>
                  <a:gd name="T71" fmla="*/ 198 h 239"/>
                  <a:gd name="T72" fmla="*/ 91 w 197"/>
                  <a:gd name="T73" fmla="*/ 197 h 239"/>
                  <a:gd name="T74" fmla="*/ 72 w 197"/>
                  <a:gd name="T75" fmla="*/ 190 h 239"/>
                  <a:gd name="T76" fmla="*/ 57 w 197"/>
                  <a:gd name="T77" fmla="*/ 175 h 239"/>
                  <a:gd name="T78" fmla="*/ 47 w 197"/>
                  <a:gd name="T79" fmla="*/ 151 h 239"/>
                  <a:gd name="T80" fmla="*/ 195 w 197"/>
                  <a:gd name="T81" fmla="*/ 136 h 239"/>
                  <a:gd name="T82" fmla="*/ 196 w 197"/>
                  <a:gd name="T83" fmla="*/ 127 h 239"/>
                  <a:gd name="T84" fmla="*/ 197 w 197"/>
                  <a:gd name="T85" fmla="*/ 115 h 239"/>
                  <a:gd name="T86" fmla="*/ 45 w 197"/>
                  <a:gd name="T87" fmla="*/ 98 h 239"/>
                  <a:gd name="T88" fmla="*/ 50 w 197"/>
                  <a:gd name="T89" fmla="*/ 74 h 239"/>
                  <a:gd name="T90" fmla="*/ 61 w 197"/>
                  <a:gd name="T91" fmla="*/ 56 h 239"/>
                  <a:gd name="T92" fmla="*/ 76 w 197"/>
                  <a:gd name="T93" fmla="*/ 45 h 239"/>
                  <a:gd name="T94" fmla="*/ 97 w 197"/>
                  <a:gd name="T95" fmla="*/ 41 h 239"/>
                  <a:gd name="T96" fmla="*/ 104 w 197"/>
                  <a:gd name="T97" fmla="*/ 41 h 239"/>
                  <a:gd name="T98" fmla="*/ 116 w 197"/>
                  <a:gd name="T99" fmla="*/ 44 h 239"/>
                  <a:gd name="T100" fmla="*/ 126 w 197"/>
                  <a:gd name="T101" fmla="*/ 48 h 239"/>
                  <a:gd name="T102" fmla="*/ 137 w 197"/>
                  <a:gd name="T103" fmla="*/ 58 h 239"/>
                  <a:gd name="T104" fmla="*/ 147 w 197"/>
                  <a:gd name="T105" fmla="*/ 76 h 239"/>
                  <a:gd name="T106" fmla="*/ 151 w 197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7" h="239">
                    <a:moveTo>
                      <a:pt x="197" y="115"/>
                    </a:moveTo>
                    <a:lnTo>
                      <a:pt x="197" y="115"/>
                    </a:lnTo>
                    <a:lnTo>
                      <a:pt x="196" y="104"/>
                    </a:lnTo>
                    <a:lnTo>
                      <a:pt x="195" y="92"/>
                    </a:lnTo>
                    <a:lnTo>
                      <a:pt x="193" y="81"/>
                    </a:lnTo>
                    <a:lnTo>
                      <a:pt x="191" y="71"/>
                    </a:lnTo>
                    <a:lnTo>
                      <a:pt x="187" y="61"/>
                    </a:lnTo>
                    <a:lnTo>
                      <a:pt x="183" y="52"/>
                    </a:lnTo>
                    <a:lnTo>
                      <a:pt x="178" y="43"/>
                    </a:lnTo>
                    <a:lnTo>
                      <a:pt x="173" y="34"/>
                    </a:lnTo>
                    <a:lnTo>
                      <a:pt x="166" y="27"/>
                    </a:lnTo>
                    <a:lnTo>
                      <a:pt x="159" y="20"/>
                    </a:lnTo>
                    <a:lnTo>
                      <a:pt x="151" y="14"/>
                    </a:lnTo>
                    <a:lnTo>
                      <a:pt x="143" y="10"/>
                    </a:lnTo>
                    <a:lnTo>
                      <a:pt x="133" y="6"/>
                    </a:lnTo>
                    <a:lnTo>
                      <a:pt x="123" y="3"/>
                    </a:lnTo>
                    <a:lnTo>
                      <a:pt x="112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1"/>
                    </a:lnTo>
                    <a:lnTo>
                      <a:pt x="79" y="2"/>
                    </a:lnTo>
                    <a:lnTo>
                      <a:pt x="69" y="5"/>
                    </a:lnTo>
                    <a:lnTo>
                      <a:pt x="60" y="8"/>
                    </a:lnTo>
                    <a:lnTo>
                      <a:pt x="51" y="12"/>
                    </a:lnTo>
                    <a:lnTo>
                      <a:pt x="42" y="18"/>
                    </a:lnTo>
                    <a:lnTo>
                      <a:pt x="35" y="24"/>
                    </a:lnTo>
                    <a:lnTo>
                      <a:pt x="28" y="31"/>
                    </a:lnTo>
                    <a:lnTo>
                      <a:pt x="22" y="39"/>
                    </a:lnTo>
                    <a:lnTo>
                      <a:pt x="16" y="48"/>
                    </a:lnTo>
                    <a:lnTo>
                      <a:pt x="11" y="58"/>
                    </a:lnTo>
                    <a:lnTo>
                      <a:pt x="7" y="68"/>
                    </a:lnTo>
                    <a:lnTo>
                      <a:pt x="4" y="80"/>
                    </a:lnTo>
                    <a:lnTo>
                      <a:pt x="2" y="92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4"/>
                    </a:lnTo>
                    <a:lnTo>
                      <a:pt x="2" y="148"/>
                    </a:lnTo>
                    <a:lnTo>
                      <a:pt x="5" y="160"/>
                    </a:lnTo>
                    <a:lnTo>
                      <a:pt x="9" y="172"/>
                    </a:lnTo>
                    <a:lnTo>
                      <a:pt x="13" y="183"/>
                    </a:lnTo>
                    <a:lnTo>
                      <a:pt x="18" y="193"/>
                    </a:lnTo>
                    <a:lnTo>
                      <a:pt x="24" y="201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7" y="236"/>
                    </a:lnTo>
                    <a:lnTo>
                      <a:pt x="88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8"/>
                    </a:lnTo>
                    <a:lnTo>
                      <a:pt x="124" y="237"/>
                    </a:lnTo>
                    <a:lnTo>
                      <a:pt x="135" y="234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3" y="227"/>
                    </a:lnTo>
                    <a:lnTo>
                      <a:pt x="162" y="222"/>
                    </a:lnTo>
                    <a:lnTo>
                      <a:pt x="170" y="216"/>
                    </a:lnTo>
                    <a:lnTo>
                      <a:pt x="178" y="209"/>
                    </a:lnTo>
                    <a:lnTo>
                      <a:pt x="151" y="180"/>
                    </a:lnTo>
                    <a:lnTo>
                      <a:pt x="151" y="180"/>
                    </a:lnTo>
                    <a:lnTo>
                      <a:pt x="139" y="188"/>
                    </a:lnTo>
                    <a:lnTo>
                      <a:pt x="128" y="193"/>
                    </a:lnTo>
                    <a:lnTo>
                      <a:pt x="128" y="193"/>
                    </a:lnTo>
                    <a:lnTo>
                      <a:pt x="122" y="195"/>
                    </a:lnTo>
                    <a:lnTo>
                      <a:pt x="116" y="197"/>
                    </a:lnTo>
                    <a:lnTo>
                      <a:pt x="109" y="198"/>
                    </a:lnTo>
                    <a:lnTo>
                      <a:pt x="101" y="198"/>
                    </a:lnTo>
                    <a:lnTo>
                      <a:pt x="101" y="198"/>
                    </a:lnTo>
                    <a:lnTo>
                      <a:pt x="91" y="197"/>
                    </a:lnTo>
                    <a:lnTo>
                      <a:pt x="81" y="195"/>
                    </a:lnTo>
                    <a:lnTo>
                      <a:pt x="72" y="190"/>
                    </a:lnTo>
                    <a:lnTo>
                      <a:pt x="64" y="183"/>
                    </a:lnTo>
                    <a:lnTo>
                      <a:pt x="57" y="175"/>
                    </a:lnTo>
                    <a:lnTo>
                      <a:pt x="51" y="164"/>
                    </a:lnTo>
                    <a:lnTo>
                      <a:pt x="47" y="151"/>
                    </a:lnTo>
                    <a:lnTo>
                      <a:pt x="44" y="136"/>
                    </a:lnTo>
                    <a:lnTo>
                      <a:pt x="195" y="136"/>
                    </a:lnTo>
                    <a:lnTo>
                      <a:pt x="195" y="136"/>
                    </a:lnTo>
                    <a:lnTo>
                      <a:pt x="196" y="127"/>
                    </a:lnTo>
                    <a:lnTo>
                      <a:pt x="197" y="115"/>
                    </a:lnTo>
                    <a:lnTo>
                      <a:pt x="197" y="115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0" y="74"/>
                    </a:lnTo>
                    <a:lnTo>
                      <a:pt x="55" y="64"/>
                    </a:lnTo>
                    <a:lnTo>
                      <a:pt x="61" y="56"/>
                    </a:lnTo>
                    <a:lnTo>
                      <a:pt x="68" y="49"/>
                    </a:lnTo>
                    <a:lnTo>
                      <a:pt x="76" y="45"/>
                    </a:lnTo>
                    <a:lnTo>
                      <a:pt x="86" y="42"/>
                    </a:lnTo>
                    <a:lnTo>
                      <a:pt x="97" y="41"/>
                    </a:lnTo>
                    <a:lnTo>
                      <a:pt x="97" y="41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4"/>
                    </a:lnTo>
                    <a:lnTo>
                      <a:pt x="121" y="45"/>
                    </a:lnTo>
                    <a:lnTo>
                      <a:pt x="126" y="48"/>
                    </a:lnTo>
                    <a:lnTo>
                      <a:pt x="130" y="51"/>
                    </a:lnTo>
                    <a:lnTo>
                      <a:pt x="137" y="58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7"/>
                    </a:lnTo>
                    <a:lnTo>
                      <a:pt x="151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5" name="Freeform 44"/>
              <p:cNvSpPr>
                <a:spLocks/>
              </p:cNvSpPr>
              <p:nvPr userDrawn="1"/>
            </p:nvSpPr>
            <p:spPr bwMode="auto">
              <a:xfrm>
                <a:off x="3382962" y="6150782"/>
                <a:ext cx="73025" cy="92075"/>
              </a:xfrm>
              <a:custGeom>
                <a:avLst/>
                <a:gdLst>
                  <a:gd name="T0" fmla="*/ 184 w 184"/>
                  <a:gd name="T1" fmla="*/ 39 h 229"/>
                  <a:gd name="T2" fmla="*/ 184 w 184"/>
                  <a:gd name="T3" fmla="*/ 0 h 229"/>
                  <a:gd name="T4" fmla="*/ 0 w 184"/>
                  <a:gd name="T5" fmla="*/ 0 h 229"/>
                  <a:gd name="T6" fmla="*/ 0 w 184"/>
                  <a:gd name="T7" fmla="*/ 39 h 229"/>
                  <a:gd name="T8" fmla="*/ 70 w 184"/>
                  <a:gd name="T9" fmla="*/ 39 h 229"/>
                  <a:gd name="T10" fmla="*/ 70 w 184"/>
                  <a:gd name="T11" fmla="*/ 229 h 229"/>
                  <a:gd name="T12" fmla="*/ 114 w 184"/>
                  <a:gd name="T13" fmla="*/ 229 h 229"/>
                  <a:gd name="T14" fmla="*/ 114 w 184"/>
                  <a:gd name="T15" fmla="*/ 39 h 229"/>
                  <a:gd name="T16" fmla="*/ 184 w 184"/>
                  <a:gd name="T17" fmla="*/ 3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229">
                    <a:moveTo>
                      <a:pt x="184" y="39"/>
                    </a:moveTo>
                    <a:lnTo>
                      <a:pt x="184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70" y="39"/>
                    </a:lnTo>
                    <a:lnTo>
                      <a:pt x="70" y="229"/>
                    </a:lnTo>
                    <a:lnTo>
                      <a:pt x="114" y="229"/>
                    </a:lnTo>
                    <a:lnTo>
                      <a:pt x="114" y="39"/>
                    </a:lnTo>
                    <a:lnTo>
                      <a:pt x="184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6" name="Freeform 45"/>
              <p:cNvSpPr>
                <a:spLocks/>
              </p:cNvSpPr>
              <p:nvPr userDrawn="1"/>
            </p:nvSpPr>
            <p:spPr bwMode="auto">
              <a:xfrm>
                <a:off x="3470275" y="6217457"/>
                <a:ext cx="26988" cy="26988"/>
              </a:xfrm>
              <a:custGeom>
                <a:avLst/>
                <a:gdLst>
                  <a:gd name="T0" fmla="*/ 69 w 69"/>
                  <a:gd name="T1" fmla="*/ 34 h 69"/>
                  <a:gd name="T2" fmla="*/ 69 w 69"/>
                  <a:gd name="T3" fmla="*/ 34 h 69"/>
                  <a:gd name="T4" fmla="*/ 69 w 69"/>
                  <a:gd name="T5" fmla="*/ 27 h 69"/>
                  <a:gd name="T6" fmla="*/ 67 w 69"/>
                  <a:gd name="T7" fmla="*/ 21 h 69"/>
                  <a:gd name="T8" fmla="*/ 63 w 69"/>
                  <a:gd name="T9" fmla="*/ 15 h 69"/>
                  <a:gd name="T10" fmla="*/ 59 w 69"/>
                  <a:gd name="T11" fmla="*/ 10 h 69"/>
                  <a:gd name="T12" fmla="*/ 54 w 69"/>
                  <a:gd name="T13" fmla="*/ 5 h 69"/>
                  <a:gd name="T14" fmla="*/ 48 w 69"/>
                  <a:gd name="T15" fmla="*/ 2 h 69"/>
                  <a:gd name="T16" fmla="*/ 42 w 69"/>
                  <a:gd name="T17" fmla="*/ 0 h 69"/>
                  <a:gd name="T18" fmla="*/ 35 w 69"/>
                  <a:gd name="T19" fmla="*/ 0 h 69"/>
                  <a:gd name="T20" fmla="*/ 35 w 69"/>
                  <a:gd name="T21" fmla="*/ 0 h 69"/>
                  <a:gd name="T22" fmla="*/ 28 w 69"/>
                  <a:gd name="T23" fmla="*/ 0 h 69"/>
                  <a:gd name="T24" fmla="*/ 21 w 69"/>
                  <a:gd name="T25" fmla="*/ 2 h 69"/>
                  <a:gd name="T26" fmla="*/ 15 w 69"/>
                  <a:gd name="T27" fmla="*/ 5 h 69"/>
                  <a:gd name="T28" fmla="*/ 10 w 69"/>
                  <a:gd name="T29" fmla="*/ 10 h 69"/>
                  <a:gd name="T30" fmla="*/ 6 w 69"/>
                  <a:gd name="T31" fmla="*/ 15 h 69"/>
                  <a:gd name="T32" fmla="*/ 3 w 69"/>
                  <a:gd name="T33" fmla="*/ 21 h 69"/>
                  <a:gd name="T34" fmla="*/ 1 w 69"/>
                  <a:gd name="T35" fmla="*/ 27 h 69"/>
                  <a:gd name="T36" fmla="*/ 0 w 69"/>
                  <a:gd name="T37" fmla="*/ 34 h 69"/>
                  <a:gd name="T38" fmla="*/ 0 w 69"/>
                  <a:gd name="T39" fmla="*/ 34 h 69"/>
                  <a:gd name="T40" fmla="*/ 1 w 69"/>
                  <a:gd name="T41" fmla="*/ 42 h 69"/>
                  <a:gd name="T42" fmla="*/ 3 w 69"/>
                  <a:gd name="T43" fmla="*/ 48 h 69"/>
                  <a:gd name="T44" fmla="*/ 6 w 69"/>
                  <a:gd name="T45" fmla="*/ 54 h 69"/>
                  <a:gd name="T46" fmla="*/ 10 w 69"/>
                  <a:gd name="T47" fmla="*/ 59 h 69"/>
                  <a:gd name="T48" fmla="*/ 15 w 69"/>
                  <a:gd name="T49" fmla="*/ 63 h 69"/>
                  <a:gd name="T50" fmla="*/ 21 w 69"/>
                  <a:gd name="T51" fmla="*/ 66 h 69"/>
                  <a:gd name="T52" fmla="*/ 28 w 69"/>
                  <a:gd name="T53" fmla="*/ 68 h 69"/>
                  <a:gd name="T54" fmla="*/ 35 w 69"/>
                  <a:gd name="T55" fmla="*/ 69 h 69"/>
                  <a:gd name="T56" fmla="*/ 35 w 69"/>
                  <a:gd name="T57" fmla="*/ 69 h 69"/>
                  <a:gd name="T58" fmla="*/ 42 w 69"/>
                  <a:gd name="T59" fmla="*/ 68 h 69"/>
                  <a:gd name="T60" fmla="*/ 48 w 69"/>
                  <a:gd name="T61" fmla="*/ 66 h 69"/>
                  <a:gd name="T62" fmla="*/ 54 w 69"/>
                  <a:gd name="T63" fmla="*/ 63 h 69"/>
                  <a:gd name="T64" fmla="*/ 59 w 69"/>
                  <a:gd name="T65" fmla="*/ 59 h 69"/>
                  <a:gd name="T66" fmla="*/ 63 w 69"/>
                  <a:gd name="T67" fmla="*/ 54 h 69"/>
                  <a:gd name="T68" fmla="*/ 67 w 69"/>
                  <a:gd name="T69" fmla="*/ 48 h 69"/>
                  <a:gd name="T70" fmla="*/ 69 w 69"/>
                  <a:gd name="T71" fmla="*/ 42 h 69"/>
                  <a:gd name="T72" fmla="*/ 69 w 69"/>
                  <a:gd name="T73" fmla="*/ 34 h 69"/>
                  <a:gd name="T74" fmla="*/ 69 w 69"/>
                  <a:gd name="T75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9" h="69">
                    <a:moveTo>
                      <a:pt x="69" y="34"/>
                    </a:moveTo>
                    <a:lnTo>
                      <a:pt x="69" y="34"/>
                    </a:lnTo>
                    <a:lnTo>
                      <a:pt x="69" y="27"/>
                    </a:lnTo>
                    <a:lnTo>
                      <a:pt x="67" y="21"/>
                    </a:lnTo>
                    <a:lnTo>
                      <a:pt x="63" y="15"/>
                    </a:lnTo>
                    <a:lnTo>
                      <a:pt x="59" y="10"/>
                    </a:lnTo>
                    <a:lnTo>
                      <a:pt x="54" y="5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28" y="0"/>
                    </a:lnTo>
                    <a:lnTo>
                      <a:pt x="21" y="2"/>
                    </a:lnTo>
                    <a:lnTo>
                      <a:pt x="15" y="5"/>
                    </a:lnTo>
                    <a:lnTo>
                      <a:pt x="10" y="10"/>
                    </a:lnTo>
                    <a:lnTo>
                      <a:pt x="6" y="15"/>
                    </a:lnTo>
                    <a:lnTo>
                      <a:pt x="3" y="21"/>
                    </a:lnTo>
                    <a:lnTo>
                      <a:pt x="1" y="27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42"/>
                    </a:lnTo>
                    <a:lnTo>
                      <a:pt x="3" y="48"/>
                    </a:lnTo>
                    <a:lnTo>
                      <a:pt x="6" y="54"/>
                    </a:lnTo>
                    <a:lnTo>
                      <a:pt x="10" y="59"/>
                    </a:lnTo>
                    <a:lnTo>
                      <a:pt x="15" y="63"/>
                    </a:lnTo>
                    <a:lnTo>
                      <a:pt x="21" y="66"/>
                    </a:lnTo>
                    <a:lnTo>
                      <a:pt x="28" y="68"/>
                    </a:lnTo>
                    <a:lnTo>
                      <a:pt x="35" y="69"/>
                    </a:lnTo>
                    <a:lnTo>
                      <a:pt x="35" y="69"/>
                    </a:lnTo>
                    <a:lnTo>
                      <a:pt x="42" y="68"/>
                    </a:lnTo>
                    <a:lnTo>
                      <a:pt x="48" y="66"/>
                    </a:lnTo>
                    <a:lnTo>
                      <a:pt x="54" y="63"/>
                    </a:lnTo>
                    <a:lnTo>
                      <a:pt x="59" y="59"/>
                    </a:lnTo>
                    <a:lnTo>
                      <a:pt x="63" y="54"/>
                    </a:lnTo>
                    <a:lnTo>
                      <a:pt x="67" y="48"/>
                    </a:lnTo>
                    <a:lnTo>
                      <a:pt x="69" y="42"/>
                    </a:lnTo>
                    <a:lnTo>
                      <a:pt x="69" y="34"/>
                    </a:lnTo>
                    <a:lnTo>
                      <a:pt x="69" y="34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7" name="Freeform 46"/>
              <p:cNvSpPr>
                <a:spLocks noEditPoints="1"/>
              </p:cNvSpPr>
              <p:nvPr userDrawn="1"/>
            </p:nvSpPr>
            <p:spPr bwMode="auto">
              <a:xfrm>
                <a:off x="617537" y="6331757"/>
                <a:ext cx="90488" cy="122238"/>
              </a:xfrm>
              <a:custGeom>
                <a:avLst/>
                <a:gdLst>
                  <a:gd name="T0" fmla="*/ 227 w 227"/>
                  <a:gd name="T1" fmla="*/ 96 h 307"/>
                  <a:gd name="T2" fmla="*/ 225 w 227"/>
                  <a:gd name="T3" fmla="*/ 74 h 307"/>
                  <a:gd name="T4" fmla="*/ 219 w 227"/>
                  <a:gd name="T5" fmla="*/ 54 h 307"/>
                  <a:gd name="T6" fmla="*/ 210 w 227"/>
                  <a:gd name="T7" fmla="*/ 38 h 307"/>
                  <a:gd name="T8" fmla="*/ 198 w 227"/>
                  <a:gd name="T9" fmla="*/ 24 h 307"/>
                  <a:gd name="T10" fmla="*/ 183 w 227"/>
                  <a:gd name="T11" fmla="*/ 14 h 307"/>
                  <a:gd name="T12" fmla="*/ 167 w 227"/>
                  <a:gd name="T13" fmla="*/ 6 h 307"/>
                  <a:gd name="T14" fmla="*/ 148 w 227"/>
                  <a:gd name="T15" fmla="*/ 2 h 307"/>
                  <a:gd name="T16" fmla="*/ 128 w 227"/>
                  <a:gd name="T17" fmla="*/ 0 h 307"/>
                  <a:gd name="T18" fmla="*/ 0 w 227"/>
                  <a:gd name="T19" fmla="*/ 307 h 307"/>
                  <a:gd name="T20" fmla="*/ 45 w 227"/>
                  <a:gd name="T21" fmla="*/ 192 h 307"/>
                  <a:gd name="T22" fmla="*/ 125 w 227"/>
                  <a:gd name="T23" fmla="*/ 192 h 307"/>
                  <a:gd name="T24" fmla="*/ 146 w 227"/>
                  <a:gd name="T25" fmla="*/ 190 h 307"/>
                  <a:gd name="T26" fmla="*/ 165 w 227"/>
                  <a:gd name="T27" fmla="*/ 186 h 307"/>
                  <a:gd name="T28" fmla="*/ 183 w 227"/>
                  <a:gd name="T29" fmla="*/ 178 h 307"/>
                  <a:gd name="T30" fmla="*/ 197 w 227"/>
                  <a:gd name="T31" fmla="*/ 167 h 307"/>
                  <a:gd name="T32" fmla="*/ 210 w 227"/>
                  <a:gd name="T33" fmla="*/ 154 h 307"/>
                  <a:gd name="T34" fmla="*/ 219 w 227"/>
                  <a:gd name="T35" fmla="*/ 137 h 307"/>
                  <a:gd name="T36" fmla="*/ 225 w 227"/>
                  <a:gd name="T37" fmla="*/ 118 h 307"/>
                  <a:gd name="T38" fmla="*/ 227 w 227"/>
                  <a:gd name="T39" fmla="*/ 96 h 307"/>
                  <a:gd name="T40" fmla="*/ 179 w 227"/>
                  <a:gd name="T41" fmla="*/ 96 h 307"/>
                  <a:gd name="T42" fmla="*/ 178 w 227"/>
                  <a:gd name="T43" fmla="*/ 108 h 307"/>
                  <a:gd name="T44" fmla="*/ 172 w 227"/>
                  <a:gd name="T45" fmla="*/ 127 h 307"/>
                  <a:gd name="T46" fmla="*/ 159 w 227"/>
                  <a:gd name="T47" fmla="*/ 141 h 307"/>
                  <a:gd name="T48" fmla="*/ 139 w 227"/>
                  <a:gd name="T49" fmla="*/ 148 h 307"/>
                  <a:gd name="T50" fmla="*/ 45 w 227"/>
                  <a:gd name="T51" fmla="*/ 149 h 307"/>
                  <a:gd name="T52" fmla="*/ 127 w 227"/>
                  <a:gd name="T53" fmla="*/ 43 h 307"/>
                  <a:gd name="T54" fmla="*/ 138 w 227"/>
                  <a:gd name="T55" fmla="*/ 44 h 307"/>
                  <a:gd name="T56" fmla="*/ 157 w 227"/>
                  <a:gd name="T57" fmla="*/ 51 h 307"/>
                  <a:gd name="T58" fmla="*/ 171 w 227"/>
                  <a:gd name="T59" fmla="*/ 65 h 307"/>
                  <a:gd name="T60" fmla="*/ 178 w 227"/>
                  <a:gd name="T61" fmla="*/ 84 h 307"/>
                  <a:gd name="T62" fmla="*/ 179 w 227"/>
                  <a:gd name="T63" fmla="*/ 96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7" h="307">
                    <a:moveTo>
                      <a:pt x="227" y="96"/>
                    </a:moveTo>
                    <a:lnTo>
                      <a:pt x="227" y="96"/>
                    </a:lnTo>
                    <a:lnTo>
                      <a:pt x="226" y="84"/>
                    </a:lnTo>
                    <a:lnTo>
                      <a:pt x="225" y="74"/>
                    </a:lnTo>
                    <a:lnTo>
                      <a:pt x="222" y="64"/>
                    </a:lnTo>
                    <a:lnTo>
                      <a:pt x="219" y="54"/>
                    </a:lnTo>
                    <a:lnTo>
                      <a:pt x="215" y="46"/>
                    </a:lnTo>
                    <a:lnTo>
                      <a:pt x="210" y="38"/>
                    </a:lnTo>
                    <a:lnTo>
                      <a:pt x="204" y="31"/>
                    </a:lnTo>
                    <a:lnTo>
                      <a:pt x="198" y="24"/>
                    </a:lnTo>
                    <a:lnTo>
                      <a:pt x="191" y="19"/>
                    </a:lnTo>
                    <a:lnTo>
                      <a:pt x="183" y="14"/>
                    </a:lnTo>
                    <a:lnTo>
                      <a:pt x="175" y="10"/>
                    </a:lnTo>
                    <a:lnTo>
                      <a:pt x="167" y="6"/>
                    </a:lnTo>
                    <a:lnTo>
                      <a:pt x="158" y="4"/>
                    </a:lnTo>
                    <a:lnTo>
                      <a:pt x="148" y="2"/>
                    </a:lnTo>
                    <a:lnTo>
                      <a:pt x="138" y="1"/>
                    </a:lnTo>
                    <a:lnTo>
                      <a:pt x="128" y="0"/>
                    </a:lnTo>
                    <a:lnTo>
                      <a:pt x="0" y="0"/>
                    </a:lnTo>
                    <a:lnTo>
                      <a:pt x="0" y="307"/>
                    </a:lnTo>
                    <a:lnTo>
                      <a:pt x="45" y="307"/>
                    </a:lnTo>
                    <a:lnTo>
                      <a:pt x="45" y="192"/>
                    </a:lnTo>
                    <a:lnTo>
                      <a:pt x="125" y="192"/>
                    </a:lnTo>
                    <a:lnTo>
                      <a:pt x="125" y="192"/>
                    </a:lnTo>
                    <a:lnTo>
                      <a:pt x="135" y="191"/>
                    </a:lnTo>
                    <a:lnTo>
                      <a:pt x="146" y="190"/>
                    </a:lnTo>
                    <a:lnTo>
                      <a:pt x="156" y="188"/>
                    </a:lnTo>
                    <a:lnTo>
                      <a:pt x="165" y="186"/>
                    </a:lnTo>
                    <a:lnTo>
                      <a:pt x="174" y="182"/>
                    </a:lnTo>
                    <a:lnTo>
                      <a:pt x="183" y="178"/>
                    </a:lnTo>
                    <a:lnTo>
                      <a:pt x="190" y="173"/>
                    </a:lnTo>
                    <a:lnTo>
                      <a:pt x="197" y="167"/>
                    </a:lnTo>
                    <a:lnTo>
                      <a:pt x="204" y="161"/>
                    </a:lnTo>
                    <a:lnTo>
                      <a:pt x="210" y="154"/>
                    </a:lnTo>
                    <a:lnTo>
                      <a:pt x="215" y="146"/>
                    </a:lnTo>
                    <a:lnTo>
                      <a:pt x="219" y="137"/>
                    </a:lnTo>
                    <a:lnTo>
                      <a:pt x="222" y="128"/>
                    </a:lnTo>
                    <a:lnTo>
                      <a:pt x="225" y="118"/>
                    </a:lnTo>
                    <a:lnTo>
                      <a:pt x="226" y="107"/>
                    </a:lnTo>
                    <a:lnTo>
                      <a:pt x="227" y="96"/>
                    </a:lnTo>
                    <a:lnTo>
                      <a:pt x="227" y="96"/>
                    </a:lnTo>
                    <a:close/>
                    <a:moveTo>
                      <a:pt x="179" y="96"/>
                    </a:moveTo>
                    <a:lnTo>
                      <a:pt x="179" y="96"/>
                    </a:lnTo>
                    <a:lnTo>
                      <a:pt x="178" y="108"/>
                    </a:lnTo>
                    <a:lnTo>
                      <a:pt x="176" y="118"/>
                    </a:lnTo>
                    <a:lnTo>
                      <a:pt x="172" y="127"/>
                    </a:lnTo>
                    <a:lnTo>
                      <a:pt x="166" y="135"/>
                    </a:lnTo>
                    <a:lnTo>
                      <a:pt x="159" y="141"/>
                    </a:lnTo>
                    <a:lnTo>
                      <a:pt x="150" y="145"/>
                    </a:lnTo>
                    <a:lnTo>
                      <a:pt x="139" y="148"/>
                    </a:lnTo>
                    <a:lnTo>
                      <a:pt x="127" y="149"/>
                    </a:lnTo>
                    <a:lnTo>
                      <a:pt x="45" y="149"/>
                    </a:lnTo>
                    <a:lnTo>
                      <a:pt x="45" y="43"/>
                    </a:lnTo>
                    <a:lnTo>
                      <a:pt x="127" y="43"/>
                    </a:lnTo>
                    <a:lnTo>
                      <a:pt x="127" y="43"/>
                    </a:lnTo>
                    <a:lnTo>
                      <a:pt x="138" y="44"/>
                    </a:lnTo>
                    <a:lnTo>
                      <a:pt x="148" y="47"/>
                    </a:lnTo>
                    <a:lnTo>
                      <a:pt x="157" y="51"/>
                    </a:lnTo>
                    <a:lnTo>
                      <a:pt x="165" y="57"/>
                    </a:lnTo>
                    <a:lnTo>
                      <a:pt x="171" y="65"/>
                    </a:lnTo>
                    <a:lnTo>
                      <a:pt x="175" y="73"/>
                    </a:lnTo>
                    <a:lnTo>
                      <a:pt x="178" y="84"/>
                    </a:lnTo>
                    <a:lnTo>
                      <a:pt x="179" y="96"/>
                    </a:lnTo>
                    <a:lnTo>
                      <a:pt x="179" y="96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8" name="Freeform 47"/>
              <p:cNvSpPr>
                <a:spLocks noEditPoints="1"/>
              </p:cNvSpPr>
              <p:nvPr userDrawn="1"/>
            </p:nvSpPr>
            <p:spPr bwMode="auto">
              <a:xfrm>
                <a:off x="720725" y="6360332"/>
                <a:ext cx="77788" cy="95250"/>
              </a:xfrm>
              <a:custGeom>
                <a:avLst/>
                <a:gdLst>
                  <a:gd name="T0" fmla="*/ 196 w 196"/>
                  <a:gd name="T1" fmla="*/ 114 h 239"/>
                  <a:gd name="T2" fmla="*/ 195 w 196"/>
                  <a:gd name="T3" fmla="*/ 92 h 239"/>
                  <a:gd name="T4" fmla="*/ 191 w 196"/>
                  <a:gd name="T5" fmla="*/ 70 h 239"/>
                  <a:gd name="T6" fmla="*/ 183 w 196"/>
                  <a:gd name="T7" fmla="*/ 51 h 239"/>
                  <a:gd name="T8" fmla="*/ 173 w 196"/>
                  <a:gd name="T9" fmla="*/ 34 h 239"/>
                  <a:gd name="T10" fmla="*/ 159 w 196"/>
                  <a:gd name="T11" fmla="*/ 20 h 239"/>
                  <a:gd name="T12" fmla="*/ 143 w 196"/>
                  <a:gd name="T13" fmla="*/ 9 h 239"/>
                  <a:gd name="T14" fmla="*/ 123 w 196"/>
                  <a:gd name="T15" fmla="*/ 2 h 239"/>
                  <a:gd name="T16" fmla="*/ 100 w 196"/>
                  <a:gd name="T17" fmla="*/ 0 h 239"/>
                  <a:gd name="T18" fmla="*/ 89 w 196"/>
                  <a:gd name="T19" fmla="*/ 0 h 239"/>
                  <a:gd name="T20" fmla="*/ 69 w 196"/>
                  <a:gd name="T21" fmla="*/ 4 h 239"/>
                  <a:gd name="T22" fmla="*/ 51 w 196"/>
                  <a:gd name="T23" fmla="*/ 12 h 239"/>
                  <a:gd name="T24" fmla="*/ 35 w 196"/>
                  <a:gd name="T25" fmla="*/ 23 h 239"/>
                  <a:gd name="T26" fmla="*/ 21 w 196"/>
                  <a:gd name="T27" fmla="*/ 38 h 239"/>
                  <a:gd name="T28" fmla="*/ 11 w 196"/>
                  <a:gd name="T29" fmla="*/ 57 h 239"/>
                  <a:gd name="T30" fmla="*/ 4 w 196"/>
                  <a:gd name="T31" fmla="*/ 79 h 239"/>
                  <a:gd name="T32" fmla="*/ 0 w 196"/>
                  <a:gd name="T33" fmla="*/ 105 h 239"/>
                  <a:gd name="T34" fmla="*/ 0 w 196"/>
                  <a:gd name="T35" fmla="*/ 119 h 239"/>
                  <a:gd name="T36" fmla="*/ 2 w 196"/>
                  <a:gd name="T37" fmla="*/ 147 h 239"/>
                  <a:gd name="T38" fmla="*/ 9 w 196"/>
                  <a:gd name="T39" fmla="*/ 173 h 239"/>
                  <a:gd name="T40" fmla="*/ 18 w 196"/>
                  <a:gd name="T41" fmla="*/ 193 h 239"/>
                  <a:gd name="T42" fmla="*/ 30 w 196"/>
                  <a:gd name="T43" fmla="*/ 209 h 239"/>
                  <a:gd name="T44" fmla="*/ 36 w 196"/>
                  <a:gd name="T45" fmla="*/ 215 h 239"/>
                  <a:gd name="T46" fmla="*/ 51 w 196"/>
                  <a:gd name="T47" fmla="*/ 226 h 239"/>
                  <a:gd name="T48" fmla="*/ 68 w 196"/>
                  <a:gd name="T49" fmla="*/ 234 h 239"/>
                  <a:gd name="T50" fmla="*/ 88 w 196"/>
                  <a:gd name="T51" fmla="*/ 239 h 239"/>
                  <a:gd name="T52" fmla="*/ 99 w 196"/>
                  <a:gd name="T53" fmla="*/ 239 h 239"/>
                  <a:gd name="T54" fmla="*/ 124 w 196"/>
                  <a:gd name="T55" fmla="*/ 237 h 239"/>
                  <a:gd name="T56" fmla="*/ 145 w 196"/>
                  <a:gd name="T57" fmla="*/ 231 h 239"/>
                  <a:gd name="T58" fmla="*/ 153 w 196"/>
                  <a:gd name="T59" fmla="*/ 227 h 239"/>
                  <a:gd name="T60" fmla="*/ 169 w 196"/>
                  <a:gd name="T61" fmla="*/ 217 h 239"/>
                  <a:gd name="T62" fmla="*/ 151 w 196"/>
                  <a:gd name="T63" fmla="*/ 180 h 239"/>
                  <a:gd name="T64" fmla="*/ 139 w 196"/>
                  <a:gd name="T65" fmla="*/ 188 h 239"/>
                  <a:gd name="T66" fmla="*/ 128 w 196"/>
                  <a:gd name="T67" fmla="*/ 194 h 239"/>
                  <a:gd name="T68" fmla="*/ 116 w 196"/>
                  <a:gd name="T69" fmla="*/ 197 h 239"/>
                  <a:gd name="T70" fmla="*/ 101 w 196"/>
                  <a:gd name="T71" fmla="*/ 199 h 239"/>
                  <a:gd name="T72" fmla="*/ 91 w 196"/>
                  <a:gd name="T73" fmla="*/ 198 h 239"/>
                  <a:gd name="T74" fmla="*/ 72 w 196"/>
                  <a:gd name="T75" fmla="*/ 191 h 239"/>
                  <a:gd name="T76" fmla="*/ 57 w 196"/>
                  <a:gd name="T77" fmla="*/ 175 h 239"/>
                  <a:gd name="T78" fmla="*/ 47 w 196"/>
                  <a:gd name="T79" fmla="*/ 151 h 239"/>
                  <a:gd name="T80" fmla="*/ 195 w 196"/>
                  <a:gd name="T81" fmla="*/ 135 h 239"/>
                  <a:gd name="T82" fmla="*/ 196 w 196"/>
                  <a:gd name="T83" fmla="*/ 126 h 239"/>
                  <a:gd name="T84" fmla="*/ 196 w 196"/>
                  <a:gd name="T85" fmla="*/ 114 h 239"/>
                  <a:gd name="T86" fmla="*/ 45 w 196"/>
                  <a:gd name="T87" fmla="*/ 98 h 239"/>
                  <a:gd name="T88" fmla="*/ 50 w 196"/>
                  <a:gd name="T89" fmla="*/ 73 h 239"/>
                  <a:gd name="T90" fmla="*/ 61 w 196"/>
                  <a:gd name="T91" fmla="*/ 55 h 239"/>
                  <a:gd name="T92" fmla="*/ 76 w 196"/>
                  <a:gd name="T93" fmla="*/ 44 h 239"/>
                  <a:gd name="T94" fmla="*/ 97 w 196"/>
                  <a:gd name="T95" fmla="*/ 40 h 239"/>
                  <a:gd name="T96" fmla="*/ 104 w 196"/>
                  <a:gd name="T97" fmla="*/ 41 h 239"/>
                  <a:gd name="T98" fmla="*/ 116 w 196"/>
                  <a:gd name="T99" fmla="*/ 43 h 239"/>
                  <a:gd name="T100" fmla="*/ 126 w 196"/>
                  <a:gd name="T101" fmla="*/ 47 h 239"/>
                  <a:gd name="T102" fmla="*/ 137 w 196"/>
                  <a:gd name="T103" fmla="*/ 57 h 239"/>
                  <a:gd name="T104" fmla="*/ 147 w 196"/>
                  <a:gd name="T105" fmla="*/ 76 h 239"/>
                  <a:gd name="T106" fmla="*/ 151 w 196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6" h="239">
                    <a:moveTo>
                      <a:pt x="196" y="114"/>
                    </a:moveTo>
                    <a:lnTo>
                      <a:pt x="196" y="114"/>
                    </a:lnTo>
                    <a:lnTo>
                      <a:pt x="196" y="103"/>
                    </a:lnTo>
                    <a:lnTo>
                      <a:pt x="195" y="92"/>
                    </a:lnTo>
                    <a:lnTo>
                      <a:pt x="193" y="81"/>
                    </a:lnTo>
                    <a:lnTo>
                      <a:pt x="191" y="70"/>
                    </a:lnTo>
                    <a:lnTo>
                      <a:pt x="187" y="60"/>
                    </a:lnTo>
                    <a:lnTo>
                      <a:pt x="183" y="51"/>
                    </a:lnTo>
                    <a:lnTo>
                      <a:pt x="178" y="42"/>
                    </a:lnTo>
                    <a:lnTo>
                      <a:pt x="173" y="34"/>
                    </a:lnTo>
                    <a:lnTo>
                      <a:pt x="166" y="26"/>
                    </a:lnTo>
                    <a:lnTo>
                      <a:pt x="159" y="20"/>
                    </a:lnTo>
                    <a:lnTo>
                      <a:pt x="151" y="14"/>
                    </a:lnTo>
                    <a:lnTo>
                      <a:pt x="143" y="9"/>
                    </a:lnTo>
                    <a:lnTo>
                      <a:pt x="133" y="5"/>
                    </a:lnTo>
                    <a:lnTo>
                      <a:pt x="123" y="2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9" y="2"/>
                    </a:lnTo>
                    <a:lnTo>
                      <a:pt x="69" y="4"/>
                    </a:lnTo>
                    <a:lnTo>
                      <a:pt x="59" y="8"/>
                    </a:lnTo>
                    <a:lnTo>
                      <a:pt x="51" y="12"/>
                    </a:lnTo>
                    <a:lnTo>
                      <a:pt x="42" y="17"/>
                    </a:lnTo>
                    <a:lnTo>
                      <a:pt x="35" y="23"/>
                    </a:lnTo>
                    <a:lnTo>
                      <a:pt x="28" y="30"/>
                    </a:lnTo>
                    <a:lnTo>
                      <a:pt x="21" y="38"/>
                    </a:lnTo>
                    <a:lnTo>
                      <a:pt x="16" y="47"/>
                    </a:lnTo>
                    <a:lnTo>
                      <a:pt x="11" y="57"/>
                    </a:lnTo>
                    <a:lnTo>
                      <a:pt x="7" y="68"/>
                    </a:lnTo>
                    <a:lnTo>
                      <a:pt x="4" y="79"/>
                    </a:lnTo>
                    <a:lnTo>
                      <a:pt x="2" y="92"/>
                    </a:lnTo>
                    <a:lnTo>
                      <a:pt x="0" y="105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0" y="134"/>
                    </a:lnTo>
                    <a:lnTo>
                      <a:pt x="2" y="147"/>
                    </a:lnTo>
                    <a:lnTo>
                      <a:pt x="5" y="161"/>
                    </a:lnTo>
                    <a:lnTo>
                      <a:pt x="9" y="173"/>
                    </a:lnTo>
                    <a:lnTo>
                      <a:pt x="13" y="184"/>
                    </a:lnTo>
                    <a:lnTo>
                      <a:pt x="18" y="193"/>
                    </a:lnTo>
                    <a:lnTo>
                      <a:pt x="24" y="202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1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7" y="237"/>
                    </a:lnTo>
                    <a:lnTo>
                      <a:pt x="88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9"/>
                    </a:lnTo>
                    <a:lnTo>
                      <a:pt x="124" y="237"/>
                    </a:lnTo>
                    <a:lnTo>
                      <a:pt x="135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3" y="227"/>
                    </a:lnTo>
                    <a:lnTo>
                      <a:pt x="161" y="222"/>
                    </a:lnTo>
                    <a:lnTo>
                      <a:pt x="169" y="217"/>
                    </a:lnTo>
                    <a:lnTo>
                      <a:pt x="178" y="209"/>
                    </a:lnTo>
                    <a:lnTo>
                      <a:pt x="151" y="180"/>
                    </a:lnTo>
                    <a:lnTo>
                      <a:pt x="151" y="180"/>
                    </a:lnTo>
                    <a:lnTo>
                      <a:pt x="139" y="188"/>
                    </a:lnTo>
                    <a:lnTo>
                      <a:pt x="128" y="194"/>
                    </a:lnTo>
                    <a:lnTo>
                      <a:pt x="128" y="194"/>
                    </a:lnTo>
                    <a:lnTo>
                      <a:pt x="122" y="196"/>
                    </a:lnTo>
                    <a:lnTo>
                      <a:pt x="116" y="197"/>
                    </a:lnTo>
                    <a:lnTo>
                      <a:pt x="109" y="198"/>
                    </a:lnTo>
                    <a:lnTo>
                      <a:pt x="101" y="199"/>
                    </a:lnTo>
                    <a:lnTo>
                      <a:pt x="101" y="199"/>
                    </a:lnTo>
                    <a:lnTo>
                      <a:pt x="91" y="198"/>
                    </a:lnTo>
                    <a:lnTo>
                      <a:pt x="81" y="195"/>
                    </a:lnTo>
                    <a:lnTo>
                      <a:pt x="72" y="191"/>
                    </a:lnTo>
                    <a:lnTo>
                      <a:pt x="64" y="184"/>
                    </a:lnTo>
                    <a:lnTo>
                      <a:pt x="57" y="175"/>
                    </a:lnTo>
                    <a:lnTo>
                      <a:pt x="51" y="164"/>
                    </a:lnTo>
                    <a:lnTo>
                      <a:pt x="47" y="151"/>
                    </a:lnTo>
                    <a:lnTo>
                      <a:pt x="44" y="135"/>
                    </a:lnTo>
                    <a:lnTo>
                      <a:pt x="195" y="135"/>
                    </a:lnTo>
                    <a:lnTo>
                      <a:pt x="195" y="135"/>
                    </a:lnTo>
                    <a:lnTo>
                      <a:pt x="196" y="126"/>
                    </a:lnTo>
                    <a:lnTo>
                      <a:pt x="196" y="114"/>
                    </a:lnTo>
                    <a:lnTo>
                      <a:pt x="196" y="114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0" y="73"/>
                    </a:lnTo>
                    <a:lnTo>
                      <a:pt x="55" y="64"/>
                    </a:lnTo>
                    <a:lnTo>
                      <a:pt x="61" y="55"/>
                    </a:lnTo>
                    <a:lnTo>
                      <a:pt x="68" y="49"/>
                    </a:lnTo>
                    <a:lnTo>
                      <a:pt x="76" y="44"/>
                    </a:lnTo>
                    <a:lnTo>
                      <a:pt x="86" y="41"/>
                    </a:lnTo>
                    <a:lnTo>
                      <a:pt x="97" y="40"/>
                    </a:lnTo>
                    <a:lnTo>
                      <a:pt x="97" y="40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21" y="45"/>
                    </a:lnTo>
                    <a:lnTo>
                      <a:pt x="126" y="47"/>
                    </a:lnTo>
                    <a:lnTo>
                      <a:pt x="130" y="50"/>
                    </a:lnTo>
                    <a:lnTo>
                      <a:pt x="137" y="57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6"/>
                    </a:lnTo>
                    <a:lnTo>
                      <a:pt x="151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9" name="Freeform 48"/>
              <p:cNvSpPr>
                <a:spLocks/>
              </p:cNvSpPr>
              <p:nvPr userDrawn="1"/>
            </p:nvSpPr>
            <p:spPr bwMode="auto">
              <a:xfrm>
                <a:off x="817562" y="6363507"/>
                <a:ext cx="115888" cy="90488"/>
              </a:xfrm>
              <a:custGeom>
                <a:avLst/>
                <a:gdLst>
                  <a:gd name="T0" fmla="*/ 294 w 294"/>
                  <a:gd name="T1" fmla="*/ 0 h 230"/>
                  <a:gd name="T2" fmla="*/ 249 w 294"/>
                  <a:gd name="T3" fmla="*/ 0 h 230"/>
                  <a:gd name="T4" fmla="*/ 249 w 294"/>
                  <a:gd name="T5" fmla="*/ 190 h 230"/>
                  <a:gd name="T6" fmla="*/ 169 w 294"/>
                  <a:gd name="T7" fmla="*/ 190 h 230"/>
                  <a:gd name="T8" fmla="*/ 169 w 294"/>
                  <a:gd name="T9" fmla="*/ 0 h 230"/>
                  <a:gd name="T10" fmla="*/ 124 w 294"/>
                  <a:gd name="T11" fmla="*/ 0 h 230"/>
                  <a:gd name="T12" fmla="*/ 124 w 294"/>
                  <a:gd name="T13" fmla="*/ 190 h 230"/>
                  <a:gd name="T14" fmla="*/ 45 w 294"/>
                  <a:gd name="T15" fmla="*/ 190 h 230"/>
                  <a:gd name="T16" fmla="*/ 45 w 294"/>
                  <a:gd name="T17" fmla="*/ 0 h 230"/>
                  <a:gd name="T18" fmla="*/ 0 w 294"/>
                  <a:gd name="T19" fmla="*/ 0 h 230"/>
                  <a:gd name="T20" fmla="*/ 0 w 294"/>
                  <a:gd name="T21" fmla="*/ 230 h 230"/>
                  <a:gd name="T22" fmla="*/ 294 w 294"/>
                  <a:gd name="T23" fmla="*/ 230 h 230"/>
                  <a:gd name="T24" fmla="*/ 294 w 294"/>
                  <a:gd name="T25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4" h="230">
                    <a:moveTo>
                      <a:pt x="294" y="0"/>
                    </a:moveTo>
                    <a:lnTo>
                      <a:pt x="249" y="0"/>
                    </a:lnTo>
                    <a:lnTo>
                      <a:pt x="249" y="190"/>
                    </a:lnTo>
                    <a:lnTo>
                      <a:pt x="169" y="190"/>
                    </a:lnTo>
                    <a:lnTo>
                      <a:pt x="169" y="0"/>
                    </a:lnTo>
                    <a:lnTo>
                      <a:pt x="124" y="0"/>
                    </a:lnTo>
                    <a:lnTo>
                      <a:pt x="124" y="190"/>
                    </a:lnTo>
                    <a:lnTo>
                      <a:pt x="45" y="190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294" y="230"/>
                    </a:lnTo>
                    <a:lnTo>
                      <a:pt x="29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0" name="Freeform 49"/>
              <p:cNvSpPr>
                <a:spLocks noEditPoints="1"/>
              </p:cNvSpPr>
              <p:nvPr userDrawn="1"/>
            </p:nvSpPr>
            <p:spPr bwMode="auto">
              <a:xfrm>
                <a:off x="952500" y="6360332"/>
                <a:ext cx="74613" cy="95250"/>
              </a:xfrm>
              <a:custGeom>
                <a:avLst/>
                <a:gdLst>
                  <a:gd name="T0" fmla="*/ 186 w 186"/>
                  <a:gd name="T1" fmla="*/ 77 h 239"/>
                  <a:gd name="T2" fmla="*/ 185 w 186"/>
                  <a:gd name="T3" fmla="*/ 67 h 239"/>
                  <a:gd name="T4" fmla="*/ 182 w 186"/>
                  <a:gd name="T5" fmla="*/ 50 h 239"/>
                  <a:gd name="T6" fmla="*/ 176 w 186"/>
                  <a:gd name="T7" fmla="*/ 36 h 239"/>
                  <a:gd name="T8" fmla="*/ 167 w 186"/>
                  <a:gd name="T9" fmla="*/ 24 h 239"/>
                  <a:gd name="T10" fmla="*/ 156 w 186"/>
                  <a:gd name="T11" fmla="*/ 14 h 239"/>
                  <a:gd name="T12" fmla="*/ 142 w 186"/>
                  <a:gd name="T13" fmla="*/ 7 h 239"/>
                  <a:gd name="T14" fmla="*/ 127 w 186"/>
                  <a:gd name="T15" fmla="*/ 2 h 239"/>
                  <a:gd name="T16" fmla="*/ 109 w 186"/>
                  <a:gd name="T17" fmla="*/ 0 h 239"/>
                  <a:gd name="T18" fmla="*/ 100 w 186"/>
                  <a:gd name="T19" fmla="*/ 0 h 239"/>
                  <a:gd name="T20" fmla="*/ 77 w 186"/>
                  <a:gd name="T21" fmla="*/ 1 h 239"/>
                  <a:gd name="T22" fmla="*/ 57 w 186"/>
                  <a:gd name="T23" fmla="*/ 5 h 239"/>
                  <a:gd name="T24" fmla="*/ 38 w 186"/>
                  <a:gd name="T25" fmla="*/ 11 h 239"/>
                  <a:gd name="T26" fmla="*/ 21 w 186"/>
                  <a:gd name="T27" fmla="*/ 20 h 239"/>
                  <a:gd name="T28" fmla="*/ 39 w 186"/>
                  <a:gd name="T29" fmla="*/ 54 h 239"/>
                  <a:gd name="T30" fmla="*/ 66 w 186"/>
                  <a:gd name="T31" fmla="*/ 43 h 239"/>
                  <a:gd name="T32" fmla="*/ 98 w 186"/>
                  <a:gd name="T33" fmla="*/ 40 h 239"/>
                  <a:gd name="T34" fmla="*/ 108 w 186"/>
                  <a:gd name="T35" fmla="*/ 41 h 239"/>
                  <a:gd name="T36" fmla="*/ 124 w 186"/>
                  <a:gd name="T37" fmla="*/ 46 h 239"/>
                  <a:gd name="T38" fmla="*/ 135 w 186"/>
                  <a:gd name="T39" fmla="*/ 56 h 239"/>
                  <a:gd name="T40" fmla="*/ 141 w 186"/>
                  <a:gd name="T41" fmla="*/ 70 h 239"/>
                  <a:gd name="T42" fmla="*/ 142 w 186"/>
                  <a:gd name="T43" fmla="*/ 96 h 239"/>
                  <a:gd name="T44" fmla="*/ 132 w 186"/>
                  <a:gd name="T45" fmla="*/ 92 h 239"/>
                  <a:gd name="T46" fmla="*/ 107 w 186"/>
                  <a:gd name="T47" fmla="*/ 88 h 239"/>
                  <a:gd name="T48" fmla="*/ 91 w 186"/>
                  <a:gd name="T49" fmla="*/ 87 h 239"/>
                  <a:gd name="T50" fmla="*/ 63 w 186"/>
                  <a:gd name="T51" fmla="*/ 89 h 239"/>
                  <a:gd name="T52" fmla="*/ 47 w 186"/>
                  <a:gd name="T53" fmla="*/ 94 h 239"/>
                  <a:gd name="T54" fmla="*/ 32 w 186"/>
                  <a:gd name="T55" fmla="*/ 101 h 239"/>
                  <a:gd name="T56" fmla="*/ 20 w 186"/>
                  <a:gd name="T57" fmla="*/ 110 h 239"/>
                  <a:gd name="T58" fmla="*/ 10 w 186"/>
                  <a:gd name="T59" fmla="*/ 121 h 239"/>
                  <a:gd name="T60" fmla="*/ 3 w 186"/>
                  <a:gd name="T61" fmla="*/ 135 h 239"/>
                  <a:gd name="T62" fmla="*/ 0 w 186"/>
                  <a:gd name="T63" fmla="*/ 153 h 239"/>
                  <a:gd name="T64" fmla="*/ 0 w 186"/>
                  <a:gd name="T65" fmla="*/ 162 h 239"/>
                  <a:gd name="T66" fmla="*/ 1 w 186"/>
                  <a:gd name="T67" fmla="*/ 182 h 239"/>
                  <a:gd name="T68" fmla="*/ 7 w 186"/>
                  <a:gd name="T69" fmla="*/ 198 h 239"/>
                  <a:gd name="T70" fmla="*/ 15 w 186"/>
                  <a:gd name="T71" fmla="*/ 211 h 239"/>
                  <a:gd name="T72" fmla="*/ 25 w 186"/>
                  <a:gd name="T73" fmla="*/ 222 h 239"/>
                  <a:gd name="T74" fmla="*/ 37 w 186"/>
                  <a:gd name="T75" fmla="*/ 230 h 239"/>
                  <a:gd name="T76" fmla="*/ 51 w 186"/>
                  <a:gd name="T77" fmla="*/ 235 h 239"/>
                  <a:gd name="T78" fmla="*/ 79 w 186"/>
                  <a:gd name="T79" fmla="*/ 239 h 239"/>
                  <a:gd name="T80" fmla="*/ 90 w 186"/>
                  <a:gd name="T81" fmla="*/ 239 h 239"/>
                  <a:gd name="T82" fmla="*/ 108 w 186"/>
                  <a:gd name="T83" fmla="*/ 234 h 239"/>
                  <a:gd name="T84" fmla="*/ 115 w 186"/>
                  <a:gd name="T85" fmla="*/ 231 h 239"/>
                  <a:gd name="T86" fmla="*/ 134 w 186"/>
                  <a:gd name="T87" fmla="*/ 219 h 239"/>
                  <a:gd name="T88" fmla="*/ 142 w 186"/>
                  <a:gd name="T89" fmla="*/ 235 h 239"/>
                  <a:gd name="T90" fmla="*/ 142 w 186"/>
                  <a:gd name="T91" fmla="*/ 170 h 239"/>
                  <a:gd name="T92" fmla="*/ 137 w 186"/>
                  <a:gd name="T93" fmla="*/ 175 h 239"/>
                  <a:gd name="T94" fmla="*/ 126 w 186"/>
                  <a:gd name="T95" fmla="*/ 185 h 239"/>
                  <a:gd name="T96" fmla="*/ 112 w 186"/>
                  <a:gd name="T97" fmla="*/ 193 h 239"/>
                  <a:gd name="T98" fmla="*/ 95 w 186"/>
                  <a:gd name="T99" fmla="*/ 198 h 239"/>
                  <a:gd name="T100" fmla="*/ 86 w 186"/>
                  <a:gd name="T101" fmla="*/ 199 h 239"/>
                  <a:gd name="T102" fmla="*/ 68 w 186"/>
                  <a:gd name="T103" fmla="*/ 196 h 239"/>
                  <a:gd name="T104" fmla="*/ 55 w 186"/>
                  <a:gd name="T105" fmla="*/ 190 h 239"/>
                  <a:gd name="T106" fmla="*/ 50 w 186"/>
                  <a:gd name="T107" fmla="*/ 185 h 239"/>
                  <a:gd name="T108" fmla="*/ 43 w 186"/>
                  <a:gd name="T109" fmla="*/ 170 h 239"/>
                  <a:gd name="T110" fmla="*/ 42 w 186"/>
                  <a:gd name="T111" fmla="*/ 161 h 239"/>
                  <a:gd name="T112" fmla="*/ 45 w 186"/>
                  <a:gd name="T113" fmla="*/ 146 h 239"/>
                  <a:gd name="T114" fmla="*/ 55 w 186"/>
                  <a:gd name="T115" fmla="*/ 135 h 239"/>
                  <a:gd name="T116" fmla="*/ 70 w 186"/>
                  <a:gd name="T117" fmla="*/ 128 h 239"/>
                  <a:gd name="T118" fmla="*/ 89 w 186"/>
                  <a:gd name="T119" fmla="*/ 126 h 239"/>
                  <a:gd name="T120" fmla="*/ 106 w 186"/>
                  <a:gd name="T121" fmla="*/ 126 h 239"/>
                  <a:gd name="T122" fmla="*/ 119 w 186"/>
                  <a:gd name="T123" fmla="*/ 128 h 239"/>
                  <a:gd name="T124" fmla="*/ 142 w 186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6" h="239">
                    <a:moveTo>
                      <a:pt x="186" y="235"/>
                    </a:moveTo>
                    <a:lnTo>
                      <a:pt x="186" y="77"/>
                    </a:lnTo>
                    <a:lnTo>
                      <a:pt x="186" y="77"/>
                    </a:lnTo>
                    <a:lnTo>
                      <a:pt x="185" y="67"/>
                    </a:lnTo>
                    <a:lnTo>
                      <a:pt x="184" y="58"/>
                    </a:lnTo>
                    <a:lnTo>
                      <a:pt x="182" y="50"/>
                    </a:lnTo>
                    <a:lnTo>
                      <a:pt x="179" y="43"/>
                    </a:lnTo>
                    <a:lnTo>
                      <a:pt x="176" y="36"/>
                    </a:lnTo>
                    <a:lnTo>
                      <a:pt x="172" y="29"/>
                    </a:lnTo>
                    <a:lnTo>
                      <a:pt x="167" y="24"/>
                    </a:lnTo>
                    <a:lnTo>
                      <a:pt x="162" y="19"/>
                    </a:lnTo>
                    <a:lnTo>
                      <a:pt x="156" y="14"/>
                    </a:lnTo>
                    <a:lnTo>
                      <a:pt x="149" y="10"/>
                    </a:lnTo>
                    <a:lnTo>
                      <a:pt x="142" y="7"/>
                    </a:lnTo>
                    <a:lnTo>
                      <a:pt x="135" y="5"/>
                    </a:lnTo>
                    <a:lnTo>
                      <a:pt x="127" y="2"/>
                    </a:lnTo>
                    <a:lnTo>
                      <a:pt x="118" y="1"/>
                    </a:lnTo>
                    <a:lnTo>
                      <a:pt x="109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8" y="0"/>
                    </a:lnTo>
                    <a:lnTo>
                      <a:pt x="77" y="1"/>
                    </a:lnTo>
                    <a:lnTo>
                      <a:pt x="67" y="3"/>
                    </a:lnTo>
                    <a:lnTo>
                      <a:pt x="57" y="5"/>
                    </a:lnTo>
                    <a:lnTo>
                      <a:pt x="47" y="8"/>
                    </a:lnTo>
                    <a:lnTo>
                      <a:pt x="38" y="11"/>
                    </a:lnTo>
                    <a:lnTo>
                      <a:pt x="30" y="16"/>
                    </a:lnTo>
                    <a:lnTo>
                      <a:pt x="21" y="20"/>
                    </a:lnTo>
                    <a:lnTo>
                      <a:pt x="39" y="54"/>
                    </a:lnTo>
                    <a:lnTo>
                      <a:pt x="39" y="54"/>
                    </a:lnTo>
                    <a:lnTo>
                      <a:pt x="52" y="48"/>
                    </a:lnTo>
                    <a:lnTo>
                      <a:pt x="66" y="43"/>
                    </a:lnTo>
                    <a:lnTo>
                      <a:pt x="82" y="41"/>
                    </a:lnTo>
                    <a:lnTo>
                      <a:pt x="98" y="40"/>
                    </a:lnTo>
                    <a:lnTo>
                      <a:pt x="98" y="40"/>
                    </a:lnTo>
                    <a:lnTo>
                      <a:pt x="108" y="41"/>
                    </a:lnTo>
                    <a:lnTo>
                      <a:pt x="117" y="43"/>
                    </a:lnTo>
                    <a:lnTo>
                      <a:pt x="124" y="46"/>
                    </a:lnTo>
                    <a:lnTo>
                      <a:pt x="131" y="50"/>
                    </a:lnTo>
                    <a:lnTo>
                      <a:pt x="135" y="56"/>
                    </a:lnTo>
                    <a:lnTo>
                      <a:pt x="139" y="62"/>
                    </a:lnTo>
                    <a:lnTo>
                      <a:pt x="141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2" y="92"/>
                    </a:lnTo>
                    <a:lnTo>
                      <a:pt x="121" y="89"/>
                    </a:lnTo>
                    <a:lnTo>
                      <a:pt x="107" y="88"/>
                    </a:lnTo>
                    <a:lnTo>
                      <a:pt x="91" y="87"/>
                    </a:lnTo>
                    <a:lnTo>
                      <a:pt x="91" y="87"/>
                    </a:lnTo>
                    <a:lnTo>
                      <a:pt x="72" y="88"/>
                    </a:lnTo>
                    <a:lnTo>
                      <a:pt x="63" y="89"/>
                    </a:lnTo>
                    <a:lnTo>
                      <a:pt x="55" y="91"/>
                    </a:lnTo>
                    <a:lnTo>
                      <a:pt x="47" y="94"/>
                    </a:lnTo>
                    <a:lnTo>
                      <a:pt x="39" y="97"/>
                    </a:lnTo>
                    <a:lnTo>
                      <a:pt x="32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5"/>
                    </a:lnTo>
                    <a:lnTo>
                      <a:pt x="10" y="121"/>
                    </a:lnTo>
                    <a:lnTo>
                      <a:pt x="6" y="128"/>
                    </a:lnTo>
                    <a:lnTo>
                      <a:pt x="3" y="135"/>
                    </a:lnTo>
                    <a:lnTo>
                      <a:pt x="1" y="143"/>
                    </a:lnTo>
                    <a:lnTo>
                      <a:pt x="0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1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0" y="205"/>
                    </a:lnTo>
                    <a:lnTo>
                      <a:pt x="15" y="211"/>
                    </a:lnTo>
                    <a:lnTo>
                      <a:pt x="20" y="217"/>
                    </a:lnTo>
                    <a:lnTo>
                      <a:pt x="25" y="222"/>
                    </a:lnTo>
                    <a:lnTo>
                      <a:pt x="31" y="226"/>
                    </a:lnTo>
                    <a:lnTo>
                      <a:pt x="37" y="230"/>
                    </a:lnTo>
                    <a:lnTo>
                      <a:pt x="44" y="233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9"/>
                    </a:lnTo>
                    <a:lnTo>
                      <a:pt x="100" y="237"/>
                    </a:lnTo>
                    <a:lnTo>
                      <a:pt x="108" y="234"/>
                    </a:lnTo>
                    <a:lnTo>
                      <a:pt x="115" y="231"/>
                    </a:lnTo>
                    <a:lnTo>
                      <a:pt x="115" y="231"/>
                    </a:lnTo>
                    <a:lnTo>
                      <a:pt x="127" y="224"/>
                    </a:lnTo>
                    <a:lnTo>
                      <a:pt x="134" y="219"/>
                    </a:lnTo>
                    <a:lnTo>
                      <a:pt x="142" y="212"/>
                    </a:lnTo>
                    <a:lnTo>
                      <a:pt x="142" y="235"/>
                    </a:lnTo>
                    <a:lnTo>
                      <a:pt x="186" y="235"/>
                    </a:lnTo>
                    <a:close/>
                    <a:moveTo>
                      <a:pt x="142" y="170"/>
                    </a:moveTo>
                    <a:lnTo>
                      <a:pt x="142" y="170"/>
                    </a:lnTo>
                    <a:lnTo>
                      <a:pt x="137" y="175"/>
                    </a:lnTo>
                    <a:lnTo>
                      <a:pt x="132" y="180"/>
                    </a:lnTo>
                    <a:lnTo>
                      <a:pt x="126" y="185"/>
                    </a:lnTo>
                    <a:lnTo>
                      <a:pt x="119" y="190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5" y="198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76" y="198"/>
                    </a:lnTo>
                    <a:lnTo>
                      <a:pt x="68" y="196"/>
                    </a:lnTo>
                    <a:lnTo>
                      <a:pt x="61" y="194"/>
                    </a:lnTo>
                    <a:lnTo>
                      <a:pt x="55" y="190"/>
                    </a:lnTo>
                    <a:lnTo>
                      <a:pt x="55" y="190"/>
                    </a:lnTo>
                    <a:lnTo>
                      <a:pt x="50" y="185"/>
                    </a:lnTo>
                    <a:lnTo>
                      <a:pt x="46" y="178"/>
                    </a:lnTo>
                    <a:lnTo>
                      <a:pt x="43" y="170"/>
                    </a:lnTo>
                    <a:lnTo>
                      <a:pt x="42" y="161"/>
                    </a:lnTo>
                    <a:lnTo>
                      <a:pt x="42" y="161"/>
                    </a:lnTo>
                    <a:lnTo>
                      <a:pt x="43" y="153"/>
                    </a:lnTo>
                    <a:lnTo>
                      <a:pt x="45" y="146"/>
                    </a:lnTo>
                    <a:lnTo>
                      <a:pt x="49" y="140"/>
                    </a:lnTo>
                    <a:lnTo>
                      <a:pt x="55" y="135"/>
                    </a:lnTo>
                    <a:lnTo>
                      <a:pt x="62" y="131"/>
                    </a:lnTo>
                    <a:lnTo>
                      <a:pt x="70" y="128"/>
                    </a:lnTo>
                    <a:lnTo>
                      <a:pt x="79" y="126"/>
                    </a:lnTo>
                    <a:lnTo>
                      <a:pt x="89" y="126"/>
                    </a:lnTo>
                    <a:lnTo>
                      <a:pt x="89" y="126"/>
                    </a:lnTo>
                    <a:lnTo>
                      <a:pt x="106" y="126"/>
                    </a:lnTo>
                    <a:lnTo>
                      <a:pt x="119" y="128"/>
                    </a:lnTo>
                    <a:lnTo>
                      <a:pt x="119" y="128"/>
                    </a:lnTo>
                    <a:lnTo>
                      <a:pt x="130" y="131"/>
                    </a:lnTo>
                    <a:lnTo>
                      <a:pt x="142" y="136"/>
                    </a:lnTo>
                    <a:lnTo>
                      <a:pt x="142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1" name="Freeform 50"/>
              <p:cNvSpPr>
                <a:spLocks noEditPoints="1"/>
              </p:cNvSpPr>
              <p:nvPr userDrawn="1"/>
            </p:nvSpPr>
            <p:spPr bwMode="auto">
              <a:xfrm>
                <a:off x="1041400" y="6363507"/>
                <a:ext cx="76200" cy="90488"/>
              </a:xfrm>
              <a:custGeom>
                <a:avLst/>
                <a:gdLst>
                  <a:gd name="T0" fmla="*/ 0 w 195"/>
                  <a:gd name="T1" fmla="*/ 230 h 230"/>
                  <a:gd name="T2" fmla="*/ 50 w 195"/>
                  <a:gd name="T3" fmla="*/ 230 h 230"/>
                  <a:gd name="T4" fmla="*/ 101 w 195"/>
                  <a:gd name="T5" fmla="*/ 138 h 230"/>
                  <a:gd name="T6" fmla="*/ 151 w 195"/>
                  <a:gd name="T7" fmla="*/ 138 h 230"/>
                  <a:gd name="T8" fmla="*/ 151 w 195"/>
                  <a:gd name="T9" fmla="*/ 230 h 230"/>
                  <a:gd name="T10" fmla="*/ 195 w 195"/>
                  <a:gd name="T11" fmla="*/ 230 h 230"/>
                  <a:gd name="T12" fmla="*/ 195 w 195"/>
                  <a:gd name="T13" fmla="*/ 0 h 230"/>
                  <a:gd name="T14" fmla="*/ 82 w 195"/>
                  <a:gd name="T15" fmla="*/ 0 h 230"/>
                  <a:gd name="T16" fmla="*/ 82 w 195"/>
                  <a:gd name="T17" fmla="*/ 0 h 230"/>
                  <a:gd name="T18" fmla="*/ 67 w 195"/>
                  <a:gd name="T19" fmla="*/ 1 h 230"/>
                  <a:gd name="T20" fmla="*/ 60 w 195"/>
                  <a:gd name="T21" fmla="*/ 2 h 230"/>
                  <a:gd name="T22" fmla="*/ 53 w 195"/>
                  <a:gd name="T23" fmla="*/ 4 h 230"/>
                  <a:gd name="T24" fmla="*/ 47 w 195"/>
                  <a:gd name="T25" fmla="*/ 6 h 230"/>
                  <a:gd name="T26" fmla="*/ 41 w 195"/>
                  <a:gd name="T27" fmla="*/ 9 h 230"/>
                  <a:gd name="T28" fmla="*/ 36 w 195"/>
                  <a:gd name="T29" fmla="*/ 13 h 230"/>
                  <a:gd name="T30" fmla="*/ 31 w 195"/>
                  <a:gd name="T31" fmla="*/ 17 h 230"/>
                  <a:gd name="T32" fmla="*/ 26 w 195"/>
                  <a:gd name="T33" fmla="*/ 21 h 230"/>
                  <a:gd name="T34" fmla="*/ 22 w 195"/>
                  <a:gd name="T35" fmla="*/ 27 h 230"/>
                  <a:gd name="T36" fmla="*/ 19 w 195"/>
                  <a:gd name="T37" fmla="*/ 32 h 230"/>
                  <a:gd name="T38" fmla="*/ 16 w 195"/>
                  <a:gd name="T39" fmla="*/ 38 h 230"/>
                  <a:gd name="T40" fmla="*/ 14 w 195"/>
                  <a:gd name="T41" fmla="*/ 45 h 230"/>
                  <a:gd name="T42" fmla="*/ 12 w 195"/>
                  <a:gd name="T43" fmla="*/ 52 h 230"/>
                  <a:gd name="T44" fmla="*/ 11 w 195"/>
                  <a:gd name="T45" fmla="*/ 60 h 230"/>
                  <a:gd name="T46" fmla="*/ 10 w 195"/>
                  <a:gd name="T47" fmla="*/ 69 h 230"/>
                  <a:gd name="T48" fmla="*/ 10 w 195"/>
                  <a:gd name="T49" fmla="*/ 69 h 230"/>
                  <a:gd name="T50" fmla="*/ 11 w 195"/>
                  <a:gd name="T51" fmla="*/ 82 h 230"/>
                  <a:gd name="T52" fmla="*/ 14 w 195"/>
                  <a:gd name="T53" fmla="*/ 93 h 230"/>
                  <a:gd name="T54" fmla="*/ 18 w 195"/>
                  <a:gd name="T55" fmla="*/ 103 h 230"/>
                  <a:gd name="T56" fmla="*/ 23 w 195"/>
                  <a:gd name="T57" fmla="*/ 112 h 230"/>
                  <a:gd name="T58" fmla="*/ 30 w 195"/>
                  <a:gd name="T59" fmla="*/ 119 h 230"/>
                  <a:gd name="T60" fmla="*/ 38 w 195"/>
                  <a:gd name="T61" fmla="*/ 125 h 230"/>
                  <a:gd name="T62" fmla="*/ 47 w 195"/>
                  <a:gd name="T63" fmla="*/ 129 h 230"/>
                  <a:gd name="T64" fmla="*/ 58 w 195"/>
                  <a:gd name="T65" fmla="*/ 132 h 230"/>
                  <a:gd name="T66" fmla="*/ 0 w 195"/>
                  <a:gd name="T67" fmla="*/ 230 h 230"/>
                  <a:gd name="T68" fmla="*/ 151 w 195"/>
                  <a:gd name="T69" fmla="*/ 37 h 230"/>
                  <a:gd name="T70" fmla="*/ 151 w 195"/>
                  <a:gd name="T71" fmla="*/ 101 h 230"/>
                  <a:gd name="T72" fmla="*/ 87 w 195"/>
                  <a:gd name="T73" fmla="*/ 101 h 230"/>
                  <a:gd name="T74" fmla="*/ 87 w 195"/>
                  <a:gd name="T75" fmla="*/ 101 h 230"/>
                  <a:gd name="T76" fmla="*/ 80 w 195"/>
                  <a:gd name="T77" fmla="*/ 100 h 230"/>
                  <a:gd name="T78" fmla="*/ 73 w 195"/>
                  <a:gd name="T79" fmla="*/ 99 h 230"/>
                  <a:gd name="T80" fmla="*/ 68 w 195"/>
                  <a:gd name="T81" fmla="*/ 96 h 230"/>
                  <a:gd name="T82" fmla="*/ 63 w 195"/>
                  <a:gd name="T83" fmla="*/ 92 h 230"/>
                  <a:gd name="T84" fmla="*/ 60 w 195"/>
                  <a:gd name="T85" fmla="*/ 88 h 230"/>
                  <a:gd name="T86" fmla="*/ 57 w 195"/>
                  <a:gd name="T87" fmla="*/ 82 h 230"/>
                  <a:gd name="T88" fmla="*/ 56 w 195"/>
                  <a:gd name="T89" fmla="*/ 76 h 230"/>
                  <a:gd name="T90" fmla="*/ 55 w 195"/>
                  <a:gd name="T91" fmla="*/ 69 h 230"/>
                  <a:gd name="T92" fmla="*/ 55 w 195"/>
                  <a:gd name="T93" fmla="*/ 69 h 230"/>
                  <a:gd name="T94" fmla="*/ 56 w 195"/>
                  <a:gd name="T95" fmla="*/ 62 h 230"/>
                  <a:gd name="T96" fmla="*/ 58 w 195"/>
                  <a:gd name="T97" fmla="*/ 55 h 230"/>
                  <a:gd name="T98" fmla="*/ 60 w 195"/>
                  <a:gd name="T99" fmla="*/ 50 h 230"/>
                  <a:gd name="T100" fmla="*/ 64 w 195"/>
                  <a:gd name="T101" fmla="*/ 45 h 230"/>
                  <a:gd name="T102" fmla="*/ 69 w 195"/>
                  <a:gd name="T103" fmla="*/ 41 h 230"/>
                  <a:gd name="T104" fmla="*/ 74 w 195"/>
                  <a:gd name="T105" fmla="*/ 39 h 230"/>
                  <a:gd name="T106" fmla="*/ 80 w 195"/>
                  <a:gd name="T107" fmla="*/ 37 h 230"/>
                  <a:gd name="T108" fmla="*/ 87 w 195"/>
                  <a:gd name="T109" fmla="*/ 37 h 230"/>
                  <a:gd name="T110" fmla="*/ 151 w 195"/>
                  <a:gd name="T111" fmla="*/ 37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5" h="230">
                    <a:moveTo>
                      <a:pt x="0" y="230"/>
                    </a:moveTo>
                    <a:lnTo>
                      <a:pt x="50" y="230"/>
                    </a:lnTo>
                    <a:lnTo>
                      <a:pt x="101" y="138"/>
                    </a:lnTo>
                    <a:lnTo>
                      <a:pt x="151" y="138"/>
                    </a:lnTo>
                    <a:lnTo>
                      <a:pt x="151" y="230"/>
                    </a:lnTo>
                    <a:lnTo>
                      <a:pt x="195" y="230"/>
                    </a:lnTo>
                    <a:lnTo>
                      <a:pt x="195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67" y="1"/>
                    </a:lnTo>
                    <a:lnTo>
                      <a:pt x="60" y="2"/>
                    </a:lnTo>
                    <a:lnTo>
                      <a:pt x="53" y="4"/>
                    </a:lnTo>
                    <a:lnTo>
                      <a:pt x="47" y="6"/>
                    </a:lnTo>
                    <a:lnTo>
                      <a:pt x="41" y="9"/>
                    </a:lnTo>
                    <a:lnTo>
                      <a:pt x="36" y="13"/>
                    </a:lnTo>
                    <a:lnTo>
                      <a:pt x="31" y="17"/>
                    </a:lnTo>
                    <a:lnTo>
                      <a:pt x="26" y="21"/>
                    </a:lnTo>
                    <a:lnTo>
                      <a:pt x="22" y="27"/>
                    </a:lnTo>
                    <a:lnTo>
                      <a:pt x="19" y="32"/>
                    </a:lnTo>
                    <a:lnTo>
                      <a:pt x="16" y="38"/>
                    </a:lnTo>
                    <a:lnTo>
                      <a:pt x="14" y="45"/>
                    </a:lnTo>
                    <a:lnTo>
                      <a:pt x="12" y="52"/>
                    </a:lnTo>
                    <a:lnTo>
                      <a:pt x="11" y="60"/>
                    </a:lnTo>
                    <a:lnTo>
                      <a:pt x="10" y="69"/>
                    </a:lnTo>
                    <a:lnTo>
                      <a:pt x="10" y="69"/>
                    </a:lnTo>
                    <a:lnTo>
                      <a:pt x="11" y="82"/>
                    </a:lnTo>
                    <a:lnTo>
                      <a:pt x="14" y="93"/>
                    </a:lnTo>
                    <a:lnTo>
                      <a:pt x="18" y="103"/>
                    </a:lnTo>
                    <a:lnTo>
                      <a:pt x="23" y="112"/>
                    </a:lnTo>
                    <a:lnTo>
                      <a:pt x="30" y="119"/>
                    </a:lnTo>
                    <a:lnTo>
                      <a:pt x="38" y="125"/>
                    </a:lnTo>
                    <a:lnTo>
                      <a:pt x="47" y="129"/>
                    </a:lnTo>
                    <a:lnTo>
                      <a:pt x="58" y="132"/>
                    </a:lnTo>
                    <a:lnTo>
                      <a:pt x="0" y="230"/>
                    </a:lnTo>
                    <a:close/>
                    <a:moveTo>
                      <a:pt x="151" y="37"/>
                    </a:moveTo>
                    <a:lnTo>
                      <a:pt x="151" y="101"/>
                    </a:lnTo>
                    <a:lnTo>
                      <a:pt x="87" y="101"/>
                    </a:lnTo>
                    <a:lnTo>
                      <a:pt x="87" y="101"/>
                    </a:lnTo>
                    <a:lnTo>
                      <a:pt x="80" y="100"/>
                    </a:lnTo>
                    <a:lnTo>
                      <a:pt x="73" y="99"/>
                    </a:lnTo>
                    <a:lnTo>
                      <a:pt x="68" y="96"/>
                    </a:lnTo>
                    <a:lnTo>
                      <a:pt x="63" y="92"/>
                    </a:lnTo>
                    <a:lnTo>
                      <a:pt x="60" y="88"/>
                    </a:lnTo>
                    <a:lnTo>
                      <a:pt x="57" y="82"/>
                    </a:lnTo>
                    <a:lnTo>
                      <a:pt x="56" y="76"/>
                    </a:lnTo>
                    <a:lnTo>
                      <a:pt x="55" y="69"/>
                    </a:lnTo>
                    <a:lnTo>
                      <a:pt x="55" y="69"/>
                    </a:lnTo>
                    <a:lnTo>
                      <a:pt x="56" y="62"/>
                    </a:lnTo>
                    <a:lnTo>
                      <a:pt x="58" y="55"/>
                    </a:lnTo>
                    <a:lnTo>
                      <a:pt x="60" y="50"/>
                    </a:lnTo>
                    <a:lnTo>
                      <a:pt x="64" y="45"/>
                    </a:lnTo>
                    <a:lnTo>
                      <a:pt x="69" y="41"/>
                    </a:lnTo>
                    <a:lnTo>
                      <a:pt x="74" y="39"/>
                    </a:lnTo>
                    <a:lnTo>
                      <a:pt x="80" y="37"/>
                    </a:lnTo>
                    <a:lnTo>
                      <a:pt x="87" y="37"/>
                    </a:lnTo>
                    <a:lnTo>
                      <a:pt x="151" y="37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2" name="Freeform 51"/>
              <p:cNvSpPr>
                <a:spLocks/>
              </p:cNvSpPr>
              <p:nvPr userDrawn="1"/>
            </p:nvSpPr>
            <p:spPr bwMode="auto">
              <a:xfrm>
                <a:off x="1181100" y="6360332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4 w 181"/>
                  <a:gd name="T3" fmla="*/ 22 h 239"/>
                  <a:gd name="T4" fmla="*/ 145 w 181"/>
                  <a:gd name="T5" fmla="*/ 10 h 239"/>
                  <a:gd name="T6" fmla="*/ 124 w 181"/>
                  <a:gd name="T7" fmla="*/ 2 h 239"/>
                  <a:gd name="T8" fmla="*/ 100 w 181"/>
                  <a:gd name="T9" fmla="*/ 0 h 239"/>
                  <a:gd name="T10" fmla="*/ 90 w 181"/>
                  <a:gd name="T11" fmla="*/ 0 h 239"/>
                  <a:gd name="T12" fmla="*/ 70 w 181"/>
                  <a:gd name="T13" fmla="*/ 4 h 239"/>
                  <a:gd name="T14" fmla="*/ 52 w 181"/>
                  <a:gd name="T15" fmla="*/ 12 h 239"/>
                  <a:gd name="T16" fmla="*/ 36 w 181"/>
                  <a:gd name="T17" fmla="*/ 24 h 239"/>
                  <a:gd name="T18" fmla="*/ 23 w 181"/>
                  <a:gd name="T19" fmla="*/ 39 h 239"/>
                  <a:gd name="T20" fmla="*/ 12 w 181"/>
                  <a:gd name="T21" fmla="*/ 58 h 239"/>
                  <a:gd name="T22" fmla="*/ 4 w 181"/>
                  <a:gd name="T23" fmla="*/ 80 h 239"/>
                  <a:gd name="T24" fmla="*/ 0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5 h 239"/>
                  <a:gd name="T30" fmla="*/ 8 w 181"/>
                  <a:gd name="T31" fmla="*/ 169 h 239"/>
                  <a:gd name="T32" fmla="*/ 17 w 181"/>
                  <a:gd name="T33" fmla="*/ 190 h 239"/>
                  <a:gd name="T34" fmla="*/ 29 w 181"/>
                  <a:gd name="T35" fmla="*/ 207 h 239"/>
                  <a:gd name="T36" fmla="*/ 43 w 181"/>
                  <a:gd name="T37" fmla="*/ 221 h 239"/>
                  <a:gd name="T38" fmla="*/ 60 w 181"/>
                  <a:gd name="T39" fmla="*/ 231 h 239"/>
                  <a:gd name="T40" fmla="*/ 79 w 181"/>
                  <a:gd name="T41" fmla="*/ 237 h 239"/>
                  <a:gd name="T42" fmla="*/ 99 w 181"/>
                  <a:gd name="T43" fmla="*/ 239 h 239"/>
                  <a:gd name="T44" fmla="*/ 114 w 181"/>
                  <a:gd name="T45" fmla="*/ 238 h 239"/>
                  <a:gd name="T46" fmla="*/ 138 w 181"/>
                  <a:gd name="T47" fmla="*/ 232 h 239"/>
                  <a:gd name="T48" fmla="*/ 158 w 181"/>
                  <a:gd name="T49" fmla="*/ 220 h 239"/>
                  <a:gd name="T50" fmla="*/ 174 w 181"/>
                  <a:gd name="T51" fmla="*/ 205 h 239"/>
                  <a:gd name="T52" fmla="*/ 152 w 181"/>
                  <a:gd name="T53" fmla="*/ 168 h 239"/>
                  <a:gd name="T54" fmla="*/ 139 w 181"/>
                  <a:gd name="T55" fmla="*/ 181 h 239"/>
                  <a:gd name="T56" fmla="*/ 127 w 181"/>
                  <a:gd name="T57" fmla="*/ 189 h 239"/>
                  <a:gd name="T58" fmla="*/ 115 w 181"/>
                  <a:gd name="T59" fmla="*/ 195 h 239"/>
                  <a:gd name="T60" fmla="*/ 100 w 181"/>
                  <a:gd name="T61" fmla="*/ 197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2 w 181"/>
                  <a:gd name="T67" fmla="*/ 188 h 239"/>
                  <a:gd name="T68" fmla="*/ 63 w 181"/>
                  <a:gd name="T69" fmla="*/ 180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8 h 239"/>
                  <a:gd name="T76" fmla="*/ 46 w 181"/>
                  <a:gd name="T77" fmla="*/ 102 h 239"/>
                  <a:gd name="T78" fmla="*/ 54 w 181"/>
                  <a:gd name="T79" fmla="*/ 74 h 239"/>
                  <a:gd name="T80" fmla="*/ 60 w 181"/>
                  <a:gd name="T81" fmla="*/ 63 h 239"/>
                  <a:gd name="T82" fmla="*/ 68 w 181"/>
                  <a:gd name="T83" fmla="*/ 54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6 w 181"/>
                  <a:gd name="T91" fmla="*/ 43 h 239"/>
                  <a:gd name="T92" fmla="*/ 121 w 181"/>
                  <a:gd name="T93" fmla="*/ 46 h 239"/>
                  <a:gd name="T94" fmla="*/ 134 w 181"/>
                  <a:gd name="T95" fmla="*/ 53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4" y="22"/>
                    </a:lnTo>
                    <a:lnTo>
                      <a:pt x="155" y="15"/>
                    </a:lnTo>
                    <a:lnTo>
                      <a:pt x="145" y="10"/>
                    </a:lnTo>
                    <a:lnTo>
                      <a:pt x="135" y="5"/>
                    </a:lnTo>
                    <a:lnTo>
                      <a:pt x="124" y="2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0"/>
                    </a:lnTo>
                    <a:lnTo>
                      <a:pt x="80" y="2"/>
                    </a:lnTo>
                    <a:lnTo>
                      <a:pt x="70" y="4"/>
                    </a:lnTo>
                    <a:lnTo>
                      <a:pt x="61" y="8"/>
                    </a:lnTo>
                    <a:lnTo>
                      <a:pt x="52" y="12"/>
                    </a:lnTo>
                    <a:lnTo>
                      <a:pt x="44" y="18"/>
                    </a:lnTo>
                    <a:lnTo>
                      <a:pt x="36" y="24"/>
                    </a:lnTo>
                    <a:lnTo>
                      <a:pt x="29" y="31"/>
                    </a:lnTo>
                    <a:lnTo>
                      <a:pt x="23" y="39"/>
                    </a:lnTo>
                    <a:lnTo>
                      <a:pt x="17" y="48"/>
                    </a:lnTo>
                    <a:lnTo>
                      <a:pt x="12" y="58"/>
                    </a:lnTo>
                    <a:lnTo>
                      <a:pt x="8" y="69"/>
                    </a:lnTo>
                    <a:lnTo>
                      <a:pt x="4" y="80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5"/>
                    </a:lnTo>
                    <a:lnTo>
                      <a:pt x="4" y="158"/>
                    </a:lnTo>
                    <a:lnTo>
                      <a:pt x="8" y="169"/>
                    </a:lnTo>
                    <a:lnTo>
                      <a:pt x="12" y="180"/>
                    </a:lnTo>
                    <a:lnTo>
                      <a:pt x="17" y="190"/>
                    </a:lnTo>
                    <a:lnTo>
                      <a:pt x="22" y="199"/>
                    </a:lnTo>
                    <a:lnTo>
                      <a:pt x="29" y="207"/>
                    </a:lnTo>
                    <a:lnTo>
                      <a:pt x="35" y="214"/>
                    </a:lnTo>
                    <a:lnTo>
                      <a:pt x="43" y="221"/>
                    </a:lnTo>
                    <a:lnTo>
                      <a:pt x="51" y="226"/>
                    </a:lnTo>
                    <a:lnTo>
                      <a:pt x="60" y="231"/>
                    </a:lnTo>
                    <a:lnTo>
                      <a:pt x="69" y="234"/>
                    </a:lnTo>
                    <a:lnTo>
                      <a:pt x="79" y="237"/>
                    </a:lnTo>
                    <a:lnTo>
                      <a:pt x="89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4" y="238"/>
                    </a:lnTo>
                    <a:lnTo>
                      <a:pt x="127" y="236"/>
                    </a:lnTo>
                    <a:lnTo>
                      <a:pt x="138" y="232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6" y="213"/>
                    </a:lnTo>
                    <a:lnTo>
                      <a:pt x="174" y="205"/>
                    </a:lnTo>
                    <a:lnTo>
                      <a:pt x="181" y="197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39" y="181"/>
                    </a:lnTo>
                    <a:lnTo>
                      <a:pt x="133" y="185"/>
                    </a:lnTo>
                    <a:lnTo>
                      <a:pt x="127" y="189"/>
                    </a:lnTo>
                    <a:lnTo>
                      <a:pt x="121" y="193"/>
                    </a:lnTo>
                    <a:lnTo>
                      <a:pt x="115" y="195"/>
                    </a:lnTo>
                    <a:lnTo>
                      <a:pt x="108" y="196"/>
                    </a:lnTo>
                    <a:lnTo>
                      <a:pt x="100" y="197"/>
                    </a:lnTo>
                    <a:lnTo>
                      <a:pt x="100" y="197"/>
                    </a:lnTo>
                    <a:lnTo>
                      <a:pt x="94" y="196"/>
                    </a:lnTo>
                    <a:lnTo>
                      <a:pt x="88" y="195"/>
                    </a:lnTo>
                    <a:lnTo>
                      <a:pt x="82" y="193"/>
                    </a:lnTo>
                    <a:lnTo>
                      <a:pt x="77" y="191"/>
                    </a:lnTo>
                    <a:lnTo>
                      <a:pt x="72" y="188"/>
                    </a:lnTo>
                    <a:lnTo>
                      <a:pt x="67" y="184"/>
                    </a:lnTo>
                    <a:lnTo>
                      <a:pt x="63" y="180"/>
                    </a:lnTo>
                    <a:lnTo>
                      <a:pt x="59" y="175"/>
                    </a:lnTo>
                    <a:lnTo>
                      <a:pt x="56" y="169"/>
                    </a:lnTo>
                    <a:lnTo>
                      <a:pt x="53" y="164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8"/>
                    </a:lnTo>
                    <a:lnTo>
                      <a:pt x="45" y="118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8"/>
                    </a:lnTo>
                    <a:lnTo>
                      <a:pt x="60" y="63"/>
                    </a:lnTo>
                    <a:lnTo>
                      <a:pt x="64" y="58"/>
                    </a:lnTo>
                    <a:lnTo>
                      <a:pt x="68" y="54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6" y="43"/>
                    </a:lnTo>
                    <a:lnTo>
                      <a:pt x="114" y="44"/>
                    </a:lnTo>
                    <a:lnTo>
                      <a:pt x="121" y="46"/>
                    </a:lnTo>
                    <a:lnTo>
                      <a:pt x="127" y="49"/>
                    </a:lnTo>
                    <a:lnTo>
                      <a:pt x="134" y="53"/>
                    </a:lnTo>
                    <a:lnTo>
                      <a:pt x="141" y="58"/>
                    </a:lnTo>
                    <a:lnTo>
                      <a:pt x="148" y="64"/>
                    </a:lnTo>
                    <a:lnTo>
                      <a:pt x="155" y="70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3" name="Freeform 52"/>
              <p:cNvSpPr>
                <a:spLocks/>
              </p:cNvSpPr>
              <p:nvPr userDrawn="1"/>
            </p:nvSpPr>
            <p:spPr bwMode="auto">
              <a:xfrm>
                <a:off x="1260475" y="6363507"/>
                <a:ext cx="82550" cy="92075"/>
              </a:xfrm>
              <a:custGeom>
                <a:avLst/>
                <a:gdLst>
                  <a:gd name="T0" fmla="*/ 93 w 208"/>
                  <a:gd name="T1" fmla="*/ 39 h 234"/>
                  <a:gd name="T2" fmla="*/ 163 w 208"/>
                  <a:gd name="T3" fmla="*/ 39 h 234"/>
                  <a:gd name="T4" fmla="*/ 163 w 208"/>
                  <a:gd name="T5" fmla="*/ 230 h 234"/>
                  <a:gd name="T6" fmla="*/ 208 w 208"/>
                  <a:gd name="T7" fmla="*/ 230 h 234"/>
                  <a:gd name="T8" fmla="*/ 208 w 208"/>
                  <a:gd name="T9" fmla="*/ 0 h 234"/>
                  <a:gd name="T10" fmla="*/ 51 w 208"/>
                  <a:gd name="T11" fmla="*/ 0 h 234"/>
                  <a:gd name="T12" fmla="*/ 46 w 208"/>
                  <a:gd name="T13" fmla="*/ 116 h 234"/>
                  <a:gd name="T14" fmla="*/ 46 w 208"/>
                  <a:gd name="T15" fmla="*/ 116 h 234"/>
                  <a:gd name="T16" fmla="*/ 45 w 208"/>
                  <a:gd name="T17" fmla="*/ 135 h 234"/>
                  <a:gd name="T18" fmla="*/ 42 w 208"/>
                  <a:gd name="T19" fmla="*/ 152 h 234"/>
                  <a:gd name="T20" fmla="*/ 37 w 208"/>
                  <a:gd name="T21" fmla="*/ 165 h 234"/>
                  <a:gd name="T22" fmla="*/ 32 w 208"/>
                  <a:gd name="T23" fmla="*/ 175 h 234"/>
                  <a:gd name="T24" fmla="*/ 25 w 208"/>
                  <a:gd name="T25" fmla="*/ 183 h 234"/>
                  <a:gd name="T26" fmla="*/ 17 w 208"/>
                  <a:gd name="T27" fmla="*/ 189 h 234"/>
                  <a:gd name="T28" fmla="*/ 9 w 208"/>
                  <a:gd name="T29" fmla="*/ 193 h 234"/>
                  <a:gd name="T30" fmla="*/ 0 w 208"/>
                  <a:gd name="T31" fmla="*/ 195 h 234"/>
                  <a:gd name="T32" fmla="*/ 11 w 208"/>
                  <a:gd name="T33" fmla="*/ 234 h 234"/>
                  <a:gd name="T34" fmla="*/ 11 w 208"/>
                  <a:gd name="T35" fmla="*/ 234 h 234"/>
                  <a:gd name="T36" fmla="*/ 18 w 208"/>
                  <a:gd name="T37" fmla="*/ 233 h 234"/>
                  <a:gd name="T38" fmla="*/ 26 w 208"/>
                  <a:gd name="T39" fmla="*/ 230 h 234"/>
                  <a:gd name="T40" fmla="*/ 33 w 208"/>
                  <a:gd name="T41" fmla="*/ 228 h 234"/>
                  <a:gd name="T42" fmla="*/ 40 w 208"/>
                  <a:gd name="T43" fmla="*/ 224 h 234"/>
                  <a:gd name="T44" fmla="*/ 47 w 208"/>
                  <a:gd name="T45" fmla="*/ 220 h 234"/>
                  <a:gd name="T46" fmla="*/ 53 w 208"/>
                  <a:gd name="T47" fmla="*/ 215 h 234"/>
                  <a:gd name="T48" fmla="*/ 59 w 208"/>
                  <a:gd name="T49" fmla="*/ 209 h 234"/>
                  <a:gd name="T50" fmla="*/ 65 w 208"/>
                  <a:gd name="T51" fmla="*/ 203 h 234"/>
                  <a:gd name="T52" fmla="*/ 70 w 208"/>
                  <a:gd name="T53" fmla="*/ 195 h 234"/>
                  <a:gd name="T54" fmla="*/ 75 w 208"/>
                  <a:gd name="T55" fmla="*/ 187 h 234"/>
                  <a:gd name="T56" fmla="*/ 79 w 208"/>
                  <a:gd name="T57" fmla="*/ 178 h 234"/>
                  <a:gd name="T58" fmla="*/ 82 w 208"/>
                  <a:gd name="T59" fmla="*/ 168 h 234"/>
                  <a:gd name="T60" fmla="*/ 86 w 208"/>
                  <a:gd name="T61" fmla="*/ 156 h 234"/>
                  <a:gd name="T62" fmla="*/ 88 w 208"/>
                  <a:gd name="T63" fmla="*/ 143 h 234"/>
                  <a:gd name="T64" fmla="*/ 89 w 208"/>
                  <a:gd name="T65" fmla="*/ 130 h 234"/>
                  <a:gd name="T66" fmla="*/ 90 w 208"/>
                  <a:gd name="T67" fmla="*/ 116 h 234"/>
                  <a:gd name="T68" fmla="*/ 93 w 208"/>
                  <a:gd name="T69" fmla="*/ 39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8" h="234">
                    <a:moveTo>
                      <a:pt x="93" y="39"/>
                    </a:moveTo>
                    <a:lnTo>
                      <a:pt x="163" y="39"/>
                    </a:lnTo>
                    <a:lnTo>
                      <a:pt x="163" y="230"/>
                    </a:lnTo>
                    <a:lnTo>
                      <a:pt x="208" y="230"/>
                    </a:lnTo>
                    <a:lnTo>
                      <a:pt x="208" y="0"/>
                    </a:lnTo>
                    <a:lnTo>
                      <a:pt x="51" y="0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5" y="135"/>
                    </a:lnTo>
                    <a:lnTo>
                      <a:pt x="42" y="152"/>
                    </a:lnTo>
                    <a:lnTo>
                      <a:pt x="37" y="165"/>
                    </a:lnTo>
                    <a:lnTo>
                      <a:pt x="32" y="175"/>
                    </a:lnTo>
                    <a:lnTo>
                      <a:pt x="25" y="183"/>
                    </a:lnTo>
                    <a:lnTo>
                      <a:pt x="17" y="189"/>
                    </a:lnTo>
                    <a:lnTo>
                      <a:pt x="9" y="193"/>
                    </a:lnTo>
                    <a:lnTo>
                      <a:pt x="0" y="195"/>
                    </a:lnTo>
                    <a:lnTo>
                      <a:pt x="11" y="234"/>
                    </a:lnTo>
                    <a:lnTo>
                      <a:pt x="11" y="234"/>
                    </a:lnTo>
                    <a:lnTo>
                      <a:pt x="18" y="233"/>
                    </a:lnTo>
                    <a:lnTo>
                      <a:pt x="26" y="230"/>
                    </a:lnTo>
                    <a:lnTo>
                      <a:pt x="33" y="228"/>
                    </a:lnTo>
                    <a:lnTo>
                      <a:pt x="40" y="224"/>
                    </a:lnTo>
                    <a:lnTo>
                      <a:pt x="47" y="220"/>
                    </a:lnTo>
                    <a:lnTo>
                      <a:pt x="53" y="215"/>
                    </a:lnTo>
                    <a:lnTo>
                      <a:pt x="59" y="209"/>
                    </a:lnTo>
                    <a:lnTo>
                      <a:pt x="65" y="203"/>
                    </a:lnTo>
                    <a:lnTo>
                      <a:pt x="70" y="195"/>
                    </a:lnTo>
                    <a:lnTo>
                      <a:pt x="75" y="187"/>
                    </a:lnTo>
                    <a:lnTo>
                      <a:pt x="79" y="178"/>
                    </a:lnTo>
                    <a:lnTo>
                      <a:pt x="82" y="168"/>
                    </a:lnTo>
                    <a:lnTo>
                      <a:pt x="86" y="156"/>
                    </a:lnTo>
                    <a:lnTo>
                      <a:pt x="88" y="143"/>
                    </a:lnTo>
                    <a:lnTo>
                      <a:pt x="89" y="130"/>
                    </a:lnTo>
                    <a:lnTo>
                      <a:pt x="90" y="116"/>
                    </a:lnTo>
                    <a:lnTo>
                      <a:pt x="93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4" name="Freeform 53"/>
              <p:cNvSpPr>
                <a:spLocks noEditPoints="1"/>
              </p:cNvSpPr>
              <p:nvPr userDrawn="1"/>
            </p:nvSpPr>
            <p:spPr bwMode="auto">
              <a:xfrm>
                <a:off x="1362075" y="6360332"/>
                <a:ext cx="80963" cy="95250"/>
              </a:xfrm>
              <a:custGeom>
                <a:avLst/>
                <a:gdLst>
                  <a:gd name="T0" fmla="*/ 204 w 204"/>
                  <a:gd name="T1" fmla="*/ 105 h 239"/>
                  <a:gd name="T2" fmla="*/ 196 w 204"/>
                  <a:gd name="T3" fmla="*/ 69 h 239"/>
                  <a:gd name="T4" fmla="*/ 182 w 204"/>
                  <a:gd name="T5" fmla="*/ 40 h 239"/>
                  <a:gd name="T6" fmla="*/ 160 w 204"/>
                  <a:gd name="T7" fmla="*/ 18 h 239"/>
                  <a:gd name="T8" fmla="*/ 133 w 204"/>
                  <a:gd name="T9" fmla="*/ 5 h 239"/>
                  <a:gd name="T10" fmla="*/ 102 w 204"/>
                  <a:gd name="T11" fmla="*/ 0 h 239"/>
                  <a:gd name="T12" fmla="*/ 81 w 204"/>
                  <a:gd name="T13" fmla="*/ 2 h 239"/>
                  <a:gd name="T14" fmla="*/ 53 w 204"/>
                  <a:gd name="T15" fmla="*/ 12 h 239"/>
                  <a:gd name="T16" fmla="*/ 30 w 204"/>
                  <a:gd name="T17" fmla="*/ 31 h 239"/>
                  <a:gd name="T18" fmla="*/ 12 w 204"/>
                  <a:gd name="T19" fmla="*/ 58 h 239"/>
                  <a:gd name="T20" fmla="*/ 2 w 204"/>
                  <a:gd name="T21" fmla="*/ 93 h 239"/>
                  <a:gd name="T22" fmla="*/ 0 w 204"/>
                  <a:gd name="T23" fmla="*/ 119 h 239"/>
                  <a:gd name="T24" fmla="*/ 5 w 204"/>
                  <a:gd name="T25" fmla="*/ 158 h 239"/>
                  <a:gd name="T26" fmla="*/ 17 w 204"/>
                  <a:gd name="T27" fmla="*/ 189 h 239"/>
                  <a:gd name="T28" fmla="*/ 36 w 204"/>
                  <a:gd name="T29" fmla="*/ 214 h 239"/>
                  <a:gd name="T30" fmla="*/ 61 w 204"/>
                  <a:gd name="T31" fmla="*/ 231 h 239"/>
                  <a:gd name="T32" fmla="*/ 90 w 204"/>
                  <a:gd name="T33" fmla="*/ 239 h 239"/>
                  <a:gd name="T34" fmla="*/ 112 w 204"/>
                  <a:gd name="T35" fmla="*/ 239 h 239"/>
                  <a:gd name="T36" fmla="*/ 142 w 204"/>
                  <a:gd name="T37" fmla="*/ 231 h 239"/>
                  <a:gd name="T38" fmla="*/ 167 w 204"/>
                  <a:gd name="T39" fmla="*/ 215 h 239"/>
                  <a:gd name="T40" fmla="*/ 187 w 204"/>
                  <a:gd name="T41" fmla="*/ 190 h 239"/>
                  <a:gd name="T42" fmla="*/ 200 w 204"/>
                  <a:gd name="T43" fmla="*/ 158 h 239"/>
                  <a:gd name="T44" fmla="*/ 204 w 204"/>
                  <a:gd name="T45" fmla="*/ 118 h 239"/>
                  <a:gd name="T46" fmla="*/ 159 w 204"/>
                  <a:gd name="T47" fmla="*/ 119 h 239"/>
                  <a:gd name="T48" fmla="*/ 150 w 204"/>
                  <a:gd name="T49" fmla="*/ 163 h 239"/>
                  <a:gd name="T50" fmla="*/ 135 w 204"/>
                  <a:gd name="T51" fmla="*/ 183 h 239"/>
                  <a:gd name="T52" fmla="*/ 120 w 204"/>
                  <a:gd name="T53" fmla="*/ 193 h 239"/>
                  <a:gd name="T54" fmla="*/ 103 w 204"/>
                  <a:gd name="T55" fmla="*/ 197 h 239"/>
                  <a:gd name="T56" fmla="*/ 90 w 204"/>
                  <a:gd name="T57" fmla="*/ 195 h 239"/>
                  <a:gd name="T58" fmla="*/ 74 w 204"/>
                  <a:gd name="T59" fmla="*/ 189 h 239"/>
                  <a:gd name="T60" fmla="*/ 61 w 204"/>
                  <a:gd name="T61" fmla="*/ 177 h 239"/>
                  <a:gd name="T62" fmla="*/ 52 w 204"/>
                  <a:gd name="T63" fmla="*/ 159 h 239"/>
                  <a:gd name="T64" fmla="*/ 45 w 204"/>
                  <a:gd name="T65" fmla="*/ 118 h 239"/>
                  <a:gd name="T66" fmla="*/ 49 w 204"/>
                  <a:gd name="T67" fmla="*/ 87 h 239"/>
                  <a:gd name="T68" fmla="*/ 60 w 204"/>
                  <a:gd name="T69" fmla="*/ 63 h 239"/>
                  <a:gd name="T70" fmla="*/ 73 w 204"/>
                  <a:gd name="T71" fmla="*/ 51 h 239"/>
                  <a:gd name="T72" fmla="*/ 88 w 204"/>
                  <a:gd name="T73" fmla="*/ 44 h 239"/>
                  <a:gd name="T74" fmla="*/ 100 w 204"/>
                  <a:gd name="T75" fmla="*/ 43 h 239"/>
                  <a:gd name="T76" fmla="*/ 119 w 204"/>
                  <a:gd name="T77" fmla="*/ 46 h 239"/>
                  <a:gd name="T78" fmla="*/ 135 w 204"/>
                  <a:gd name="T79" fmla="*/ 55 h 239"/>
                  <a:gd name="T80" fmla="*/ 147 w 204"/>
                  <a:gd name="T81" fmla="*/ 69 h 239"/>
                  <a:gd name="T82" fmla="*/ 155 w 204"/>
                  <a:gd name="T83" fmla="*/ 88 h 239"/>
                  <a:gd name="T84" fmla="*/ 159 w 204"/>
                  <a:gd name="T85" fmla="*/ 11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4" h="239">
                    <a:moveTo>
                      <a:pt x="204" y="118"/>
                    </a:moveTo>
                    <a:lnTo>
                      <a:pt x="204" y="118"/>
                    </a:lnTo>
                    <a:lnTo>
                      <a:pt x="204" y="105"/>
                    </a:lnTo>
                    <a:lnTo>
                      <a:pt x="202" y="92"/>
                    </a:lnTo>
                    <a:lnTo>
                      <a:pt x="200" y="81"/>
                    </a:lnTo>
                    <a:lnTo>
                      <a:pt x="196" y="69"/>
                    </a:lnTo>
                    <a:lnTo>
                      <a:pt x="192" y="59"/>
                    </a:lnTo>
                    <a:lnTo>
                      <a:pt x="187" y="49"/>
                    </a:lnTo>
                    <a:lnTo>
                      <a:pt x="182" y="40"/>
                    </a:lnTo>
                    <a:lnTo>
                      <a:pt x="175" y="32"/>
                    </a:lnTo>
                    <a:lnTo>
                      <a:pt x="168" y="25"/>
                    </a:lnTo>
                    <a:lnTo>
                      <a:pt x="160" y="18"/>
                    </a:lnTo>
                    <a:lnTo>
                      <a:pt x="152" y="13"/>
                    </a:lnTo>
                    <a:lnTo>
                      <a:pt x="143" y="8"/>
                    </a:lnTo>
                    <a:lnTo>
                      <a:pt x="133" y="5"/>
                    </a:lnTo>
                    <a:lnTo>
                      <a:pt x="123" y="2"/>
                    </a:lnTo>
                    <a:lnTo>
                      <a:pt x="113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2" y="0"/>
                    </a:lnTo>
                    <a:lnTo>
                      <a:pt x="81" y="2"/>
                    </a:lnTo>
                    <a:lnTo>
                      <a:pt x="71" y="4"/>
                    </a:lnTo>
                    <a:lnTo>
                      <a:pt x="62" y="8"/>
                    </a:lnTo>
                    <a:lnTo>
                      <a:pt x="53" y="12"/>
                    </a:lnTo>
                    <a:lnTo>
                      <a:pt x="45" y="18"/>
                    </a:lnTo>
                    <a:lnTo>
                      <a:pt x="37" y="24"/>
                    </a:lnTo>
                    <a:lnTo>
                      <a:pt x="30" y="31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8"/>
                    </a:lnTo>
                    <a:lnTo>
                      <a:pt x="8" y="69"/>
                    </a:lnTo>
                    <a:lnTo>
                      <a:pt x="5" y="80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5"/>
                    </a:lnTo>
                    <a:lnTo>
                      <a:pt x="5" y="158"/>
                    </a:lnTo>
                    <a:lnTo>
                      <a:pt x="8" y="169"/>
                    </a:lnTo>
                    <a:lnTo>
                      <a:pt x="12" y="180"/>
                    </a:lnTo>
                    <a:lnTo>
                      <a:pt x="17" y="189"/>
                    </a:lnTo>
                    <a:lnTo>
                      <a:pt x="23" y="198"/>
                    </a:lnTo>
                    <a:lnTo>
                      <a:pt x="29" y="207"/>
                    </a:lnTo>
                    <a:lnTo>
                      <a:pt x="36" y="214"/>
                    </a:lnTo>
                    <a:lnTo>
                      <a:pt x="44" y="221"/>
                    </a:lnTo>
                    <a:lnTo>
                      <a:pt x="52" y="226"/>
                    </a:lnTo>
                    <a:lnTo>
                      <a:pt x="61" y="231"/>
                    </a:lnTo>
                    <a:lnTo>
                      <a:pt x="70" y="234"/>
                    </a:lnTo>
                    <a:lnTo>
                      <a:pt x="80" y="237"/>
                    </a:lnTo>
                    <a:lnTo>
                      <a:pt x="90" y="239"/>
                    </a:lnTo>
                    <a:lnTo>
                      <a:pt x="101" y="239"/>
                    </a:lnTo>
                    <a:lnTo>
                      <a:pt x="101" y="239"/>
                    </a:lnTo>
                    <a:lnTo>
                      <a:pt x="112" y="239"/>
                    </a:lnTo>
                    <a:lnTo>
                      <a:pt x="122" y="237"/>
                    </a:lnTo>
                    <a:lnTo>
                      <a:pt x="132" y="235"/>
                    </a:lnTo>
                    <a:lnTo>
                      <a:pt x="142" y="231"/>
                    </a:lnTo>
                    <a:lnTo>
                      <a:pt x="151" y="227"/>
                    </a:lnTo>
                    <a:lnTo>
                      <a:pt x="159" y="221"/>
                    </a:lnTo>
                    <a:lnTo>
                      <a:pt x="167" y="215"/>
                    </a:lnTo>
                    <a:lnTo>
                      <a:pt x="175" y="208"/>
                    </a:lnTo>
                    <a:lnTo>
                      <a:pt x="181" y="199"/>
                    </a:lnTo>
                    <a:lnTo>
                      <a:pt x="187" y="190"/>
                    </a:lnTo>
                    <a:lnTo>
                      <a:pt x="192" y="181"/>
                    </a:lnTo>
                    <a:lnTo>
                      <a:pt x="196" y="170"/>
                    </a:lnTo>
                    <a:lnTo>
                      <a:pt x="200" y="158"/>
                    </a:lnTo>
                    <a:lnTo>
                      <a:pt x="202" y="145"/>
                    </a:lnTo>
                    <a:lnTo>
                      <a:pt x="204" y="132"/>
                    </a:lnTo>
                    <a:lnTo>
                      <a:pt x="204" y="118"/>
                    </a:lnTo>
                    <a:lnTo>
                      <a:pt x="204" y="118"/>
                    </a:lnTo>
                    <a:close/>
                    <a:moveTo>
                      <a:pt x="159" y="119"/>
                    </a:moveTo>
                    <a:lnTo>
                      <a:pt x="159" y="119"/>
                    </a:lnTo>
                    <a:lnTo>
                      <a:pt x="158" y="135"/>
                    </a:lnTo>
                    <a:lnTo>
                      <a:pt x="155" y="150"/>
                    </a:lnTo>
                    <a:lnTo>
                      <a:pt x="150" y="163"/>
                    </a:lnTo>
                    <a:lnTo>
                      <a:pt x="143" y="174"/>
                    </a:lnTo>
                    <a:lnTo>
                      <a:pt x="140" y="179"/>
                    </a:lnTo>
                    <a:lnTo>
                      <a:pt x="135" y="183"/>
                    </a:lnTo>
                    <a:lnTo>
                      <a:pt x="131" y="187"/>
                    </a:lnTo>
                    <a:lnTo>
                      <a:pt x="126" y="191"/>
                    </a:lnTo>
                    <a:lnTo>
                      <a:pt x="120" y="193"/>
                    </a:lnTo>
                    <a:lnTo>
                      <a:pt x="115" y="195"/>
                    </a:lnTo>
                    <a:lnTo>
                      <a:pt x="109" y="196"/>
                    </a:lnTo>
                    <a:lnTo>
                      <a:pt x="103" y="197"/>
                    </a:lnTo>
                    <a:lnTo>
                      <a:pt x="103" y="197"/>
                    </a:lnTo>
                    <a:lnTo>
                      <a:pt x="96" y="196"/>
                    </a:lnTo>
                    <a:lnTo>
                      <a:pt x="90" y="195"/>
                    </a:lnTo>
                    <a:lnTo>
                      <a:pt x="85" y="194"/>
                    </a:lnTo>
                    <a:lnTo>
                      <a:pt x="79" y="192"/>
                    </a:lnTo>
                    <a:lnTo>
                      <a:pt x="74" y="189"/>
                    </a:lnTo>
                    <a:lnTo>
                      <a:pt x="70" y="185"/>
                    </a:lnTo>
                    <a:lnTo>
                      <a:pt x="65" y="181"/>
                    </a:lnTo>
                    <a:lnTo>
                      <a:pt x="61" y="177"/>
                    </a:lnTo>
                    <a:lnTo>
                      <a:pt x="58" y="171"/>
                    </a:lnTo>
                    <a:lnTo>
                      <a:pt x="55" y="166"/>
                    </a:lnTo>
                    <a:lnTo>
                      <a:pt x="52" y="159"/>
                    </a:lnTo>
                    <a:lnTo>
                      <a:pt x="50" y="152"/>
                    </a:lnTo>
                    <a:lnTo>
                      <a:pt x="47" y="136"/>
                    </a:lnTo>
                    <a:lnTo>
                      <a:pt x="45" y="118"/>
                    </a:lnTo>
                    <a:lnTo>
                      <a:pt x="45" y="118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8"/>
                    </a:lnTo>
                    <a:lnTo>
                      <a:pt x="60" y="63"/>
                    </a:lnTo>
                    <a:lnTo>
                      <a:pt x="64" y="59"/>
                    </a:lnTo>
                    <a:lnTo>
                      <a:pt x="68" y="54"/>
                    </a:lnTo>
                    <a:lnTo>
                      <a:pt x="73" y="51"/>
                    </a:lnTo>
                    <a:lnTo>
                      <a:pt x="77" y="48"/>
                    </a:lnTo>
                    <a:lnTo>
                      <a:pt x="83" y="46"/>
                    </a:lnTo>
                    <a:lnTo>
                      <a:pt x="88" y="44"/>
                    </a:lnTo>
                    <a:lnTo>
                      <a:pt x="94" y="43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107" y="43"/>
                    </a:lnTo>
                    <a:lnTo>
                      <a:pt x="113" y="44"/>
                    </a:lnTo>
                    <a:lnTo>
                      <a:pt x="119" y="46"/>
                    </a:lnTo>
                    <a:lnTo>
                      <a:pt x="125" y="48"/>
                    </a:lnTo>
                    <a:lnTo>
                      <a:pt x="130" y="51"/>
                    </a:lnTo>
                    <a:lnTo>
                      <a:pt x="135" y="55"/>
                    </a:lnTo>
                    <a:lnTo>
                      <a:pt x="139" y="59"/>
                    </a:lnTo>
                    <a:lnTo>
                      <a:pt x="143" y="63"/>
                    </a:lnTo>
                    <a:lnTo>
                      <a:pt x="147" y="69"/>
                    </a:lnTo>
                    <a:lnTo>
                      <a:pt x="150" y="75"/>
                    </a:lnTo>
                    <a:lnTo>
                      <a:pt x="153" y="81"/>
                    </a:lnTo>
                    <a:lnTo>
                      <a:pt x="155" y="88"/>
                    </a:lnTo>
                    <a:lnTo>
                      <a:pt x="158" y="103"/>
                    </a:lnTo>
                    <a:lnTo>
                      <a:pt x="159" y="119"/>
                    </a:lnTo>
                    <a:lnTo>
                      <a:pt x="159" y="11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5" name="Freeform 54"/>
              <p:cNvSpPr>
                <a:spLocks/>
              </p:cNvSpPr>
              <p:nvPr userDrawn="1"/>
            </p:nvSpPr>
            <p:spPr bwMode="auto">
              <a:xfrm>
                <a:off x="1454150" y="6360332"/>
                <a:ext cx="123825" cy="93663"/>
              </a:xfrm>
              <a:custGeom>
                <a:avLst/>
                <a:gdLst>
                  <a:gd name="T0" fmla="*/ 179 w 313"/>
                  <a:gd name="T1" fmla="*/ 235 h 235"/>
                  <a:gd name="T2" fmla="*/ 206 w 313"/>
                  <a:gd name="T3" fmla="*/ 131 h 235"/>
                  <a:gd name="T4" fmla="*/ 313 w 313"/>
                  <a:gd name="T5" fmla="*/ 235 h 235"/>
                  <a:gd name="T6" fmla="*/ 269 w 313"/>
                  <a:gd name="T7" fmla="*/ 53 h 235"/>
                  <a:gd name="T8" fmla="*/ 273 w 313"/>
                  <a:gd name="T9" fmla="*/ 47 h 235"/>
                  <a:gd name="T10" fmla="*/ 283 w 313"/>
                  <a:gd name="T11" fmla="*/ 40 h 235"/>
                  <a:gd name="T12" fmla="*/ 289 w 313"/>
                  <a:gd name="T13" fmla="*/ 39 h 235"/>
                  <a:gd name="T14" fmla="*/ 300 w 313"/>
                  <a:gd name="T15" fmla="*/ 40 h 235"/>
                  <a:gd name="T16" fmla="*/ 307 w 313"/>
                  <a:gd name="T17" fmla="*/ 44 h 235"/>
                  <a:gd name="T18" fmla="*/ 307 w 313"/>
                  <a:gd name="T19" fmla="*/ 5 h 235"/>
                  <a:gd name="T20" fmla="*/ 291 w 313"/>
                  <a:gd name="T21" fmla="*/ 0 h 235"/>
                  <a:gd name="T22" fmla="*/ 284 w 313"/>
                  <a:gd name="T23" fmla="*/ 0 h 235"/>
                  <a:gd name="T24" fmla="*/ 270 w 313"/>
                  <a:gd name="T25" fmla="*/ 2 h 235"/>
                  <a:gd name="T26" fmla="*/ 258 w 313"/>
                  <a:gd name="T27" fmla="*/ 8 h 235"/>
                  <a:gd name="T28" fmla="*/ 247 w 313"/>
                  <a:gd name="T29" fmla="*/ 19 h 235"/>
                  <a:gd name="T30" fmla="*/ 238 w 313"/>
                  <a:gd name="T31" fmla="*/ 35 h 235"/>
                  <a:gd name="T32" fmla="*/ 179 w 313"/>
                  <a:gd name="T33" fmla="*/ 94 h 235"/>
                  <a:gd name="T34" fmla="*/ 135 w 313"/>
                  <a:gd name="T35" fmla="*/ 5 h 235"/>
                  <a:gd name="T36" fmla="*/ 108 w 313"/>
                  <a:gd name="T37" fmla="*/ 94 h 235"/>
                  <a:gd name="T38" fmla="*/ 75 w 313"/>
                  <a:gd name="T39" fmla="*/ 35 h 235"/>
                  <a:gd name="T40" fmla="*/ 66 w 313"/>
                  <a:gd name="T41" fmla="*/ 19 h 235"/>
                  <a:gd name="T42" fmla="*/ 56 w 313"/>
                  <a:gd name="T43" fmla="*/ 8 h 235"/>
                  <a:gd name="T44" fmla="*/ 43 w 313"/>
                  <a:gd name="T45" fmla="*/ 2 h 235"/>
                  <a:gd name="T46" fmla="*/ 29 w 313"/>
                  <a:gd name="T47" fmla="*/ 0 h 235"/>
                  <a:gd name="T48" fmla="*/ 23 w 313"/>
                  <a:gd name="T49" fmla="*/ 0 h 235"/>
                  <a:gd name="T50" fmla="*/ 6 w 313"/>
                  <a:gd name="T51" fmla="*/ 5 h 235"/>
                  <a:gd name="T52" fmla="*/ 6 w 313"/>
                  <a:gd name="T53" fmla="*/ 44 h 235"/>
                  <a:gd name="T54" fmla="*/ 14 w 313"/>
                  <a:gd name="T55" fmla="*/ 40 h 235"/>
                  <a:gd name="T56" fmla="*/ 25 w 313"/>
                  <a:gd name="T57" fmla="*/ 39 h 235"/>
                  <a:gd name="T58" fmla="*/ 31 w 313"/>
                  <a:gd name="T59" fmla="*/ 40 h 235"/>
                  <a:gd name="T60" fmla="*/ 41 w 313"/>
                  <a:gd name="T61" fmla="*/ 47 h 235"/>
                  <a:gd name="T62" fmla="*/ 73 w 313"/>
                  <a:gd name="T63" fmla="*/ 107 h 235"/>
                  <a:gd name="T64" fmla="*/ 49 w 313"/>
                  <a:gd name="T65" fmla="*/ 235 h 235"/>
                  <a:gd name="T66" fmla="*/ 135 w 313"/>
                  <a:gd name="T67" fmla="*/ 13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13" h="235">
                    <a:moveTo>
                      <a:pt x="135" y="235"/>
                    </a:moveTo>
                    <a:lnTo>
                      <a:pt x="179" y="235"/>
                    </a:lnTo>
                    <a:lnTo>
                      <a:pt x="179" y="131"/>
                    </a:lnTo>
                    <a:lnTo>
                      <a:pt x="206" y="131"/>
                    </a:lnTo>
                    <a:lnTo>
                      <a:pt x="264" y="235"/>
                    </a:lnTo>
                    <a:lnTo>
                      <a:pt x="313" y="235"/>
                    </a:lnTo>
                    <a:lnTo>
                      <a:pt x="240" y="107"/>
                    </a:lnTo>
                    <a:lnTo>
                      <a:pt x="269" y="53"/>
                    </a:lnTo>
                    <a:lnTo>
                      <a:pt x="269" y="53"/>
                    </a:lnTo>
                    <a:lnTo>
                      <a:pt x="273" y="47"/>
                    </a:lnTo>
                    <a:lnTo>
                      <a:pt x="277" y="43"/>
                    </a:lnTo>
                    <a:lnTo>
                      <a:pt x="283" y="40"/>
                    </a:lnTo>
                    <a:lnTo>
                      <a:pt x="289" y="39"/>
                    </a:lnTo>
                    <a:lnTo>
                      <a:pt x="289" y="39"/>
                    </a:lnTo>
                    <a:lnTo>
                      <a:pt x="295" y="39"/>
                    </a:lnTo>
                    <a:lnTo>
                      <a:pt x="300" y="40"/>
                    </a:lnTo>
                    <a:lnTo>
                      <a:pt x="304" y="42"/>
                    </a:lnTo>
                    <a:lnTo>
                      <a:pt x="307" y="44"/>
                    </a:lnTo>
                    <a:lnTo>
                      <a:pt x="307" y="5"/>
                    </a:lnTo>
                    <a:lnTo>
                      <a:pt x="307" y="5"/>
                    </a:lnTo>
                    <a:lnTo>
                      <a:pt x="296" y="1"/>
                    </a:lnTo>
                    <a:lnTo>
                      <a:pt x="291" y="0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277" y="0"/>
                    </a:lnTo>
                    <a:lnTo>
                      <a:pt x="270" y="2"/>
                    </a:lnTo>
                    <a:lnTo>
                      <a:pt x="264" y="5"/>
                    </a:lnTo>
                    <a:lnTo>
                      <a:pt x="258" y="8"/>
                    </a:lnTo>
                    <a:lnTo>
                      <a:pt x="252" y="13"/>
                    </a:lnTo>
                    <a:lnTo>
                      <a:pt x="247" y="19"/>
                    </a:lnTo>
                    <a:lnTo>
                      <a:pt x="243" y="26"/>
                    </a:lnTo>
                    <a:lnTo>
                      <a:pt x="238" y="35"/>
                    </a:lnTo>
                    <a:lnTo>
                      <a:pt x="206" y="94"/>
                    </a:lnTo>
                    <a:lnTo>
                      <a:pt x="179" y="94"/>
                    </a:lnTo>
                    <a:lnTo>
                      <a:pt x="179" y="5"/>
                    </a:lnTo>
                    <a:lnTo>
                      <a:pt x="135" y="5"/>
                    </a:lnTo>
                    <a:lnTo>
                      <a:pt x="135" y="94"/>
                    </a:lnTo>
                    <a:lnTo>
                      <a:pt x="108" y="94"/>
                    </a:lnTo>
                    <a:lnTo>
                      <a:pt x="75" y="35"/>
                    </a:lnTo>
                    <a:lnTo>
                      <a:pt x="75" y="35"/>
                    </a:lnTo>
                    <a:lnTo>
                      <a:pt x="71" y="26"/>
                    </a:lnTo>
                    <a:lnTo>
                      <a:pt x="66" y="19"/>
                    </a:lnTo>
                    <a:lnTo>
                      <a:pt x="61" y="13"/>
                    </a:lnTo>
                    <a:lnTo>
                      <a:pt x="56" y="8"/>
                    </a:lnTo>
                    <a:lnTo>
                      <a:pt x="50" y="5"/>
                    </a:lnTo>
                    <a:lnTo>
                      <a:pt x="43" y="2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3" y="0"/>
                    </a:lnTo>
                    <a:lnTo>
                      <a:pt x="17" y="1"/>
                    </a:lnTo>
                    <a:lnTo>
                      <a:pt x="6" y="5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0" y="42"/>
                    </a:lnTo>
                    <a:lnTo>
                      <a:pt x="14" y="40"/>
                    </a:lnTo>
                    <a:lnTo>
                      <a:pt x="19" y="39"/>
                    </a:lnTo>
                    <a:lnTo>
                      <a:pt x="25" y="39"/>
                    </a:lnTo>
                    <a:lnTo>
                      <a:pt x="25" y="39"/>
                    </a:lnTo>
                    <a:lnTo>
                      <a:pt x="31" y="40"/>
                    </a:lnTo>
                    <a:lnTo>
                      <a:pt x="36" y="43"/>
                    </a:lnTo>
                    <a:lnTo>
                      <a:pt x="41" y="47"/>
                    </a:lnTo>
                    <a:lnTo>
                      <a:pt x="45" y="53"/>
                    </a:lnTo>
                    <a:lnTo>
                      <a:pt x="73" y="107"/>
                    </a:lnTo>
                    <a:lnTo>
                      <a:pt x="0" y="235"/>
                    </a:lnTo>
                    <a:lnTo>
                      <a:pt x="49" y="235"/>
                    </a:lnTo>
                    <a:lnTo>
                      <a:pt x="108" y="131"/>
                    </a:lnTo>
                    <a:lnTo>
                      <a:pt x="135" y="131"/>
                    </a:lnTo>
                    <a:lnTo>
                      <a:pt x="135" y="23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6" name="Freeform 55"/>
              <p:cNvSpPr>
                <a:spLocks/>
              </p:cNvSpPr>
              <p:nvPr userDrawn="1"/>
            </p:nvSpPr>
            <p:spPr bwMode="auto">
              <a:xfrm>
                <a:off x="1593850" y="6363507"/>
                <a:ext cx="73025" cy="90488"/>
              </a:xfrm>
              <a:custGeom>
                <a:avLst/>
                <a:gdLst>
                  <a:gd name="T0" fmla="*/ 139 w 184"/>
                  <a:gd name="T1" fmla="*/ 0 h 230"/>
                  <a:gd name="T2" fmla="*/ 139 w 184"/>
                  <a:gd name="T3" fmla="*/ 87 h 230"/>
                  <a:gd name="T4" fmla="*/ 45 w 184"/>
                  <a:gd name="T5" fmla="*/ 87 h 230"/>
                  <a:gd name="T6" fmla="*/ 45 w 184"/>
                  <a:gd name="T7" fmla="*/ 0 h 230"/>
                  <a:gd name="T8" fmla="*/ 0 w 184"/>
                  <a:gd name="T9" fmla="*/ 0 h 230"/>
                  <a:gd name="T10" fmla="*/ 0 w 184"/>
                  <a:gd name="T11" fmla="*/ 230 h 230"/>
                  <a:gd name="T12" fmla="*/ 45 w 184"/>
                  <a:gd name="T13" fmla="*/ 230 h 230"/>
                  <a:gd name="T14" fmla="*/ 45 w 184"/>
                  <a:gd name="T15" fmla="*/ 126 h 230"/>
                  <a:gd name="T16" fmla="*/ 139 w 184"/>
                  <a:gd name="T17" fmla="*/ 126 h 230"/>
                  <a:gd name="T18" fmla="*/ 139 w 184"/>
                  <a:gd name="T19" fmla="*/ 230 h 230"/>
                  <a:gd name="T20" fmla="*/ 184 w 184"/>
                  <a:gd name="T21" fmla="*/ 230 h 230"/>
                  <a:gd name="T22" fmla="*/ 184 w 184"/>
                  <a:gd name="T23" fmla="*/ 0 h 230"/>
                  <a:gd name="T24" fmla="*/ 139 w 184"/>
                  <a:gd name="T25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4" h="230">
                    <a:moveTo>
                      <a:pt x="139" y="0"/>
                    </a:moveTo>
                    <a:lnTo>
                      <a:pt x="139" y="87"/>
                    </a:lnTo>
                    <a:lnTo>
                      <a:pt x="45" y="87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5" y="230"/>
                    </a:lnTo>
                    <a:lnTo>
                      <a:pt x="45" y="126"/>
                    </a:lnTo>
                    <a:lnTo>
                      <a:pt x="139" y="126"/>
                    </a:lnTo>
                    <a:lnTo>
                      <a:pt x="139" y="230"/>
                    </a:lnTo>
                    <a:lnTo>
                      <a:pt x="184" y="230"/>
                    </a:lnTo>
                    <a:lnTo>
                      <a:pt x="184" y="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7" name="Freeform 56"/>
              <p:cNvSpPr>
                <a:spLocks noEditPoints="1"/>
              </p:cNvSpPr>
              <p:nvPr userDrawn="1"/>
            </p:nvSpPr>
            <p:spPr bwMode="auto">
              <a:xfrm>
                <a:off x="1689100" y="6363507"/>
                <a:ext cx="100013" cy="90488"/>
              </a:xfrm>
              <a:custGeom>
                <a:avLst/>
                <a:gdLst>
                  <a:gd name="T0" fmla="*/ 0 w 248"/>
                  <a:gd name="T1" fmla="*/ 0 h 230"/>
                  <a:gd name="T2" fmla="*/ 91 w 248"/>
                  <a:gd name="T3" fmla="*/ 230 h 230"/>
                  <a:gd name="T4" fmla="*/ 99 w 248"/>
                  <a:gd name="T5" fmla="*/ 229 h 230"/>
                  <a:gd name="T6" fmla="*/ 115 w 248"/>
                  <a:gd name="T7" fmla="*/ 227 h 230"/>
                  <a:gd name="T8" fmla="*/ 129 w 248"/>
                  <a:gd name="T9" fmla="*/ 222 h 230"/>
                  <a:gd name="T10" fmla="*/ 142 w 248"/>
                  <a:gd name="T11" fmla="*/ 215 h 230"/>
                  <a:gd name="T12" fmla="*/ 152 w 248"/>
                  <a:gd name="T13" fmla="*/ 206 h 230"/>
                  <a:gd name="T14" fmla="*/ 160 w 248"/>
                  <a:gd name="T15" fmla="*/ 194 h 230"/>
                  <a:gd name="T16" fmla="*/ 166 w 248"/>
                  <a:gd name="T17" fmla="*/ 180 h 230"/>
                  <a:gd name="T18" fmla="*/ 169 w 248"/>
                  <a:gd name="T19" fmla="*/ 164 h 230"/>
                  <a:gd name="T20" fmla="*/ 169 w 248"/>
                  <a:gd name="T21" fmla="*/ 155 h 230"/>
                  <a:gd name="T22" fmla="*/ 168 w 248"/>
                  <a:gd name="T23" fmla="*/ 137 h 230"/>
                  <a:gd name="T24" fmla="*/ 163 w 248"/>
                  <a:gd name="T25" fmla="*/ 122 h 230"/>
                  <a:gd name="T26" fmla="*/ 157 w 248"/>
                  <a:gd name="T27" fmla="*/ 109 h 230"/>
                  <a:gd name="T28" fmla="*/ 148 w 248"/>
                  <a:gd name="T29" fmla="*/ 99 h 230"/>
                  <a:gd name="T30" fmla="*/ 137 w 248"/>
                  <a:gd name="T31" fmla="*/ 91 h 230"/>
                  <a:gd name="T32" fmla="*/ 124 w 248"/>
                  <a:gd name="T33" fmla="*/ 85 h 230"/>
                  <a:gd name="T34" fmla="*/ 109 w 248"/>
                  <a:gd name="T35" fmla="*/ 81 h 230"/>
                  <a:gd name="T36" fmla="*/ 93 w 248"/>
                  <a:gd name="T37" fmla="*/ 80 h 230"/>
                  <a:gd name="T38" fmla="*/ 45 w 248"/>
                  <a:gd name="T39" fmla="*/ 0 h 230"/>
                  <a:gd name="T40" fmla="*/ 45 w 248"/>
                  <a:gd name="T41" fmla="*/ 117 h 230"/>
                  <a:gd name="T42" fmla="*/ 89 w 248"/>
                  <a:gd name="T43" fmla="*/ 117 h 230"/>
                  <a:gd name="T44" fmla="*/ 105 w 248"/>
                  <a:gd name="T45" fmla="*/ 120 h 230"/>
                  <a:gd name="T46" fmla="*/ 116 w 248"/>
                  <a:gd name="T47" fmla="*/ 127 h 230"/>
                  <a:gd name="T48" fmla="*/ 124 w 248"/>
                  <a:gd name="T49" fmla="*/ 138 h 230"/>
                  <a:gd name="T50" fmla="*/ 126 w 248"/>
                  <a:gd name="T51" fmla="*/ 155 h 230"/>
                  <a:gd name="T52" fmla="*/ 126 w 248"/>
                  <a:gd name="T53" fmla="*/ 163 h 230"/>
                  <a:gd name="T54" fmla="*/ 121 w 248"/>
                  <a:gd name="T55" fmla="*/ 177 h 230"/>
                  <a:gd name="T56" fmla="*/ 112 w 248"/>
                  <a:gd name="T57" fmla="*/ 187 h 230"/>
                  <a:gd name="T58" fmla="*/ 98 w 248"/>
                  <a:gd name="T59" fmla="*/ 192 h 230"/>
                  <a:gd name="T60" fmla="*/ 45 w 248"/>
                  <a:gd name="T61" fmla="*/ 192 h 230"/>
                  <a:gd name="T62" fmla="*/ 248 w 248"/>
                  <a:gd name="T63" fmla="*/ 0 h 230"/>
                  <a:gd name="T64" fmla="*/ 203 w 248"/>
                  <a:gd name="T65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8" h="230">
                    <a:moveTo>
                      <a:pt x="45" y="0"/>
                    </a:moveTo>
                    <a:lnTo>
                      <a:pt x="0" y="0"/>
                    </a:lnTo>
                    <a:lnTo>
                      <a:pt x="0" y="230"/>
                    </a:lnTo>
                    <a:lnTo>
                      <a:pt x="91" y="230"/>
                    </a:lnTo>
                    <a:lnTo>
                      <a:pt x="91" y="230"/>
                    </a:lnTo>
                    <a:lnTo>
                      <a:pt x="99" y="229"/>
                    </a:lnTo>
                    <a:lnTo>
                      <a:pt x="107" y="228"/>
                    </a:lnTo>
                    <a:lnTo>
                      <a:pt x="115" y="227"/>
                    </a:lnTo>
                    <a:lnTo>
                      <a:pt x="122" y="225"/>
                    </a:lnTo>
                    <a:lnTo>
                      <a:pt x="129" y="222"/>
                    </a:lnTo>
                    <a:lnTo>
                      <a:pt x="136" y="219"/>
                    </a:lnTo>
                    <a:lnTo>
                      <a:pt x="142" y="215"/>
                    </a:lnTo>
                    <a:lnTo>
                      <a:pt x="147" y="211"/>
                    </a:lnTo>
                    <a:lnTo>
                      <a:pt x="152" y="206"/>
                    </a:lnTo>
                    <a:lnTo>
                      <a:pt x="157" y="200"/>
                    </a:lnTo>
                    <a:lnTo>
                      <a:pt x="160" y="194"/>
                    </a:lnTo>
                    <a:lnTo>
                      <a:pt x="163" y="187"/>
                    </a:lnTo>
                    <a:lnTo>
                      <a:pt x="166" y="180"/>
                    </a:lnTo>
                    <a:lnTo>
                      <a:pt x="168" y="172"/>
                    </a:lnTo>
                    <a:lnTo>
                      <a:pt x="169" y="164"/>
                    </a:lnTo>
                    <a:lnTo>
                      <a:pt x="169" y="155"/>
                    </a:lnTo>
                    <a:lnTo>
                      <a:pt x="169" y="155"/>
                    </a:lnTo>
                    <a:lnTo>
                      <a:pt x="169" y="146"/>
                    </a:lnTo>
                    <a:lnTo>
                      <a:pt x="168" y="137"/>
                    </a:lnTo>
                    <a:lnTo>
                      <a:pt x="166" y="129"/>
                    </a:lnTo>
                    <a:lnTo>
                      <a:pt x="163" y="122"/>
                    </a:lnTo>
                    <a:lnTo>
                      <a:pt x="160" y="115"/>
                    </a:lnTo>
                    <a:lnTo>
                      <a:pt x="157" y="109"/>
                    </a:lnTo>
                    <a:lnTo>
                      <a:pt x="152" y="104"/>
                    </a:lnTo>
                    <a:lnTo>
                      <a:pt x="148" y="99"/>
                    </a:lnTo>
                    <a:lnTo>
                      <a:pt x="142" y="94"/>
                    </a:lnTo>
                    <a:lnTo>
                      <a:pt x="137" y="91"/>
                    </a:lnTo>
                    <a:lnTo>
                      <a:pt x="130" y="88"/>
                    </a:lnTo>
                    <a:lnTo>
                      <a:pt x="124" y="85"/>
                    </a:lnTo>
                    <a:lnTo>
                      <a:pt x="117" y="83"/>
                    </a:lnTo>
                    <a:lnTo>
                      <a:pt x="109" y="81"/>
                    </a:lnTo>
                    <a:lnTo>
                      <a:pt x="101" y="81"/>
                    </a:lnTo>
                    <a:lnTo>
                      <a:pt x="93" y="80"/>
                    </a:lnTo>
                    <a:lnTo>
                      <a:pt x="45" y="80"/>
                    </a:lnTo>
                    <a:lnTo>
                      <a:pt x="45" y="0"/>
                    </a:lnTo>
                    <a:close/>
                    <a:moveTo>
                      <a:pt x="45" y="192"/>
                    </a:moveTo>
                    <a:lnTo>
                      <a:pt x="45" y="117"/>
                    </a:lnTo>
                    <a:lnTo>
                      <a:pt x="89" y="117"/>
                    </a:lnTo>
                    <a:lnTo>
                      <a:pt x="89" y="117"/>
                    </a:lnTo>
                    <a:lnTo>
                      <a:pt x="98" y="118"/>
                    </a:lnTo>
                    <a:lnTo>
                      <a:pt x="105" y="120"/>
                    </a:lnTo>
                    <a:lnTo>
                      <a:pt x="111" y="123"/>
                    </a:lnTo>
                    <a:lnTo>
                      <a:pt x="116" y="127"/>
                    </a:lnTo>
                    <a:lnTo>
                      <a:pt x="121" y="132"/>
                    </a:lnTo>
                    <a:lnTo>
                      <a:pt x="124" y="138"/>
                    </a:lnTo>
                    <a:lnTo>
                      <a:pt x="126" y="147"/>
                    </a:lnTo>
                    <a:lnTo>
                      <a:pt x="126" y="155"/>
                    </a:lnTo>
                    <a:lnTo>
                      <a:pt x="126" y="155"/>
                    </a:lnTo>
                    <a:lnTo>
                      <a:pt x="126" y="163"/>
                    </a:lnTo>
                    <a:lnTo>
                      <a:pt x="124" y="171"/>
                    </a:lnTo>
                    <a:lnTo>
                      <a:pt x="121" y="177"/>
                    </a:lnTo>
                    <a:lnTo>
                      <a:pt x="117" y="182"/>
                    </a:lnTo>
                    <a:lnTo>
                      <a:pt x="112" y="187"/>
                    </a:lnTo>
                    <a:lnTo>
                      <a:pt x="106" y="190"/>
                    </a:lnTo>
                    <a:lnTo>
                      <a:pt x="98" y="192"/>
                    </a:lnTo>
                    <a:lnTo>
                      <a:pt x="89" y="192"/>
                    </a:lnTo>
                    <a:lnTo>
                      <a:pt x="45" y="192"/>
                    </a:lnTo>
                    <a:close/>
                    <a:moveTo>
                      <a:pt x="248" y="230"/>
                    </a:moveTo>
                    <a:lnTo>
                      <a:pt x="248" y="0"/>
                    </a:lnTo>
                    <a:lnTo>
                      <a:pt x="203" y="0"/>
                    </a:lnTo>
                    <a:lnTo>
                      <a:pt x="203" y="230"/>
                    </a:lnTo>
                    <a:lnTo>
                      <a:pt x="248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8" name="Freeform 57"/>
              <p:cNvSpPr>
                <a:spLocks noEditPoints="1"/>
              </p:cNvSpPr>
              <p:nvPr userDrawn="1"/>
            </p:nvSpPr>
            <p:spPr bwMode="auto">
              <a:xfrm>
                <a:off x="1806575" y="6360332"/>
                <a:ext cx="77788" cy="95250"/>
              </a:xfrm>
              <a:custGeom>
                <a:avLst/>
                <a:gdLst>
                  <a:gd name="T0" fmla="*/ 196 w 196"/>
                  <a:gd name="T1" fmla="*/ 114 h 239"/>
                  <a:gd name="T2" fmla="*/ 195 w 196"/>
                  <a:gd name="T3" fmla="*/ 92 h 239"/>
                  <a:gd name="T4" fmla="*/ 190 w 196"/>
                  <a:gd name="T5" fmla="*/ 70 h 239"/>
                  <a:gd name="T6" fmla="*/ 183 w 196"/>
                  <a:gd name="T7" fmla="*/ 51 h 239"/>
                  <a:gd name="T8" fmla="*/ 173 w 196"/>
                  <a:gd name="T9" fmla="*/ 34 h 239"/>
                  <a:gd name="T10" fmla="*/ 159 w 196"/>
                  <a:gd name="T11" fmla="*/ 20 h 239"/>
                  <a:gd name="T12" fmla="*/ 143 w 196"/>
                  <a:gd name="T13" fmla="*/ 9 h 239"/>
                  <a:gd name="T14" fmla="*/ 123 w 196"/>
                  <a:gd name="T15" fmla="*/ 2 h 239"/>
                  <a:gd name="T16" fmla="*/ 100 w 196"/>
                  <a:gd name="T17" fmla="*/ 0 h 239"/>
                  <a:gd name="T18" fmla="*/ 89 w 196"/>
                  <a:gd name="T19" fmla="*/ 0 h 239"/>
                  <a:gd name="T20" fmla="*/ 69 w 196"/>
                  <a:gd name="T21" fmla="*/ 4 h 239"/>
                  <a:gd name="T22" fmla="*/ 51 w 196"/>
                  <a:gd name="T23" fmla="*/ 12 h 239"/>
                  <a:gd name="T24" fmla="*/ 35 w 196"/>
                  <a:gd name="T25" fmla="*/ 23 h 239"/>
                  <a:gd name="T26" fmla="*/ 21 w 196"/>
                  <a:gd name="T27" fmla="*/ 38 h 239"/>
                  <a:gd name="T28" fmla="*/ 11 w 196"/>
                  <a:gd name="T29" fmla="*/ 57 h 239"/>
                  <a:gd name="T30" fmla="*/ 4 w 196"/>
                  <a:gd name="T31" fmla="*/ 79 h 239"/>
                  <a:gd name="T32" fmla="*/ 0 w 196"/>
                  <a:gd name="T33" fmla="*/ 105 h 239"/>
                  <a:gd name="T34" fmla="*/ 0 w 196"/>
                  <a:gd name="T35" fmla="*/ 119 h 239"/>
                  <a:gd name="T36" fmla="*/ 2 w 196"/>
                  <a:gd name="T37" fmla="*/ 147 h 239"/>
                  <a:gd name="T38" fmla="*/ 8 w 196"/>
                  <a:gd name="T39" fmla="*/ 173 h 239"/>
                  <a:gd name="T40" fmla="*/ 18 w 196"/>
                  <a:gd name="T41" fmla="*/ 193 h 239"/>
                  <a:gd name="T42" fmla="*/ 30 w 196"/>
                  <a:gd name="T43" fmla="*/ 209 h 239"/>
                  <a:gd name="T44" fmla="*/ 36 w 196"/>
                  <a:gd name="T45" fmla="*/ 215 h 239"/>
                  <a:gd name="T46" fmla="*/ 51 w 196"/>
                  <a:gd name="T47" fmla="*/ 226 h 239"/>
                  <a:gd name="T48" fmla="*/ 68 w 196"/>
                  <a:gd name="T49" fmla="*/ 234 h 239"/>
                  <a:gd name="T50" fmla="*/ 88 w 196"/>
                  <a:gd name="T51" fmla="*/ 239 h 239"/>
                  <a:gd name="T52" fmla="*/ 99 w 196"/>
                  <a:gd name="T53" fmla="*/ 239 h 239"/>
                  <a:gd name="T54" fmla="*/ 124 w 196"/>
                  <a:gd name="T55" fmla="*/ 237 h 239"/>
                  <a:gd name="T56" fmla="*/ 145 w 196"/>
                  <a:gd name="T57" fmla="*/ 231 h 239"/>
                  <a:gd name="T58" fmla="*/ 153 w 196"/>
                  <a:gd name="T59" fmla="*/ 227 h 239"/>
                  <a:gd name="T60" fmla="*/ 169 w 196"/>
                  <a:gd name="T61" fmla="*/ 217 h 239"/>
                  <a:gd name="T62" fmla="*/ 151 w 196"/>
                  <a:gd name="T63" fmla="*/ 180 h 239"/>
                  <a:gd name="T64" fmla="*/ 139 w 196"/>
                  <a:gd name="T65" fmla="*/ 188 h 239"/>
                  <a:gd name="T66" fmla="*/ 128 w 196"/>
                  <a:gd name="T67" fmla="*/ 194 h 239"/>
                  <a:gd name="T68" fmla="*/ 115 w 196"/>
                  <a:gd name="T69" fmla="*/ 197 h 239"/>
                  <a:gd name="T70" fmla="*/ 101 w 196"/>
                  <a:gd name="T71" fmla="*/ 199 h 239"/>
                  <a:gd name="T72" fmla="*/ 91 w 196"/>
                  <a:gd name="T73" fmla="*/ 198 h 239"/>
                  <a:gd name="T74" fmla="*/ 72 w 196"/>
                  <a:gd name="T75" fmla="*/ 191 h 239"/>
                  <a:gd name="T76" fmla="*/ 57 w 196"/>
                  <a:gd name="T77" fmla="*/ 175 h 239"/>
                  <a:gd name="T78" fmla="*/ 47 w 196"/>
                  <a:gd name="T79" fmla="*/ 151 h 239"/>
                  <a:gd name="T80" fmla="*/ 195 w 196"/>
                  <a:gd name="T81" fmla="*/ 135 h 239"/>
                  <a:gd name="T82" fmla="*/ 196 w 196"/>
                  <a:gd name="T83" fmla="*/ 126 h 239"/>
                  <a:gd name="T84" fmla="*/ 196 w 196"/>
                  <a:gd name="T85" fmla="*/ 114 h 239"/>
                  <a:gd name="T86" fmla="*/ 45 w 196"/>
                  <a:gd name="T87" fmla="*/ 98 h 239"/>
                  <a:gd name="T88" fmla="*/ 50 w 196"/>
                  <a:gd name="T89" fmla="*/ 73 h 239"/>
                  <a:gd name="T90" fmla="*/ 61 w 196"/>
                  <a:gd name="T91" fmla="*/ 55 h 239"/>
                  <a:gd name="T92" fmla="*/ 76 w 196"/>
                  <a:gd name="T93" fmla="*/ 44 h 239"/>
                  <a:gd name="T94" fmla="*/ 97 w 196"/>
                  <a:gd name="T95" fmla="*/ 40 h 239"/>
                  <a:gd name="T96" fmla="*/ 104 w 196"/>
                  <a:gd name="T97" fmla="*/ 41 h 239"/>
                  <a:gd name="T98" fmla="*/ 116 w 196"/>
                  <a:gd name="T99" fmla="*/ 43 h 239"/>
                  <a:gd name="T100" fmla="*/ 126 w 196"/>
                  <a:gd name="T101" fmla="*/ 47 h 239"/>
                  <a:gd name="T102" fmla="*/ 137 w 196"/>
                  <a:gd name="T103" fmla="*/ 57 h 239"/>
                  <a:gd name="T104" fmla="*/ 147 w 196"/>
                  <a:gd name="T105" fmla="*/ 76 h 239"/>
                  <a:gd name="T106" fmla="*/ 151 w 196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6" h="239">
                    <a:moveTo>
                      <a:pt x="196" y="114"/>
                    </a:moveTo>
                    <a:lnTo>
                      <a:pt x="196" y="114"/>
                    </a:lnTo>
                    <a:lnTo>
                      <a:pt x="196" y="103"/>
                    </a:lnTo>
                    <a:lnTo>
                      <a:pt x="195" y="92"/>
                    </a:lnTo>
                    <a:lnTo>
                      <a:pt x="193" y="81"/>
                    </a:lnTo>
                    <a:lnTo>
                      <a:pt x="190" y="70"/>
                    </a:lnTo>
                    <a:lnTo>
                      <a:pt x="187" y="60"/>
                    </a:lnTo>
                    <a:lnTo>
                      <a:pt x="183" y="51"/>
                    </a:lnTo>
                    <a:lnTo>
                      <a:pt x="178" y="42"/>
                    </a:lnTo>
                    <a:lnTo>
                      <a:pt x="173" y="34"/>
                    </a:lnTo>
                    <a:lnTo>
                      <a:pt x="166" y="26"/>
                    </a:lnTo>
                    <a:lnTo>
                      <a:pt x="159" y="20"/>
                    </a:lnTo>
                    <a:lnTo>
                      <a:pt x="151" y="14"/>
                    </a:lnTo>
                    <a:lnTo>
                      <a:pt x="143" y="9"/>
                    </a:lnTo>
                    <a:lnTo>
                      <a:pt x="133" y="5"/>
                    </a:lnTo>
                    <a:lnTo>
                      <a:pt x="123" y="2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9" y="2"/>
                    </a:lnTo>
                    <a:lnTo>
                      <a:pt x="69" y="4"/>
                    </a:lnTo>
                    <a:lnTo>
                      <a:pt x="59" y="8"/>
                    </a:lnTo>
                    <a:lnTo>
                      <a:pt x="51" y="12"/>
                    </a:lnTo>
                    <a:lnTo>
                      <a:pt x="42" y="17"/>
                    </a:lnTo>
                    <a:lnTo>
                      <a:pt x="35" y="23"/>
                    </a:lnTo>
                    <a:lnTo>
                      <a:pt x="28" y="30"/>
                    </a:lnTo>
                    <a:lnTo>
                      <a:pt x="21" y="38"/>
                    </a:lnTo>
                    <a:lnTo>
                      <a:pt x="16" y="47"/>
                    </a:lnTo>
                    <a:lnTo>
                      <a:pt x="11" y="57"/>
                    </a:lnTo>
                    <a:lnTo>
                      <a:pt x="7" y="68"/>
                    </a:lnTo>
                    <a:lnTo>
                      <a:pt x="4" y="79"/>
                    </a:lnTo>
                    <a:lnTo>
                      <a:pt x="2" y="92"/>
                    </a:lnTo>
                    <a:lnTo>
                      <a:pt x="0" y="105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0" y="134"/>
                    </a:lnTo>
                    <a:lnTo>
                      <a:pt x="2" y="147"/>
                    </a:lnTo>
                    <a:lnTo>
                      <a:pt x="5" y="161"/>
                    </a:lnTo>
                    <a:lnTo>
                      <a:pt x="8" y="173"/>
                    </a:lnTo>
                    <a:lnTo>
                      <a:pt x="13" y="184"/>
                    </a:lnTo>
                    <a:lnTo>
                      <a:pt x="18" y="193"/>
                    </a:lnTo>
                    <a:lnTo>
                      <a:pt x="24" y="202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1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7" y="237"/>
                    </a:lnTo>
                    <a:lnTo>
                      <a:pt x="88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9"/>
                    </a:lnTo>
                    <a:lnTo>
                      <a:pt x="124" y="237"/>
                    </a:lnTo>
                    <a:lnTo>
                      <a:pt x="135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3" y="227"/>
                    </a:lnTo>
                    <a:lnTo>
                      <a:pt x="161" y="222"/>
                    </a:lnTo>
                    <a:lnTo>
                      <a:pt x="169" y="217"/>
                    </a:lnTo>
                    <a:lnTo>
                      <a:pt x="178" y="209"/>
                    </a:lnTo>
                    <a:lnTo>
                      <a:pt x="151" y="180"/>
                    </a:lnTo>
                    <a:lnTo>
                      <a:pt x="151" y="180"/>
                    </a:lnTo>
                    <a:lnTo>
                      <a:pt x="139" y="188"/>
                    </a:lnTo>
                    <a:lnTo>
                      <a:pt x="128" y="194"/>
                    </a:lnTo>
                    <a:lnTo>
                      <a:pt x="128" y="194"/>
                    </a:lnTo>
                    <a:lnTo>
                      <a:pt x="122" y="196"/>
                    </a:lnTo>
                    <a:lnTo>
                      <a:pt x="115" y="197"/>
                    </a:lnTo>
                    <a:lnTo>
                      <a:pt x="109" y="198"/>
                    </a:lnTo>
                    <a:lnTo>
                      <a:pt x="101" y="199"/>
                    </a:lnTo>
                    <a:lnTo>
                      <a:pt x="101" y="199"/>
                    </a:lnTo>
                    <a:lnTo>
                      <a:pt x="91" y="198"/>
                    </a:lnTo>
                    <a:lnTo>
                      <a:pt x="81" y="195"/>
                    </a:lnTo>
                    <a:lnTo>
                      <a:pt x="72" y="191"/>
                    </a:lnTo>
                    <a:lnTo>
                      <a:pt x="64" y="184"/>
                    </a:lnTo>
                    <a:lnTo>
                      <a:pt x="57" y="175"/>
                    </a:lnTo>
                    <a:lnTo>
                      <a:pt x="51" y="164"/>
                    </a:lnTo>
                    <a:lnTo>
                      <a:pt x="47" y="151"/>
                    </a:lnTo>
                    <a:lnTo>
                      <a:pt x="44" y="135"/>
                    </a:lnTo>
                    <a:lnTo>
                      <a:pt x="195" y="135"/>
                    </a:lnTo>
                    <a:lnTo>
                      <a:pt x="195" y="135"/>
                    </a:lnTo>
                    <a:lnTo>
                      <a:pt x="196" y="126"/>
                    </a:lnTo>
                    <a:lnTo>
                      <a:pt x="196" y="114"/>
                    </a:lnTo>
                    <a:lnTo>
                      <a:pt x="196" y="114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0" y="73"/>
                    </a:lnTo>
                    <a:lnTo>
                      <a:pt x="55" y="64"/>
                    </a:lnTo>
                    <a:lnTo>
                      <a:pt x="61" y="55"/>
                    </a:lnTo>
                    <a:lnTo>
                      <a:pt x="68" y="49"/>
                    </a:lnTo>
                    <a:lnTo>
                      <a:pt x="76" y="44"/>
                    </a:lnTo>
                    <a:lnTo>
                      <a:pt x="86" y="41"/>
                    </a:lnTo>
                    <a:lnTo>
                      <a:pt x="97" y="40"/>
                    </a:lnTo>
                    <a:lnTo>
                      <a:pt x="97" y="40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21" y="45"/>
                    </a:lnTo>
                    <a:lnTo>
                      <a:pt x="126" y="47"/>
                    </a:lnTo>
                    <a:lnTo>
                      <a:pt x="130" y="50"/>
                    </a:lnTo>
                    <a:lnTo>
                      <a:pt x="137" y="57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6"/>
                    </a:lnTo>
                    <a:lnTo>
                      <a:pt x="151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9" name="Freeform 58"/>
              <p:cNvSpPr>
                <a:spLocks/>
              </p:cNvSpPr>
              <p:nvPr userDrawn="1"/>
            </p:nvSpPr>
            <p:spPr bwMode="auto">
              <a:xfrm>
                <a:off x="1938337" y="6360332"/>
                <a:ext cx="71438" cy="95250"/>
              </a:xfrm>
              <a:custGeom>
                <a:avLst/>
                <a:gdLst>
                  <a:gd name="T0" fmla="*/ 92 w 177"/>
                  <a:gd name="T1" fmla="*/ 131 h 239"/>
                  <a:gd name="T2" fmla="*/ 117 w 177"/>
                  <a:gd name="T3" fmla="*/ 137 h 239"/>
                  <a:gd name="T4" fmla="*/ 129 w 177"/>
                  <a:gd name="T5" fmla="*/ 153 h 239"/>
                  <a:gd name="T6" fmla="*/ 132 w 177"/>
                  <a:gd name="T7" fmla="*/ 166 h 239"/>
                  <a:gd name="T8" fmla="*/ 126 w 177"/>
                  <a:gd name="T9" fmla="*/ 185 h 239"/>
                  <a:gd name="T10" fmla="*/ 106 w 177"/>
                  <a:gd name="T11" fmla="*/ 198 h 239"/>
                  <a:gd name="T12" fmla="*/ 85 w 177"/>
                  <a:gd name="T13" fmla="*/ 201 h 239"/>
                  <a:gd name="T14" fmla="*/ 60 w 177"/>
                  <a:gd name="T15" fmla="*/ 197 h 239"/>
                  <a:gd name="T16" fmla="*/ 36 w 177"/>
                  <a:gd name="T17" fmla="*/ 187 h 239"/>
                  <a:gd name="T18" fmla="*/ 0 w 177"/>
                  <a:gd name="T19" fmla="*/ 210 h 239"/>
                  <a:gd name="T20" fmla="*/ 18 w 177"/>
                  <a:gd name="T21" fmla="*/ 222 h 239"/>
                  <a:gd name="T22" fmla="*/ 49 w 177"/>
                  <a:gd name="T23" fmla="*/ 235 h 239"/>
                  <a:gd name="T24" fmla="*/ 83 w 177"/>
                  <a:gd name="T25" fmla="*/ 239 h 239"/>
                  <a:gd name="T26" fmla="*/ 106 w 177"/>
                  <a:gd name="T27" fmla="*/ 238 h 239"/>
                  <a:gd name="T28" fmla="*/ 133 w 177"/>
                  <a:gd name="T29" fmla="*/ 231 h 239"/>
                  <a:gd name="T30" fmla="*/ 154 w 177"/>
                  <a:gd name="T31" fmla="*/ 218 h 239"/>
                  <a:gd name="T32" fmla="*/ 168 w 177"/>
                  <a:gd name="T33" fmla="*/ 202 h 239"/>
                  <a:gd name="T34" fmla="*/ 175 w 177"/>
                  <a:gd name="T35" fmla="*/ 182 h 239"/>
                  <a:gd name="T36" fmla="*/ 177 w 177"/>
                  <a:gd name="T37" fmla="*/ 168 h 239"/>
                  <a:gd name="T38" fmla="*/ 168 w 177"/>
                  <a:gd name="T39" fmla="*/ 137 h 239"/>
                  <a:gd name="T40" fmla="*/ 148 w 177"/>
                  <a:gd name="T41" fmla="*/ 118 h 239"/>
                  <a:gd name="T42" fmla="*/ 133 w 177"/>
                  <a:gd name="T43" fmla="*/ 112 h 239"/>
                  <a:gd name="T44" fmla="*/ 154 w 177"/>
                  <a:gd name="T45" fmla="*/ 99 h 239"/>
                  <a:gd name="T46" fmla="*/ 167 w 177"/>
                  <a:gd name="T47" fmla="*/ 80 h 239"/>
                  <a:gd name="T48" fmla="*/ 170 w 177"/>
                  <a:gd name="T49" fmla="*/ 64 h 239"/>
                  <a:gd name="T50" fmla="*/ 167 w 177"/>
                  <a:gd name="T51" fmla="*/ 45 h 239"/>
                  <a:gd name="T52" fmla="*/ 158 w 177"/>
                  <a:gd name="T53" fmla="*/ 28 h 239"/>
                  <a:gd name="T54" fmla="*/ 144 w 177"/>
                  <a:gd name="T55" fmla="*/ 15 h 239"/>
                  <a:gd name="T56" fmla="*/ 123 w 177"/>
                  <a:gd name="T57" fmla="*/ 5 h 239"/>
                  <a:gd name="T58" fmla="*/ 95 w 177"/>
                  <a:gd name="T59" fmla="*/ 0 h 239"/>
                  <a:gd name="T60" fmla="*/ 74 w 177"/>
                  <a:gd name="T61" fmla="*/ 0 h 239"/>
                  <a:gd name="T62" fmla="*/ 43 w 177"/>
                  <a:gd name="T63" fmla="*/ 7 h 239"/>
                  <a:gd name="T64" fmla="*/ 15 w 177"/>
                  <a:gd name="T65" fmla="*/ 20 h 239"/>
                  <a:gd name="T66" fmla="*/ 27 w 177"/>
                  <a:gd name="T67" fmla="*/ 60 h 239"/>
                  <a:gd name="T68" fmla="*/ 56 w 177"/>
                  <a:gd name="T69" fmla="*/ 44 h 239"/>
                  <a:gd name="T70" fmla="*/ 79 w 177"/>
                  <a:gd name="T71" fmla="*/ 39 h 239"/>
                  <a:gd name="T72" fmla="*/ 96 w 177"/>
                  <a:gd name="T73" fmla="*/ 39 h 239"/>
                  <a:gd name="T74" fmla="*/ 116 w 177"/>
                  <a:gd name="T75" fmla="*/ 47 h 239"/>
                  <a:gd name="T76" fmla="*/ 125 w 177"/>
                  <a:gd name="T77" fmla="*/ 62 h 239"/>
                  <a:gd name="T78" fmla="*/ 125 w 177"/>
                  <a:gd name="T79" fmla="*/ 72 h 239"/>
                  <a:gd name="T80" fmla="*/ 117 w 177"/>
                  <a:gd name="T81" fmla="*/ 86 h 239"/>
                  <a:gd name="T82" fmla="*/ 99 w 177"/>
                  <a:gd name="T83" fmla="*/ 94 h 239"/>
                  <a:gd name="T84" fmla="*/ 61 w 177"/>
                  <a:gd name="T85" fmla="*/ 131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7" h="239">
                    <a:moveTo>
                      <a:pt x="61" y="131"/>
                    </a:moveTo>
                    <a:lnTo>
                      <a:pt x="92" y="131"/>
                    </a:lnTo>
                    <a:lnTo>
                      <a:pt x="92" y="131"/>
                    </a:lnTo>
                    <a:lnTo>
                      <a:pt x="102" y="132"/>
                    </a:lnTo>
                    <a:lnTo>
                      <a:pt x="110" y="134"/>
                    </a:lnTo>
                    <a:lnTo>
                      <a:pt x="117" y="137"/>
                    </a:lnTo>
                    <a:lnTo>
                      <a:pt x="122" y="142"/>
                    </a:lnTo>
                    <a:lnTo>
                      <a:pt x="126" y="147"/>
                    </a:lnTo>
                    <a:lnTo>
                      <a:pt x="129" y="153"/>
                    </a:lnTo>
                    <a:lnTo>
                      <a:pt x="131" y="159"/>
                    </a:lnTo>
                    <a:lnTo>
                      <a:pt x="132" y="166"/>
                    </a:lnTo>
                    <a:lnTo>
                      <a:pt x="132" y="166"/>
                    </a:lnTo>
                    <a:lnTo>
                      <a:pt x="131" y="173"/>
                    </a:lnTo>
                    <a:lnTo>
                      <a:pt x="129" y="179"/>
                    </a:lnTo>
                    <a:lnTo>
                      <a:pt x="126" y="185"/>
                    </a:lnTo>
                    <a:lnTo>
                      <a:pt x="121" y="190"/>
                    </a:lnTo>
                    <a:lnTo>
                      <a:pt x="114" y="194"/>
                    </a:lnTo>
                    <a:lnTo>
                      <a:pt x="106" y="198"/>
                    </a:lnTo>
                    <a:lnTo>
                      <a:pt x="96" y="200"/>
                    </a:lnTo>
                    <a:lnTo>
                      <a:pt x="85" y="201"/>
                    </a:lnTo>
                    <a:lnTo>
                      <a:pt x="85" y="201"/>
                    </a:lnTo>
                    <a:lnTo>
                      <a:pt x="77" y="200"/>
                    </a:lnTo>
                    <a:lnTo>
                      <a:pt x="69" y="199"/>
                    </a:lnTo>
                    <a:lnTo>
                      <a:pt x="60" y="197"/>
                    </a:lnTo>
                    <a:lnTo>
                      <a:pt x="52" y="194"/>
                    </a:lnTo>
                    <a:lnTo>
                      <a:pt x="44" y="191"/>
                    </a:lnTo>
                    <a:lnTo>
                      <a:pt x="36" y="187"/>
                    </a:lnTo>
                    <a:lnTo>
                      <a:pt x="28" y="182"/>
                    </a:lnTo>
                    <a:lnTo>
                      <a:pt x="20" y="176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8" y="216"/>
                    </a:lnTo>
                    <a:lnTo>
                      <a:pt x="18" y="222"/>
                    </a:lnTo>
                    <a:lnTo>
                      <a:pt x="28" y="227"/>
                    </a:lnTo>
                    <a:lnTo>
                      <a:pt x="38" y="231"/>
                    </a:lnTo>
                    <a:lnTo>
                      <a:pt x="49" y="235"/>
                    </a:lnTo>
                    <a:lnTo>
                      <a:pt x="60" y="237"/>
                    </a:lnTo>
                    <a:lnTo>
                      <a:pt x="72" y="239"/>
                    </a:lnTo>
                    <a:lnTo>
                      <a:pt x="83" y="239"/>
                    </a:lnTo>
                    <a:lnTo>
                      <a:pt x="83" y="239"/>
                    </a:lnTo>
                    <a:lnTo>
                      <a:pt x="95" y="239"/>
                    </a:lnTo>
                    <a:lnTo>
                      <a:pt x="106" y="238"/>
                    </a:lnTo>
                    <a:lnTo>
                      <a:pt x="116" y="236"/>
                    </a:lnTo>
                    <a:lnTo>
                      <a:pt x="125" y="234"/>
                    </a:lnTo>
                    <a:lnTo>
                      <a:pt x="133" y="231"/>
                    </a:lnTo>
                    <a:lnTo>
                      <a:pt x="141" y="227"/>
                    </a:lnTo>
                    <a:lnTo>
                      <a:pt x="148" y="223"/>
                    </a:lnTo>
                    <a:lnTo>
                      <a:pt x="154" y="218"/>
                    </a:lnTo>
                    <a:lnTo>
                      <a:pt x="159" y="213"/>
                    </a:lnTo>
                    <a:lnTo>
                      <a:pt x="164" y="208"/>
                    </a:lnTo>
                    <a:lnTo>
                      <a:pt x="168" y="202"/>
                    </a:lnTo>
                    <a:lnTo>
                      <a:pt x="171" y="196"/>
                    </a:lnTo>
                    <a:lnTo>
                      <a:pt x="173" y="189"/>
                    </a:lnTo>
                    <a:lnTo>
                      <a:pt x="175" y="182"/>
                    </a:lnTo>
                    <a:lnTo>
                      <a:pt x="176" y="175"/>
                    </a:lnTo>
                    <a:lnTo>
                      <a:pt x="177" y="168"/>
                    </a:lnTo>
                    <a:lnTo>
                      <a:pt x="177" y="168"/>
                    </a:lnTo>
                    <a:lnTo>
                      <a:pt x="176" y="157"/>
                    </a:lnTo>
                    <a:lnTo>
                      <a:pt x="173" y="145"/>
                    </a:lnTo>
                    <a:lnTo>
                      <a:pt x="168" y="137"/>
                    </a:lnTo>
                    <a:lnTo>
                      <a:pt x="162" y="129"/>
                    </a:lnTo>
                    <a:lnTo>
                      <a:pt x="156" y="123"/>
                    </a:lnTo>
                    <a:lnTo>
                      <a:pt x="148" y="118"/>
                    </a:lnTo>
                    <a:lnTo>
                      <a:pt x="141" y="114"/>
                    </a:lnTo>
                    <a:lnTo>
                      <a:pt x="133" y="112"/>
                    </a:lnTo>
                    <a:lnTo>
                      <a:pt x="133" y="112"/>
                    </a:lnTo>
                    <a:lnTo>
                      <a:pt x="141" y="108"/>
                    </a:lnTo>
                    <a:lnTo>
                      <a:pt x="148" y="104"/>
                    </a:lnTo>
                    <a:lnTo>
                      <a:pt x="154" y="99"/>
                    </a:lnTo>
                    <a:lnTo>
                      <a:pt x="159" y="94"/>
                    </a:lnTo>
                    <a:lnTo>
                      <a:pt x="164" y="88"/>
                    </a:lnTo>
                    <a:lnTo>
                      <a:pt x="167" y="80"/>
                    </a:lnTo>
                    <a:lnTo>
                      <a:pt x="169" y="73"/>
                    </a:lnTo>
                    <a:lnTo>
                      <a:pt x="170" y="64"/>
                    </a:lnTo>
                    <a:lnTo>
                      <a:pt x="170" y="64"/>
                    </a:lnTo>
                    <a:lnTo>
                      <a:pt x="169" y="57"/>
                    </a:lnTo>
                    <a:lnTo>
                      <a:pt x="168" y="51"/>
                    </a:lnTo>
                    <a:lnTo>
                      <a:pt x="167" y="45"/>
                    </a:lnTo>
                    <a:lnTo>
                      <a:pt x="165" y="39"/>
                    </a:lnTo>
                    <a:lnTo>
                      <a:pt x="162" y="34"/>
                    </a:lnTo>
                    <a:lnTo>
                      <a:pt x="158" y="28"/>
                    </a:lnTo>
                    <a:lnTo>
                      <a:pt x="154" y="23"/>
                    </a:lnTo>
                    <a:lnTo>
                      <a:pt x="149" y="19"/>
                    </a:lnTo>
                    <a:lnTo>
                      <a:pt x="144" y="15"/>
                    </a:lnTo>
                    <a:lnTo>
                      <a:pt x="138" y="11"/>
                    </a:lnTo>
                    <a:lnTo>
                      <a:pt x="131" y="8"/>
                    </a:lnTo>
                    <a:lnTo>
                      <a:pt x="123" y="5"/>
                    </a:lnTo>
                    <a:lnTo>
                      <a:pt x="114" y="3"/>
                    </a:lnTo>
                    <a:lnTo>
                      <a:pt x="105" y="1"/>
                    </a:lnTo>
                    <a:lnTo>
                      <a:pt x="95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74" y="0"/>
                    </a:lnTo>
                    <a:lnTo>
                      <a:pt x="63" y="2"/>
                    </a:lnTo>
                    <a:lnTo>
                      <a:pt x="53" y="4"/>
                    </a:lnTo>
                    <a:lnTo>
                      <a:pt x="43" y="7"/>
                    </a:lnTo>
                    <a:lnTo>
                      <a:pt x="33" y="11"/>
                    </a:lnTo>
                    <a:lnTo>
                      <a:pt x="24" y="15"/>
                    </a:lnTo>
                    <a:lnTo>
                      <a:pt x="15" y="20"/>
                    </a:lnTo>
                    <a:lnTo>
                      <a:pt x="7" y="25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41" y="50"/>
                    </a:lnTo>
                    <a:lnTo>
                      <a:pt x="48" y="47"/>
                    </a:lnTo>
                    <a:lnTo>
                      <a:pt x="56" y="44"/>
                    </a:lnTo>
                    <a:lnTo>
                      <a:pt x="63" y="42"/>
                    </a:lnTo>
                    <a:lnTo>
                      <a:pt x="71" y="40"/>
                    </a:lnTo>
                    <a:lnTo>
                      <a:pt x="79" y="39"/>
                    </a:lnTo>
                    <a:lnTo>
                      <a:pt x="87" y="39"/>
                    </a:lnTo>
                    <a:lnTo>
                      <a:pt x="87" y="39"/>
                    </a:lnTo>
                    <a:lnTo>
                      <a:pt x="96" y="39"/>
                    </a:lnTo>
                    <a:lnTo>
                      <a:pt x="104" y="41"/>
                    </a:lnTo>
                    <a:lnTo>
                      <a:pt x="111" y="44"/>
                    </a:lnTo>
                    <a:lnTo>
                      <a:pt x="116" y="47"/>
                    </a:lnTo>
                    <a:lnTo>
                      <a:pt x="120" y="52"/>
                    </a:lnTo>
                    <a:lnTo>
                      <a:pt x="123" y="56"/>
                    </a:lnTo>
                    <a:lnTo>
                      <a:pt x="125" y="62"/>
                    </a:lnTo>
                    <a:lnTo>
                      <a:pt x="126" y="67"/>
                    </a:lnTo>
                    <a:lnTo>
                      <a:pt x="126" y="67"/>
                    </a:lnTo>
                    <a:lnTo>
                      <a:pt x="125" y="72"/>
                    </a:lnTo>
                    <a:lnTo>
                      <a:pt x="124" y="77"/>
                    </a:lnTo>
                    <a:lnTo>
                      <a:pt x="121" y="82"/>
                    </a:lnTo>
                    <a:lnTo>
                      <a:pt x="117" y="86"/>
                    </a:lnTo>
                    <a:lnTo>
                      <a:pt x="112" y="89"/>
                    </a:lnTo>
                    <a:lnTo>
                      <a:pt x="106" y="92"/>
                    </a:lnTo>
                    <a:lnTo>
                      <a:pt x="99" y="94"/>
                    </a:lnTo>
                    <a:lnTo>
                      <a:pt x="90" y="94"/>
                    </a:lnTo>
                    <a:lnTo>
                      <a:pt x="61" y="94"/>
                    </a:lnTo>
                    <a:lnTo>
                      <a:pt x="61" y="131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0" name="Freeform 59"/>
              <p:cNvSpPr>
                <a:spLocks noEditPoints="1"/>
              </p:cNvSpPr>
              <p:nvPr userDrawn="1"/>
            </p:nvSpPr>
            <p:spPr bwMode="auto">
              <a:xfrm>
                <a:off x="2022475" y="6360332"/>
                <a:ext cx="74613" cy="95250"/>
              </a:xfrm>
              <a:custGeom>
                <a:avLst/>
                <a:gdLst>
                  <a:gd name="T0" fmla="*/ 187 w 187"/>
                  <a:gd name="T1" fmla="*/ 77 h 239"/>
                  <a:gd name="T2" fmla="*/ 186 w 187"/>
                  <a:gd name="T3" fmla="*/ 67 h 239"/>
                  <a:gd name="T4" fmla="*/ 183 w 187"/>
                  <a:gd name="T5" fmla="*/ 50 h 239"/>
                  <a:gd name="T6" fmla="*/ 177 w 187"/>
                  <a:gd name="T7" fmla="*/ 36 h 239"/>
                  <a:gd name="T8" fmla="*/ 168 w 187"/>
                  <a:gd name="T9" fmla="*/ 24 h 239"/>
                  <a:gd name="T10" fmla="*/ 156 w 187"/>
                  <a:gd name="T11" fmla="*/ 14 h 239"/>
                  <a:gd name="T12" fmla="*/ 143 w 187"/>
                  <a:gd name="T13" fmla="*/ 7 h 239"/>
                  <a:gd name="T14" fmla="*/ 127 w 187"/>
                  <a:gd name="T15" fmla="*/ 2 h 239"/>
                  <a:gd name="T16" fmla="*/ 109 w 187"/>
                  <a:gd name="T17" fmla="*/ 0 h 239"/>
                  <a:gd name="T18" fmla="*/ 100 w 187"/>
                  <a:gd name="T19" fmla="*/ 0 h 239"/>
                  <a:gd name="T20" fmla="*/ 77 w 187"/>
                  <a:gd name="T21" fmla="*/ 1 h 239"/>
                  <a:gd name="T22" fmla="*/ 57 w 187"/>
                  <a:gd name="T23" fmla="*/ 5 h 239"/>
                  <a:gd name="T24" fmla="*/ 38 w 187"/>
                  <a:gd name="T25" fmla="*/ 11 h 239"/>
                  <a:gd name="T26" fmla="*/ 22 w 187"/>
                  <a:gd name="T27" fmla="*/ 20 h 239"/>
                  <a:gd name="T28" fmla="*/ 39 w 187"/>
                  <a:gd name="T29" fmla="*/ 54 h 239"/>
                  <a:gd name="T30" fmla="*/ 67 w 187"/>
                  <a:gd name="T31" fmla="*/ 43 h 239"/>
                  <a:gd name="T32" fmla="*/ 99 w 187"/>
                  <a:gd name="T33" fmla="*/ 40 h 239"/>
                  <a:gd name="T34" fmla="*/ 109 w 187"/>
                  <a:gd name="T35" fmla="*/ 41 h 239"/>
                  <a:gd name="T36" fmla="*/ 125 w 187"/>
                  <a:gd name="T37" fmla="*/ 46 h 239"/>
                  <a:gd name="T38" fmla="*/ 136 w 187"/>
                  <a:gd name="T39" fmla="*/ 56 h 239"/>
                  <a:gd name="T40" fmla="*/ 141 w 187"/>
                  <a:gd name="T41" fmla="*/ 70 h 239"/>
                  <a:gd name="T42" fmla="*/ 142 w 187"/>
                  <a:gd name="T43" fmla="*/ 96 h 239"/>
                  <a:gd name="T44" fmla="*/ 133 w 187"/>
                  <a:gd name="T45" fmla="*/ 92 h 239"/>
                  <a:gd name="T46" fmla="*/ 107 w 187"/>
                  <a:gd name="T47" fmla="*/ 88 h 239"/>
                  <a:gd name="T48" fmla="*/ 91 w 187"/>
                  <a:gd name="T49" fmla="*/ 87 h 239"/>
                  <a:gd name="T50" fmla="*/ 63 w 187"/>
                  <a:gd name="T51" fmla="*/ 89 h 239"/>
                  <a:gd name="T52" fmla="*/ 47 w 187"/>
                  <a:gd name="T53" fmla="*/ 94 h 239"/>
                  <a:gd name="T54" fmla="*/ 32 w 187"/>
                  <a:gd name="T55" fmla="*/ 101 h 239"/>
                  <a:gd name="T56" fmla="*/ 20 w 187"/>
                  <a:gd name="T57" fmla="*/ 110 h 239"/>
                  <a:gd name="T58" fmla="*/ 10 w 187"/>
                  <a:gd name="T59" fmla="*/ 121 h 239"/>
                  <a:gd name="T60" fmla="*/ 4 w 187"/>
                  <a:gd name="T61" fmla="*/ 135 h 239"/>
                  <a:gd name="T62" fmla="*/ 0 w 187"/>
                  <a:gd name="T63" fmla="*/ 153 h 239"/>
                  <a:gd name="T64" fmla="*/ 0 w 187"/>
                  <a:gd name="T65" fmla="*/ 162 h 239"/>
                  <a:gd name="T66" fmla="*/ 2 w 187"/>
                  <a:gd name="T67" fmla="*/ 182 h 239"/>
                  <a:gd name="T68" fmla="*/ 7 w 187"/>
                  <a:gd name="T69" fmla="*/ 198 h 239"/>
                  <a:gd name="T70" fmla="*/ 15 w 187"/>
                  <a:gd name="T71" fmla="*/ 211 h 239"/>
                  <a:gd name="T72" fmla="*/ 25 w 187"/>
                  <a:gd name="T73" fmla="*/ 222 h 239"/>
                  <a:gd name="T74" fmla="*/ 38 w 187"/>
                  <a:gd name="T75" fmla="*/ 230 h 239"/>
                  <a:gd name="T76" fmla="*/ 51 w 187"/>
                  <a:gd name="T77" fmla="*/ 235 h 239"/>
                  <a:gd name="T78" fmla="*/ 79 w 187"/>
                  <a:gd name="T79" fmla="*/ 239 h 239"/>
                  <a:gd name="T80" fmla="*/ 90 w 187"/>
                  <a:gd name="T81" fmla="*/ 239 h 239"/>
                  <a:gd name="T82" fmla="*/ 108 w 187"/>
                  <a:gd name="T83" fmla="*/ 234 h 239"/>
                  <a:gd name="T84" fmla="*/ 115 w 187"/>
                  <a:gd name="T85" fmla="*/ 231 h 239"/>
                  <a:gd name="T86" fmla="*/ 134 w 187"/>
                  <a:gd name="T87" fmla="*/ 219 h 239"/>
                  <a:gd name="T88" fmla="*/ 142 w 187"/>
                  <a:gd name="T89" fmla="*/ 235 h 239"/>
                  <a:gd name="T90" fmla="*/ 142 w 187"/>
                  <a:gd name="T91" fmla="*/ 170 h 239"/>
                  <a:gd name="T92" fmla="*/ 138 w 187"/>
                  <a:gd name="T93" fmla="*/ 175 h 239"/>
                  <a:gd name="T94" fmla="*/ 126 w 187"/>
                  <a:gd name="T95" fmla="*/ 185 h 239"/>
                  <a:gd name="T96" fmla="*/ 112 w 187"/>
                  <a:gd name="T97" fmla="*/ 193 h 239"/>
                  <a:gd name="T98" fmla="*/ 95 w 187"/>
                  <a:gd name="T99" fmla="*/ 198 h 239"/>
                  <a:gd name="T100" fmla="*/ 86 w 187"/>
                  <a:gd name="T101" fmla="*/ 199 h 239"/>
                  <a:gd name="T102" fmla="*/ 68 w 187"/>
                  <a:gd name="T103" fmla="*/ 196 h 239"/>
                  <a:gd name="T104" fmla="*/ 55 w 187"/>
                  <a:gd name="T105" fmla="*/ 190 h 239"/>
                  <a:gd name="T106" fmla="*/ 50 w 187"/>
                  <a:gd name="T107" fmla="*/ 185 h 239"/>
                  <a:gd name="T108" fmla="*/ 43 w 187"/>
                  <a:gd name="T109" fmla="*/ 170 h 239"/>
                  <a:gd name="T110" fmla="*/ 42 w 187"/>
                  <a:gd name="T111" fmla="*/ 161 h 239"/>
                  <a:gd name="T112" fmla="*/ 46 w 187"/>
                  <a:gd name="T113" fmla="*/ 146 h 239"/>
                  <a:gd name="T114" fmla="*/ 55 w 187"/>
                  <a:gd name="T115" fmla="*/ 135 h 239"/>
                  <a:gd name="T116" fmla="*/ 70 w 187"/>
                  <a:gd name="T117" fmla="*/ 128 h 239"/>
                  <a:gd name="T118" fmla="*/ 90 w 187"/>
                  <a:gd name="T119" fmla="*/ 126 h 239"/>
                  <a:gd name="T120" fmla="*/ 106 w 187"/>
                  <a:gd name="T121" fmla="*/ 126 h 239"/>
                  <a:gd name="T122" fmla="*/ 120 w 187"/>
                  <a:gd name="T123" fmla="*/ 128 h 239"/>
                  <a:gd name="T124" fmla="*/ 142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5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6" y="67"/>
                    </a:lnTo>
                    <a:lnTo>
                      <a:pt x="185" y="58"/>
                    </a:lnTo>
                    <a:lnTo>
                      <a:pt x="183" y="50"/>
                    </a:lnTo>
                    <a:lnTo>
                      <a:pt x="181" y="43"/>
                    </a:lnTo>
                    <a:lnTo>
                      <a:pt x="177" y="36"/>
                    </a:lnTo>
                    <a:lnTo>
                      <a:pt x="173" y="29"/>
                    </a:lnTo>
                    <a:lnTo>
                      <a:pt x="168" y="24"/>
                    </a:lnTo>
                    <a:lnTo>
                      <a:pt x="163" y="19"/>
                    </a:lnTo>
                    <a:lnTo>
                      <a:pt x="156" y="14"/>
                    </a:lnTo>
                    <a:lnTo>
                      <a:pt x="150" y="10"/>
                    </a:lnTo>
                    <a:lnTo>
                      <a:pt x="143" y="7"/>
                    </a:lnTo>
                    <a:lnTo>
                      <a:pt x="135" y="5"/>
                    </a:lnTo>
                    <a:lnTo>
                      <a:pt x="127" y="2"/>
                    </a:lnTo>
                    <a:lnTo>
                      <a:pt x="118" y="1"/>
                    </a:lnTo>
                    <a:lnTo>
                      <a:pt x="109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8" y="0"/>
                    </a:lnTo>
                    <a:lnTo>
                      <a:pt x="77" y="1"/>
                    </a:lnTo>
                    <a:lnTo>
                      <a:pt x="67" y="3"/>
                    </a:lnTo>
                    <a:lnTo>
                      <a:pt x="57" y="5"/>
                    </a:lnTo>
                    <a:lnTo>
                      <a:pt x="47" y="8"/>
                    </a:lnTo>
                    <a:lnTo>
                      <a:pt x="38" y="11"/>
                    </a:lnTo>
                    <a:lnTo>
                      <a:pt x="30" y="16"/>
                    </a:lnTo>
                    <a:lnTo>
                      <a:pt x="22" y="20"/>
                    </a:lnTo>
                    <a:lnTo>
                      <a:pt x="39" y="54"/>
                    </a:lnTo>
                    <a:lnTo>
                      <a:pt x="39" y="54"/>
                    </a:lnTo>
                    <a:lnTo>
                      <a:pt x="53" y="48"/>
                    </a:lnTo>
                    <a:lnTo>
                      <a:pt x="67" y="43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9" y="41"/>
                    </a:lnTo>
                    <a:lnTo>
                      <a:pt x="117" y="43"/>
                    </a:lnTo>
                    <a:lnTo>
                      <a:pt x="125" y="46"/>
                    </a:lnTo>
                    <a:lnTo>
                      <a:pt x="131" y="50"/>
                    </a:lnTo>
                    <a:lnTo>
                      <a:pt x="136" y="56"/>
                    </a:lnTo>
                    <a:lnTo>
                      <a:pt x="139" y="62"/>
                    </a:lnTo>
                    <a:lnTo>
                      <a:pt x="141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3" y="92"/>
                    </a:lnTo>
                    <a:lnTo>
                      <a:pt x="121" y="89"/>
                    </a:lnTo>
                    <a:lnTo>
                      <a:pt x="107" y="88"/>
                    </a:lnTo>
                    <a:lnTo>
                      <a:pt x="91" y="87"/>
                    </a:lnTo>
                    <a:lnTo>
                      <a:pt x="91" y="87"/>
                    </a:lnTo>
                    <a:lnTo>
                      <a:pt x="72" y="88"/>
                    </a:lnTo>
                    <a:lnTo>
                      <a:pt x="63" y="89"/>
                    </a:lnTo>
                    <a:lnTo>
                      <a:pt x="55" y="91"/>
                    </a:lnTo>
                    <a:lnTo>
                      <a:pt x="47" y="94"/>
                    </a:lnTo>
                    <a:lnTo>
                      <a:pt x="39" y="97"/>
                    </a:lnTo>
                    <a:lnTo>
                      <a:pt x="32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5"/>
                    </a:lnTo>
                    <a:lnTo>
                      <a:pt x="10" y="121"/>
                    </a:lnTo>
                    <a:lnTo>
                      <a:pt x="7" y="128"/>
                    </a:lnTo>
                    <a:lnTo>
                      <a:pt x="4" y="135"/>
                    </a:lnTo>
                    <a:lnTo>
                      <a:pt x="1" y="143"/>
                    </a:lnTo>
                    <a:lnTo>
                      <a:pt x="0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2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1" y="205"/>
                    </a:lnTo>
                    <a:lnTo>
                      <a:pt x="15" y="211"/>
                    </a:lnTo>
                    <a:lnTo>
                      <a:pt x="20" y="217"/>
                    </a:lnTo>
                    <a:lnTo>
                      <a:pt x="25" y="222"/>
                    </a:lnTo>
                    <a:lnTo>
                      <a:pt x="31" y="226"/>
                    </a:lnTo>
                    <a:lnTo>
                      <a:pt x="38" y="230"/>
                    </a:lnTo>
                    <a:lnTo>
                      <a:pt x="44" y="233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9"/>
                    </a:lnTo>
                    <a:lnTo>
                      <a:pt x="100" y="237"/>
                    </a:lnTo>
                    <a:lnTo>
                      <a:pt x="108" y="234"/>
                    </a:lnTo>
                    <a:lnTo>
                      <a:pt x="115" y="231"/>
                    </a:lnTo>
                    <a:lnTo>
                      <a:pt x="115" y="231"/>
                    </a:lnTo>
                    <a:lnTo>
                      <a:pt x="127" y="224"/>
                    </a:lnTo>
                    <a:lnTo>
                      <a:pt x="134" y="219"/>
                    </a:lnTo>
                    <a:lnTo>
                      <a:pt x="142" y="212"/>
                    </a:lnTo>
                    <a:lnTo>
                      <a:pt x="142" y="235"/>
                    </a:lnTo>
                    <a:lnTo>
                      <a:pt x="187" y="235"/>
                    </a:lnTo>
                    <a:close/>
                    <a:moveTo>
                      <a:pt x="142" y="170"/>
                    </a:moveTo>
                    <a:lnTo>
                      <a:pt x="142" y="170"/>
                    </a:lnTo>
                    <a:lnTo>
                      <a:pt x="138" y="175"/>
                    </a:lnTo>
                    <a:lnTo>
                      <a:pt x="132" y="180"/>
                    </a:lnTo>
                    <a:lnTo>
                      <a:pt x="126" y="185"/>
                    </a:lnTo>
                    <a:lnTo>
                      <a:pt x="119" y="190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5" y="198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77" y="198"/>
                    </a:lnTo>
                    <a:lnTo>
                      <a:pt x="68" y="196"/>
                    </a:lnTo>
                    <a:lnTo>
                      <a:pt x="61" y="194"/>
                    </a:lnTo>
                    <a:lnTo>
                      <a:pt x="55" y="190"/>
                    </a:lnTo>
                    <a:lnTo>
                      <a:pt x="55" y="190"/>
                    </a:lnTo>
                    <a:lnTo>
                      <a:pt x="50" y="185"/>
                    </a:lnTo>
                    <a:lnTo>
                      <a:pt x="46" y="178"/>
                    </a:lnTo>
                    <a:lnTo>
                      <a:pt x="43" y="170"/>
                    </a:lnTo>
                    <a:lnTo>
                      <a:pt x="42" y="161"/>
                    </a:lnTo>
                    <a:lnTo>
                      <a:pt x="42" y="161"/>
                    </a:lnTo>
                    <a:lnTo>
                      <a:pt x="43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5" y="135"/>
                    </a:lnTo>
                    <a:lnTo>
                      <a:pt x="62" y="131"/>
                    </a:lnTo>
                    <a:lnTo>
                      <a:pt x="70" y="128"/>
                    </a:lnTo>
                    <a:lnTo>
                      <a:pt x="79" y="126"/>
                    </a:lnTo>
                    <a:lnTo>
                      <a:pt x="90" y="126"/>
                    </a:lnTo>
                    <a:lnTo>
                      <a:pt x="90" y="126"/>
                    </a:lnTo>
                    <a:lnTo>
                      <a:pt x="106" y="126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30" y="131"/>
                    </a:lnTo>
                    <a:lnTo>
                      <a:pt x="142" y="136"/>
                    </a:lnTo>
                    <a:lnTo>
                      <a:pt x="142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1" name="Freeform 60"/>
              <p:cNvSpPr>
                <a:spLocks noEditPoints="1"/>
              </p:cNvSpPr>
              <p:nvPr userDrawn="1"/>
            </p:nvSpPr>
            <p:spPr bwMode="auto">
              <a:xfrm>
                <a:off x="2106612" y="6363507"/>
                <a:ext cx="95250" cy="114300"/>
              </a:xfrm>
              <a:custGeom>
                <a:avLst/>
                <a:gdLst>
                  <a:gd name="T0" fmla="*/ 52 w 238"/>
                  <a:gd name="T1" fmla="*/ 0 h 291"/>
                  <a:gd name="T2" fmla="*/ 46 w 238"/>
                  <a:gd name="T3" fmla="*/ 87 h 291"/>
                  <a:gd name="T4" fmla="*/ 46 w 238"/>
                  <a:gd name="T5" fmla="*/ 87 h 291"/>
                  <a:gd name="T6" fmla="*/ 44 w 238"/>
                  <a:gd name="T7" fmla="*/ 105 h 291"/>
                  <a:gd name="T8" fmla="*/ 41 w 238"/>
                  <a:gd name="T9" fmla="*/ 120 h 291"/>
                  <a:gd name="T10" fmla="*/ 38 w 238"/>
                  <a:gd name="T11" fmla="*/ 135 h 291"/>
                  <a:gd name="T12" fmla="*/ 35 w 238"/>
                  <a:gd name="T13" fmla="*/ 149 h 291"/>
                  <a:gd name="T14" fmla="*/ 27 w 238"/>
                  <a:gd name="T15" fmla="*/ 172 h 291"/>
                  <a:gd name="T16" fmla="*/ 20 w 238"/>
                  <a:gd name="T17" fmla="*/ 190 h 291"/>
                  <a:gd name="T18" fmla="*/ 0 w 238"/>
                  <a:gd name="T19" fmla="*/ 190 h 291"/>
                  <a:gd name="T20" fmla="*/ 0 w 238"/>
                  <a:gd name="T21" fmla="*/ 291 h 291"/>
                  <a:gd name="T22" fmla="*/ 42 w 238"/>
                  <a:gd name="T23" fmla="*/ 270 h 291"/>
                  <a:gd name="T24" fmla="*/ 42 w 238"/>
                  <a:gd name="T25" fmla="*/ 230 h 291"/>
                  <a:gd name="T26" fmla="*/ 196 w 238"/>
                  <a:gd name="T27" fmla="*/ 230 h 291"/>
                  <a:gd name="T28" fmla="*/ 196 w 238"/>
                  <a:gd name="T29" fmla="*/ 291 h 291"/>
                  <a:gd name="T30" fmla="*/ 238 w 238"/>
                  <a:gd name="T31" fmla="*/ 270 h 291"/>
                  <a:gd name="T32" fmla="*/ 238 w 238"/>
                  <a:gd name="T33" fmla="*/ 190 h 291"/>
                  <a:gd name="T34" fmla="*/ 208 w 238"/>
                  <a:gd name="T35" fmla="*/ 190 h 291"/>
                  <a:gd name="T36" fmla="*/ 208 w 238"/>
                  <a:gd name="T37" fmla="*/ 0 h 291"/>
                  <a:gd name="T38" fmla="*/ 52 w 238"/>
                  <a:gd name="T39" fmla="*/ 0 h 291"/>
                  <a:gd name="T40" fmla="*/ 163 w 238"/>
                  <a:gd name="T41" fmla="*/ 190 h 291"/>
                  <a:gd name="T42" fmla="*/ 67 w 238"/>
                  <a:gd name="T43" fmla="*/ 190 h 291"/>
                  <a:gd name="T44" fmla="*/ 67 w 238"/>
                  <a:gd name="T45" fmla="*/ 190 h 291"/>
                  <a:gd name="T46" fmla="*/ 74 w 238"/>
                  <a:gd name="T47" fmla="*/ 172 h 291"/>
                  <a:gd name="T48" fmla="*/ 80 w 238"/>
                  <a:gd name="T49" fmla="*/ 150 h 291"/>
                  <a:gd name="T50" fmla="*/ 83 w 238"/>
                  <a:gd name="T51" fmla="*/ 136 h 291"/>
                  <a:gd name="T52" fmla="*/ 86 w 238"/>
                  <a:gd name="T53" fmla="*/ 122 h 291"/>
                  <a:gd name="T54" fmla="*/ 88 w 238"/>
                  <a:gd name="T55" fmla="*/ 105 h 291"/>
                  <a:gd name="T56" fmla="*/ 89 w 238"/>
                  <a:gd name="T57" fmla="*/ 87 h 291"/>
                  <a:gd name="T58" fmla="*/ 93 w 238"/>
                  <a:gd name="T59" fmla="*/ 39 h 291"/>
                  <a:gd name="T60" fmla="*/ 163 w 238"/>
                  <a:gd name="T61" fmla="*/ 39 h 291"/>
                  <a:gd name="T62" fmla="*/ 163 w 238"/>
                  <a:gd name="T63" fmla="*/ 19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8" h="291">
                    <a:moveTo>
                      <a:pt x="52" y="0"/>
                    </a:moveTo>
                    <a:lnTo>
                      <a:pt x="46" y="87"/>
                    </a:lnTo>
                    <a:lnTo>
                      <a:pt x="46" y="87"/>
                    </a:lnTo>
                    <a:lnTo>
                      <a:pt x="44" y="105"/>
                    </a:lnTo>
                    <a:lnTo>
                      <a:pt x="41" y="120"/>
                    </a:lnTo>
                    <a:lnTo>
                      <a:pt x="38" y="135"/>
                    </a:lnTo>
                    <a:lnTo>
                      <a:pt x="35" y="149"/>
                    </a:lnTo>
                    <a:lnTo>
                      <a:pt x="27" y="172"/>
                    </a:lnTo>
                    <a:lnTo>
                      <a:pt x="20" y="190"/>
                    </a:lnTo>
                    <a:lnTo>
                      <a:pt x="0" y="190"/>
                    </a:lnTo>
                    <a:lnTo>
                      <a:pt x="0" y="291"/>
                    </a:lnTo>
                    <a:lnTo>
                      <a:pt x="42" y="270"/>
                    </a:lnTo>
                    <a:lnTo>
                      <a:pt x="42" y="230"/>
                    </a:lnTo>
                    <a:lnTo>
                      <a:pt x="196" y="230"/>
                    </a:lnTo>
                    <a:lnTo>
                      <a:pt x="196" y="291"/>
                    </a:lnTo>
                    <a:lnTo>
                      <a:pt x="238" y="270"/>
                    </a:lnTo>
                    <a:lnTo>
                      <a:pt x="238" y="190"/>
                    </a:lnTo>
                    <a:lnTo>
                      <a:pt x="208" y="190"/>
                    </a:lnTo>
                    <a:lnTo>
                      <a:pt x="208" y="0"/>
                    </a:lnTo>
                    <a:lnTo>
                      <a:pt x="52" y="0"/>
                    </a:lnTo>
                    <a:close/>
                    <a:moveTo>
                      <a:pt x="163" y="190"/>
                    </a:moveTo>
                    <a:lnTo>
                      <a:pt x="67" y="190"/>
                    </a:lnTo>
                    <a:lnTo>
                      <a:pt x="67" y="190"/>
                    </a:lnTo>
                    <a:lnTo>
                      <a:pt x="74" y="172"/>
                    </a:lnTo>
                    <a:lnTo>
                      <a:pt x="80" y="150"/>
                    </a:lnTo>
                    <a:lnTo>
                      <a:pt x="83" y="136"/>
                    </a:lnTo>
                    <a:lnTo>
                      <a:pt x="86" y="122"/>
                    </a:lnTo>
                    <a:lnTo>
                      <a:pt x="88" y="105"/>
                    </a:lnTo>
                    <a:lnTo>
                      <a:pt x="89" y="87"/>
                    </a:lnTo>
                    <a:lnTo>
                      <a:pt x="93" y="39"/>
                    </a:lnTo>
                    <a:lnTo>
                      <a:pt x="163" y="39"/>
                    </a:lnTo>
                    <a:lnTo>
                      <a:pt x="163" y="19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2" name="Freeform 61"/>
              <p:cNvSpPr>
                <a:spLocks noEditPoints="1"/>
              </p:cNvSpPr>
              <p:nvPr userDrawn="1"/>
            </p:nvSpPr>
            <p:spPr bwMode="auto">
              <a:xfrm>
                <a:off x="2211387" y="6360332"/>
                <a:ext cx="73025" cy="95250"/>
              </a:xfrm>
              <a:custGeom>
                <a:avLst/>
                <a:gdLst>
                  <a:gd name="T0" fmla="*/ 187 w 187"/>
                  <a:gd name="T1" fmla="*/ 77 h 239"/>
                  <a:gd name="T2" fmla="*/ 187 w 187"/>
                  <a:gd name="T3" fmla="*/ 67 h 239"/>
                  <a:gd name="T4" fmla="*/ 184 w 187"/>
                  <a:gd name="T5" fmla="*/ 50 h 239"/>
                  <a:gd name="T6" fmla="*/ 177 w 187"/>
                  <a:gd name="T7" fmla="*/ 36 h 239"/>
                  <a:gd name="T8" fmla="*/ 168 w 187"/>
                  <a:gd name="T9" fmla="*/ 24 h 239"/>
                  <a:gd name="T10" fmla="*/ 156 w 187"/>
                  <a:gd name="T11" fmla="*/ 14 h 239"/>
                  <a:gd name="T12" fmla="*/ 143 w 187"/>
                  <a:gd name="T13" fmla="*/ 7 h 239"/>
                  <a:gd name="T14" fmla="*/ 127 w 187"/>
                  <a:gd name="T15" fmla="*/ 2 h 239"/>
                  <a:gd name="T16" fmla="*/ 110 w 187"/>
                  <a:gd name="T17" fmla="*/ 0 h 239"/>
                  <a:gd name="T18" fmla="*/ 100 w 187"/>
                  <a:gd name="T19" fmla="*/ 0 h 239"/>
                  <a:gd name="T20" fmla="*/ 78 w 187"/>
                  <a:gd name="T21" fmla="*/ 1 h 239"/>
                  <a:gd name="T22" fmla="*/ 57 w 187"/>
                  <a:gd name="T23" fmla="*/ 5 h 239"/>
                  <a:gd name="T24" fmla="*/ 39 w 187"/>
                  <a:gd name="T25" fmla="*/ 11 h 239"/>
                  <a:gd name="T26" fmla="*/ 22 w 187"/>
                  <a:gd name="T27" fmla="*/ 20 h 239"/>
                  <a:gd name="T28" fmla="*/ 39 w 187"/>
                  <a:gd name="T29" fmla="*/ 54 h 239"/>
                  <a:gd name="T30" fmla="*/ 67 w 187"/>
                  <a:gd name="T31" fmla="*/ 43 h 239"/>
                  <a:gd name="T32" fmla="*/ 99 w 187"/>
                  <a:gd name="T33" fmla="*/ 40 h 239"/>
                  <a:gd name="T34" fmla="*/ 109 w 187"/>
                  <a:gd name="T35" fmla="*/ 41 h 239"/>
                  <a:gd name="T36" fmla="*/ 125 w 187"/>
                  <a:gd name="T37" fmla="*/ 46 h 239"/>
                  <a:gd name="T38" fmla="*/ 136 w 187"/>
                  <a:gd name="T39" fmla="*/ 56 h 239"/>
                  <a:gd name="T40" fmla="*/ 141 w 187"/>
                  <a:gd name="T41" fmla="*/ 70 h 239"/>
                  <a:gd name="T42" fmla="*/ 142 w 187"/>
                  <a:gd name="T43" fmla="*/ 96 h 239"/>
                  <a:gd name="T44" fmla="*/ 133 w 187"/>
                  <a:gd name="T45" fmla="*/ 92 h 239"/>
                  <a:gd name="T46" fmla="*/ 108 w 187"/>
                  <a:gd name="T47" fmla="*/ 88 h 239"/>
                  <a:gd name="T48" fmla="*/ 91 w 187"/>
                  <a:gd name="T49" fmla="*/ 87 h 239"/>
                  <a:gd name="T50" fmla="*/ 64 w 187"/>
                  <a:gd name="T51" fmla="*/ 89 h 239"/>
                  <a:gd name="T52" fmla="*/ 47 w 187"/>
                  <a:gd name="T53" fmla="*/ 94 h 239"/>
                  <a:gd name="T54" fmla="*/ 33 w 187"/>
                  <a:gd name="T55" fmla="*/ 101 h 239"/>
                  <a:gd name="T56" fmla="*/ 20 w 187"/>
                  <a:gd name="T57" fmla="*/ 110 h 239"/>
                  <a:gd name="T58" fmla="*/ 11 w 187"/>
                  <a:gd name="T59" fmla="*/ 121 h 239"/>
                  <a:gd name="T60" fmla="*/ 4 w 187"/>
                  <a:gd name="T61" fmla="*/ 135 h 239"/>
                  <a:gd name="T62" fmla="*/ 1 w 187"/>
                  <a:gd name="T63" fmla="*/ 153 h 239"/>
                  <a:gd name="T64" fmla="*/ 0 w 187"/>
                  <a:gd name="T65" fmla="*/ 162 h 239"/>
                  <a:gd name="T66" fmla="*/ 2 w 187"/>
                  <a:gd name="T67" fmla="*/ 182 h 239"/>
                  <a:gd name="T68" fmla="*/ 7 w 187"/>
                  <a:gd name="T69" fmla="*/ 198 h 239"/>
                  <a:gd name="T70" fmla="*/ 15 w 187"/>
                  <a:gd name="T71" fmla="*/ 211 h 239"/>
                  <a:gd name="T72" fmla="*/ 26 w 187"/>
                  <a:gd name="T73" fmla="*/ 222 h 239"/>
                  <a:gd name="T74" fmla="*/ 38 w 187"/>
                  <a:gd name="T75" fmla="*/ 230 h 239"/>
                  <a:gd name="T76" fmla="*/ 51 w 187"/>
                  <a:gd name="T77" fmla="*/ 235 h 239"/>
                  <a:gd name="T78" fmla="*/ 79 w 187"/>
                  <a:gd name="T79" fmla="*/ 239 h 239"/>
                  <a:gd name="T80" fmla="*/ 90 w 187"/>
                  <a:gd name="T81" fmla="*/ 239 h 239"/>
                  <a:gd name="T82" fmla="*/ 109 w 187"/>
                  <a:gd name="T83" fmla="*/ 234 h 239"/>
                  <a:gd name="T84" fmla="*/ 116 w 187"/>
                  <a:gd name="T85" fmla="*/ 231 h 239"/>
                  <a:gd name="T86" fmla="*/ 134 w 187"/>
                  <a:gd name="T87" fmla="*/ 219 h 239"/>
                  <a:gd name="T88" fmla="*/ 142 w 187"/>
                  <a:gd name="T89" fmla="*/ 235 h 239"/>
                  <a:gd name="T90" fmla="*/ 142 w 187"/>
                  <a:gd name="T91" fmla="*/ 170 h 239"/>
                  <a:gd name="T92" fmla="*/ 138 w 187"/>
                  <a:gd name="T93" fmla="*/ 175 h 239"/>
                  <a:gd name="T94" fmla="*/ 127 w 187"/>
                  <a:gd name="T95" fmla="*/ 185 h 239"/>
                  <a:gd name="T96" fmla="*/ 112 w 187"/>
                  <a:gd name="T97" fmla="*/ 193 h 239"/>
                  <a:gd name="T98" fmla="*/ 96 w 187"/>
                  <a:gd name="T99" fmla="*/ 198 h 239"/>
                  <a:gd name="T100" fmla="*/ 87 w 187"/>
                  <a:gd name="T101" fmla="*/ 199 h 239"/>
                  <a:gd name="T102" fmla="*/ 69 w 187"/>
                  <a:gd name="T103" fmla="*/ 196 h 239"/>
                  <a:gd name="T104" fmla="*/ 55 w 187"/>
                  <a:gd name="T105" fmla="*/ 190 h 239"/>
                  <a:gd name="T106" fmla="*/ 50 w 187"/>
                  <a:gd name="T107" fmla="*/ 185 h 239"/>
                  <a:gd name="T108" fmla="*/ 44 w 187"/>
                  <a:gd name="T109" fmla="*/ 170 h 239"/>
                  <a:gd name="T110" fmla="*/ 43 w 187"/>
                  <a:gd name="T111" fmla="*/ 161 h 239"/>
                  <a:gd name="T112" fmla="*/ 46 w 187"/>
                  <a:gd name="T113" fmla="*/ 146 h 239"/>
                  <a:gd name="T114" fmla="*/ 55 w 187"/>
                  <a:gd name="T115" fmla="*/ 135 h 239"/>
                  <a:gd name="T116" fmla="*/ 70 w 187"/>
                  <a:gd name="T117" fmla="*/ 128 h 239"/>
                  <a:gd name="T118" fmla="*/ 90 w 187"/>
                  <a:gd name="T119" fmla="*/ 126 h 239"/>
                  <a:gd name="T120" fmla="*/ 107 w 187"/>
                  <a:gd name="T121" fmla="*/ 126 h 239"/>
                  <a:gd name="T122" fmla="*/ 120 w 187"/>
                  <a:gd name="T123" fmla="*/ 128 h 239"/>
                  <a:gd name="T124" fmla="*/ 142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5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7" y="67"/>
                    </a:lnTo>
                    <a:lnTo>
                      <a:pt x="186" y="58"/>
                    </a:lnTo>
                    <a:lnTo>
                      <a:pt x="184" y="50"/>
                    </a:lnTo>
                    <a:lnTo>
                      <a:pt x="181" y="43"/>
                    </a:lnTo>
                    <a:lnTo>
                      <a:pt x="177" y="36"/>
                    </a:lnTo>
                    <a:lnTo>
                      <a:pt x="173" y="29"/>
                    </a:lnTo>
                    <a:lnTo>
                      <a:pt x="168" y="24"/>
                    </a:lnTo>
                    <a:lnTo>
                      <a:pt x="162" y="19"/>
                    </a:lnTo>
                    <a:lnTo>
                      <a:pt x="156" y="14"/>
                    </a:lnTo>
                    <a:lnTo>
                      <a:pt x="150" y="10"/>
                    </a:lnTo>
                    <a:lnTo>
                      <a:pt x="143" y="7"/>
                    </a:lnTo>
                    <a:lnTo>
                      <a:pt x="135" y="5"/>
                    </a:lnTo>
                    <a:lnTo>
                      <a:pt x="127" y="2"/>
                    </a:lnTo>
                    <a:lnTo>
                      <a:pt x="119" y="1"/>
                    </a:lnTo>
                    <a:lnTo>
                      <a:pt x="11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8" y="1"/>
                    </a:lnTo>
                    <a:lnTo>
                      <a:pt x="67" y="3"/>
                    </a:lnTo>
                    <a:lnTo>
                      <a:pt x="57" y="5"/>
                    </a:lnTo>
                    <a:lnTo>
                      <a:pt x="48" y="8"/>
                    </a:lnTo>
                    <a:lnTo>
                      <a:pt x="39" y="11"/>
                    </a:lnTo>
                    <a:lnTo>
                      <a:pt x="30" y="16"/>
                    </a:lnTo>
                    <a:lnTo>
                      <a:pt x="22" y="20"/>
                    </a:lnTo>
                    <a:lnTo>
                      <a:pt x="39" y="54"/>
                    </a:lnTo>
                    <a:lnTo>
                      <a:pt x="39" y="54"/>
                    </a:lnTo>
                    <a:lnTo>
                      <a:pt x="53" y="48"/>
                    </a:lnTo>
                    <a:lnTo>
                      <a:pt x="67" y="43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9" y="41"/>
                    </a:lnTo>
                    <a:lnTo>
                      <a:pt x="118" y="43"/>
                    </a:lnTo>
                    <a:lnTo>
                      <a:pt x="125" y="46"/>
                    </a:lnTo>
                    <a:lnTo>
                      <a:pt x="131" y="50"/>
                    </a:lnTo>
                    <a:lnTo>
                      <a:pt x="136" y="56"/>
                    </a:lnTo>
                    <a:lnTo>
                      <a:pt x="139" y="62"/>
                    </a:lnTo>
                    <a:lnTo>
                      <a:pt x="141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3" y="92"/>
                    </a:lnTo>
                    <a:lnTo>
                      <a:pt x="122" y="89"/>
                    </a:lnTo>
                    <a:lnTo>
                      <a:pt x="108" y="88"/>
                    </a:lnTo>
                    <a:lnTo>
                      <a:pt x="91" y="87"/>
                    </a:lnTo>
                    <a:lnTo>
                      <a:pt x="91" y="87"/>
                    </a:lnTo>
                    <a:lnTo>
                      <a:pt x="72" y="88"/>
                    </a:lnTo>
                    <a:lnTo>
                      <a:pt x="64" y="89"/>
                    </a:lnTo>
                    <a:lnTo>
                      <a:pt x="55" y="91"/>
                    </a:lnTo>
                    <a:lnTo>
                      <a:pt x="47" y="94"/>
                    </a:lnTo>
                    <a:lnTo>
                      <a:pt x="40" y="97"/>
                    </a:lnTo>
                    <a:lnTo>
                      <a:pt x="33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5"/>
                    </a:lnTo>
                    <a:lnTo>
                      <a:pt x="11" y="121"/>
                    </a:lnTo>
                    <a:lnTo>
                      <a:pt x="7" y="128"/>
                    </a:lnTo>
                    <a:lnTo>
                      <a:pt x="4" y="135"/>
                    </a:lnTo>
                    <a:lnTo>
                      <a:pt x="2" y="143"/>
                    </a:lnTo>
                    <a:lnTo>
                      <a:pt x="1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1" y="172"/>
                    </a:lnTo>
                    <a:lnTo>
                      <a:pt x="2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1" y="205"/>
                    </a:lnTo>
                    <a:lnTo>
                      <a:pt x="15" y="211"/>
                    </a:lnTo>
                    <a:lnTo>
                      <a:pt x="20" y="217"/>
                    </a:lnTo>
                    <a:lnTo>
                      <a:pt x="26" y="222"/>
                    </a:lnTo>
                    <a:lnTo>
                      <a:pt x="32" y="226"/>
                    </a:lnTo>
                    <a:lnTo>
                      <a:pt x="38" y="230"/>
                    </a:lnTo>
                    <a:lnTo>
                      <a:pt x="45" y="233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9"/>
                    </a:lnTo>
                    <a:lnTo>
                      <a:pt x="100" y="237"/>
                    </a:lnTo>
                    <a:lnTo>
                      <a:pt x="109" y="234"/>
                    </a:lnTo>
                    <a:lnTo>
                      <a:pt x="116" y="231"/>
                    </a:lnTo>
                    <a:lnTo>
                      <a:pt x="116" y="231"/>
                    </a:lnTo>
                    <a:lnTo>
                      <a:pt x="128" y="224"/>
                    </a:lnTo>
                    <a:lnTo>
                      <a:pt x="134" y="219"/>
                    </a:lnTo>
                    <a:lnTo>
                      <a:pt x="142" y="212"/>
                    </a:lnTo>
                    <a:lnTo>
                      <a:pt x="142" y="235"/>
                    </a:lnTo>
                    <a:lnTo>
                      <a:pt x="187" y="235"/>
                    </a:lnTo>
                    <a:close/>
                    <a:moveTo>
                      <a:pt x="142" y="170"/>
                    </a:moveTo>
                    <a:lnTo>
                      <a:pt x="142" y="170"/>
                    </a:lnTo>
                    <a:lnTo>
                      <a:pt x="138" y="175"/>
                    </a:lnTo>
                    <a:lnTo>
                      <a:pt x="133" y="180"/>
                    </a:lnTo>
                    <a:lnTo>
                      <a:pt x="127" y="185"/>
                    </a:lnTo>
                    <a:lnTo>
                      <a:pt x="120" y="190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6" y="198"/>
                    </a:lnTo>
                    <a:lnTo>
                      <a:pt x="87" y="199"/>
                    </a:lnTo>
                    <a:lnTo>
                      <a:pt x="87" y="199"/>
                    </a:lnTo>
                    <a:lnTo>
                      <a:pt x="77" y="198"/>
                    </a:lnTo>
                    <a:lnTo>
                      <a:pt x="69" y="196"/>
                    </a:lnTo>
                    <a:lnTo>
                      <a:pt x="61" y="194"/>
                    </a:lnTo>
                    <a:lnTo>
                      <a:pt x="55" y="190"/>
                    </a:lnTo>
                    <a:lnTo>
                      <a:pt x="55" y="190"/>
                    </a:lnTo>
                    <a:lnTo>
                      <a:pt x="50" y="185"/>
                    </a:lnTo>
                    <a:lnTo>
                      <a:pt x="46" y="178"/>
                    </a:lnTo>
                    <a:lnTo>
                      <a:pt x="44" y="170"/>
                    </a:lnTo>
                    <a:lnTo>
                      <a:pt x="43" y="161"/>
                    </a:lnTo>
                    <a:lnTo>
                      <a:pt x="43" y="161"/>
                    </a:lnTo>
                    <a:lnTo>
                      <a:pt x="44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5" y="135"/>
                    </a:lnTo>
                    <a:lnTo>
                      <a:pt x="62" y="131"/>
                    </a:lnTo>
                    <a:lnTo>
                      <a:pt x="70" y="128"/>
                    </a:lnTo>
                    <a:lnTo>
                      <a:pt x="79" y="126"/>
                    </a:lnTo>
                    <a:lnTo>
                      <a:pt x="90" y="126"/>
                    </a:lnTo>
                    <a:lnTo>
                      <a:pt x="90" y="126"/>
                    </a:lnTo>
                    <a:lnTo>
                      <a:pt x="107" y="126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31" y="131"/>
                    </a:lnTo>
                    <a:lnTo>
                      <a:pt x="142" y="136"/>
                    </a:lnTo>
                    <a:lnTo>
                      <a:pt x="142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3" name="Freeform 62"/>
              <p:cNvSpPr>
                <a:spLocks/>
              </p:cNvSpPr>
              <p:nvPr userDrawn="1"/>
            </p:nvSpPr>
            <p:spPr bwMode="auto">
              <a:xfrm>
                <a:off x="2303462" y="6363507"/>
                <a:ext cx="69850" cy="90488"/>
              </a:xfrm>
              <a:custGeom>
                <a:avLst/>
                <a:gdLst>
                  <a:gd name="T0" fmla="*/ 178 w 178"/>
                  <a:gd name="T1" fmla="*/ 0 h 230"/>
                  <a:gd name="T2" fmla="*/ 133 w 178"/>
                  <a:gd name="T3" fmla="*/ 0 h 230"/>
                  <a:gd name="T4" fmla="*/ 133 w 178"/>
                  <a:gd name="T5" fmla="*/ 92 h 230"/>
                  <a:gd name="T6" fmla="*/ 133 w 178"/>
                  <a:gd name="T7" fmla="*/ 92 h 230"/>
                  <a:gd name="T8" fmla="*/ 123 w 178"/>
                  <a:gd name="T9" fmla="*/ 98 h 230"/>
                  <a:gd name="T10" fmla="*/ 112 w 178"/>
                  <a:gd name="T11" fmla="*/ 102 h 230"/>
                  <a:gd name="T12" fmla="*/ 99 w 178"/>
                  <a:gd name="T13" fmla="*/ 105 h 230"/>
                  <a:gd name="T14" fmla="*/ 85 w 178"/>
                  <a:gd name="T15" fmla="*/ 106 h 230"/>
                  <a:gd name="T16" fmla="*/ 85 w 178"/>
                  <a:gd name="T17" fmla="*/ 106 h 230"/>
                  <a:gd name="T18" fmla="*/ 76 w 178"/>
                  <a:gd name="T19" fmla="*/ 105 h 230"/>
                  <a:gd name="T20" fmla="*/ 68 w 178"/>
                  <a:gd name="T21" fmla="*/ 103 h 230"/>
                  <a:gd name="T22" fmla="*/ 61 w 178"/>
                  <a:gd name="T23" fmla="*/ 101 h 230"/>
                  <a:gd name="T24" fmla="*/ 55 w 178"/>
                  <a:gd name="T25" fmla="*/ 97 h 230"/>
                  <a:gd name="T26" fmla="*/ 51 w 178"/>
                  <a:gd name="T27" fmla="*/ 91 h 230"/>
                  <a:gd name="T28" fmla="*/ 48 w 178"/>
                  <a:gd name="T29" fmla="*/ 85 h 230"/>
                  <a:gd name="T30" fmla="*/ 46 w 178"/>
                  <a:gd name="T31" fmla="*/ 76 h 230"/>
                  <a:gd name="T32" fmla="*/ 45 w 178"/>
                  <a:gd name="T33" fmla="*/ 66 h 230"/>
                  <a:gd name="T34" fmla="*/ 45 w 178"/>
                  <a:gd name="T35" fmla="*/ 0 h 230"/>
                  <a:gd name="T36" fmla="*/ 0 w 178"/>
                  <a:gd name="T37" fmla="*/ 0 h 230"/>
                  <a:gd name="T38" fmla="*/ 0 w 178"/>
                  <a:gd name="T39" fmla="*/ 64 h 230"/>
                  <a:gd name="T40" fmla="*/ 0 w 178"/>
                  <a:gd name="T41" fmla="*/ 64 h 230"/>
                  <a:gd name="T42" fmla="*/ 0 w 178"/>
                  <a:gd name="T43" fmla="*/ 74 h 230"/>
                  <a:gd name="T44" fmla="*/ 1 w 178"/>
                  <a:gd name="T45" fmla="*/ 83 h 230"/>
                  <a:gd name="T46" fmla="*/ 3 w 178"/>
                  <a:gd name="T47" fmla="*/ 91 h 230"/>
                  <a:gd name="T48" fmla="*/ 5 w 178"/>
                  <a:gd name="T49" fmla="*/ 99 h 230"/>
                  <a:gd name="T50" fmla="*/ 7 w 178"/>
                  <a:gd name="T51" fmla="*/ 106 h 230"/>
                  <a:gd name="T52" fmla="*/ 11 w 178"/>
                  <a:gd name="T53" fmla="*/ 113 h 230"/>
                  <a:gd name="T54" fmla="*/ 14 w 178"/>
                  <a:gd name="T55" fmla="*/ 119 h 230"/>
                  <a:gd name="T56" fmla="*/ 19 w 178"/>
                  <a:gd name="T57" fmla="*/ 124 h 230"/>
                  <a:gd name="T58" fmla="*/ 24 w 178"/>
                  <a:gd name="T59" fmla="*/ 129 h 230"/>
                  <a:gd name="T60" fmla="*/ 29 w 178"/>
                  <a:gd name="T61" fmla="*/ 133 h 230"/>
                  <a:gd name="T62" fmla="*/ 35 w 178"/>
                  <a:gd name="T63" fmla="*/ 137 h 230"/>
                  <a:gd name="T64" fmla="*/ 42 w 178"/>
                  <a:gd name="T65" fmla="*/ 140 h 230"/>
                  <a:gd name="T66" fmla="*/ 49 w 178"/>
                  <a:gd name="T67" fmla="*/ 142 h 230"/>
                  <a:gd name="T68" fmla="*/ 57 w 178"/>
                  <a:gd name="T69" fmla="*/ 145 h 230"/>
                  <a:gd name="T70" fmla="*/ 65 w 178"/>
                  <a:gd name="T71" fmla="*/ 145 h 230"/>
                  <a:gd name="T72" fmla="*/ 74 w 178"/>
                  <a:gd name="T73" fmla="*/ 146 h 230"/>
                  <a:gd name="T74" fmla="*/ 74 w 178"/>
                  <a:gd name="T75" fmla="*/ 146 h 230"/>
                  <a:gd name="T76" fmla="*/ 91 w 178"/>
                  <a:gd name="T77" fmla="*/ 145 h 230"/>
                  <a:gd name="T78" fmla="*/ 106 w 178"/>
                  <a:gd name="T79" fmla="*/ 141 h 230"/>
                  <a:gd name="T80" fmla="*/ 120 w 178"/>
                  <a:gd name="T81" fmla="*/ 137 h 230"/>
                  <a:gd name="T82" fmla="*/ 133 w 178"/>
                  <a:gd name="T83" fmla="*/ 131 h 230"/>
                  <a:gd name="T84" fmla="*/ 133 w 178"/>
                  <a:gd name="T85" fmla="*/ 230 h 230"/>
                  <a:gd name="T86" fmla="*/ 178 w 178"/>
                  <a:gd name="T87" fmla="*/ 230 h 230"/>
                  <a:gd name="T88" fmla="*/ 178 w 178"/>
                  <a:gd name="T8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78" h="230">
                    <a:moveTo>
                      <a:pt x="178" y="0"/>
                    </a:moveTo>
                    <a:lnTo>
                      <a:pt x="133" y="0"/>
                    </a:lnTo>
                    <a:lnTo>
                      <a:pt x="133" y="92"/>
                    </a:lnTo>
                    <a:lnTo>
                      <a:pt x="133" y="92"/>
                    </a:lnTo>
                    <a:lnTo>
                      <a:pt x="123" y="98"/>
                    </a:lnTo>
                    <a:lnTo>
                      <a:pt x="112" y="102"/>
                    </a:lnTo>
                    <a:lnTo>
                      <a:pt x="99" y="105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6" y="105"/>
                    </a:lnTo>
                    <a:lnTo>
                      <a:pt x="68" y="103"/>
                    </a:lnTo>
                    <a:lnTo>
                      <a:pt x="61" y="101"/>
                    </a:lnTo>
                    <a:lnTo>
                      <a:pt x="55" y="97"/>
                    </a:lnTo>
                    <a:lnTo>
                      <a:pt x="51" y="91"/>
                    </a:lnTo>
                    <a:lnTo>
                      <a:pt x="48" y="85"/>
                    </a:lnTo>
                    <a:lnTo>
                      <a:pt x="46" y="76"/>
                    </a:lnTo>
                    <a:lnTo>
                      <a:pt x="45" y="66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74"/>
                    </a:lnTo>
                    <a:lnTo>
                      <a:pt x="1" y="83"/>
                    </a:lnTo>
                    <a:lnTo>
                      <a:pt x="3" y="91"/>
                    </a:lnTo>
                    <a:lnTo>
                      <a:pt x="5" y="99"/>
                    </a:lnTo>
                    <a:lnTo>
                      <a:pt x="7" y="106"/>
                    </a:lnTo>
                    <a:lnTo>
                      <a:pt x="11" y="113"/>
                    </a:lnTo>
                    <a:lnTo>
                      <a:pt x="14" y="119"/>
                    </a:lnTo>
                    <a:lnTo>
                      <a:pt x="19" y="124"/>
                    </a:lnTo>
                    <a:lnTo>
                      <a:pt x="24" y="129"/>
                    </a:lnTo>
                    <a:lnTo>
                      <a:pt x="29" y="133"/>
                    </a:lnTo>
                    <a:lnTo>
                      <a:pt x="35" y="137"/>
                    </a:lnTo>
                    <a:lnTo>
                      <a:pt x="42" y="140"/>
                    </a:lnTo>
                    <a:lnTo>
                      <a:pt x="49" y="142"/>
                    </a:lnTo>
                    <a:lnTo>
                      <a:pt x="57" y="145"/>
                    </a:lnTo>
                    <a:lnTo>
                      <a:pt x="65" y="145"/>
                    </a:lnTo>
                    <a:lnTo>
                      <a:pt x="74" y="146"/>
                    </a:lnTo>
                    <a:lnTo>
                      <a:pt x="74" y="146"/>
                    </a:lnTo>
                    <a:lnTo>
                      <a:pt x="91" y="145"/>
                    </a:lnTo>
                    <a:lnTo>
                      <a:pt x="106" y="141"/>
                    </a:lnTo>
                    <a:lnTo>
                      <a:pt x="120" y="137"/>
                    </a:lnTo>
                    <a:lnTo>
                      <a:pt x="133" y="131"/>
                    </a:lnTo>
                    <a:lnTo>
                      <a:pt x="133" y="230"/>
                    </a:lnTo>
                    <a:lnTo>
                      <a:pt x="178" y="230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4" name="Freeform 63"/>
              <p:cNvSpPr>
                <a:spLocks/>
              </p:cNvSpPr>
              <p:nvPr userDrawn="1"/>
            </p:nvSpPr>
            <p:spPr bwMode="auto">
              <a:xfrm>
                <a:off x="2397125" y="6363507"/>
                <a:ext cx="74613" cy="90488"/>
              </a:xfrm>
              <a:custGeom>
                <a:avLst/>
                <a:gdLst>
                  <a:gd name="T0" fmla="*/ 0 w 186"/>
                  <a:gd name="T1" fmla="*/ 0 h 230"/>
                  <a:gd name="T2" fmla="*/ 0 w 186"/>
                  <a:gd name="T3" fmla="*/ 230 h 230"/>
                  <a:gd name="T4" fmla="*/ 45 w 186"/>
                  <a:gd name="T5" fmla="*/ 230 h 230"/>
                  <a:gd name="T6" fmla="*/ 125 w 186"/>
                  <a:gd name="T7" fmla="*/ 101 h 230"/>
                  <a:gd name="T8" fmla="*/ 125 w 186"/>
                  <a:gd name="T9" fmla="*/ 101 h 230"/>
                  <a:gd name="T10" fmla="*/ 142 w 186"/>
                  <a:gd name="T11" fmla="*/ 72 h 230"/>
                  <a:gd name="T12" fmla="*/ 142 w 186"/>
                  <a:gd name="T13" fmla="*/ 72 h 230"/>
                  <a:gd name="T14" fmla="*/ 142 w 186"/>
                  <a:gd name="T15" fmla="*/ 120 h 230"/>
                  <a:gd name="T16" fmla="*/ 142 w 186"/>
                  <a:gd name="T17" fmla="*/ 230 h 230"/>
                  <a:gd name="T18" fmla="*/ 186 w 186"/>
                  <a:gd name="T19" fmla="*/ 230 h 230"/>
                  <a:gd name="T20" fmla="*/ 186 w 186"/>
                  <a:gd name="T21" fmla="*/ 0 h 230"/>
                  <a:gd name="T22" fmla="*/ 142 w 186"/>
                  <a:gd name="T23" fmla="*/ 0 h 230"/>
                  <a:gd name="T24" fmla="*/ 62 w 186"/>
                  <a:gd name="T25" fmla="*/ 127 h 230"/>
                  <a:gd name="T26" fmla="*/ 62 w 186"/>
                  <a:gd name="T27" fmla="*/ 127 h 230"/>
                  <a:gd name="T28" fmla="*/ 52 w 186"/>
                  <a:gd name="T29" fmla="*/ 143 h 230"/>
                  <a:gd name="T30" fmla="*/ 44 w 186"/>
                  <a:gd name="T31" fmla="*/ 158 h 230"/>
                  <a:gd name="T32" fmla="*/ 44 w 186"/>
                  <a:gd name="T33" fmla="*/ 158 h 230"/>
                  <a:gd name="T34" fmla="*/ 45 w 186"/>
                  <a:gd name="T35" fmla="*/ 108 h 230"/>
                  <a:gd name="T36" fmla="*/ 45 w 186"/>
                  <a:gd name="T37" fmla="*/ 0 h 230"/>
                  <a:gd name="T38" fmla="*/ 0 w 186"/>
                  <a:gd name="T3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6" h="230">
                    <a:moveTo>
                      <a:pt x="0" y="0"/>
                    </a:moveTo>
                    <a:lnTo>
                      <a:pt x="0" y="230"/>
                    </a:lnTo>
                    <a:lnTo>
                      <a:pt x="45" y="230"/>
                    </a:lnTo>
                    <a:lnTo>
                      <a:pt x="125" y="101"/>
                    </a:lnTo>
                    <a:lnTo>
                      <a:pt x="125" y="101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42" y="120"/>
                    </a:lnTo>
                    <a:lnTo>
                      <a:pt x="142" y="230"/>
                    </a:lnTo>
                    <a:lnTo>
                      <a:pt x="186" y="230"/>
                    </a:lnTo>
                    <a:lnTo>
                      <a:pt x="186" y="0"/>
                    </a:lnTo>
                    <a:lnTo>
                      <a:pt x="142" y="0"/>
                    </a:lnTo>
                    <a:lnTo>
                      <a:pt x="62" y="127"/>
                    </a:lnTo>
                    <a:lnTo>
                      <a:pt x="62" y="127"/>
                    </a:lnTo>
                    <a:lnTo>
                      <a:pt x="52" y="143"/>
                    </a:lnTo>
                    <a:lnTo>
                      <a:pt x="44" y="158"/>
                    </a:lnTo>
                    <a:lnTo>
                      <a:pt x="44" y="158"/>
                    </a:lnTo>
                    <a:lnTo>
                      <a:pt x="45" y="108"/>
                    </a:lnTo>
                    <a:lnTo>
                      <a:pt x="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5" name="Freeform 64"/>
              <p:cNvSpPr>
                <a:spLocks noEditPoints="1"/>
              </p:cNvSpPr>
              <p:nvPr userDrawn="1"/>
            </p:nvSpPr>
            <p:spPr bwMode="auto">
              <a:xfrm>
                <a:off x="2535237" y="6325407"/>
                <a:ext cx="79375" cy="130175"/>
              </a:xfrm>
              <a:custGeom>
                <a:avLst/>
                <a:gdLst>
                  <a:gd name="T0" fmla="*/ 159 w 198"/>
                  <a:gd name="T1" fmla="*/ 4 h 328"/>
                  <a:gd name="T2" fmla="*/ 124 w 198"/>
                  <a:gd name="T3" fmla="*/ 5 h 328"/>
                  <a:gd name="T4" fmla="*/ 83 w 198"/>
                  <a:gd name="T5" fmla="*/ 13 h 328"/>
                  <a:gd name="T6" fmla="*/ 48 w 198"/>
                  <a:gd name="T7" fmla="*/ 31 h 328"/>
                  <a:gd name="T8" fmla="*/ 22 w 198"/>
                  <a:gd name="T9" fmla="*/ 59 h 328"/>
                  <a:gd name="T10" fmla="*/ 6 w 198"/>
                  <a:gd name="T11" fmla="*/ 96 h 328"/>
                  <a:gd name="T12" fmla="*/ 0 w 198"/>
                  <a:gd name="T13" fmla="*/ 143 h 328"/>
                  <a:gd name="T14" fmla="*/ 1 w 198"/>
                  <a:gd name="T15" fmla="*/ 223 h 328"/>
                  <a:gd name="T16" fmla="*/ 8 w 198"/>
                  <a:gd name="T17" fmla="*/ 259 h 328"/>
                  <a:gd name="T18" fmla="*/ 22 w 198"/>
                  <a:gd name="T19" fmla="*/ 288 h 328"/>
                  <a:gd name="T20" fmla="*/ 42 w 198"/>
                  <a:gd name="T21" fmla="*/ 310 h 328"/>
                  <a:gd name="T22" fmla="*/ 68 w 198"/>
                  <a:gd name="T23" fmla="*/ 324 h 328"/>
                  <a:gd name="T24" fmla="*/ 98 w 198"/>
                  <a:gd name="T25" fmla="*/ 328 h 328"/>
                  <a:gd name="T26" fmla="*/ 118 w 198"/>
                  <a:gd name="T27" fmla="*/ 326 h 328"/>
                  <a:gd name="T28" fmla="*/ 146 w 198"/>
                  <a:gd name="T29" fmla="*/ 316 h 328"/>
                  <a:gd name="T30" fmla="*/ 169 w 198"/>
                  <a:gd name="T31" fmla="*/ 297 h 328"/>
                  <a:gd name="T32" fmla="*/ 186 w 198"/>
                  <a:gd name="T33" fmla="*/ 271 h 328"/>
                  <a:gd name="T34" fmla="*/ 196 w 198"/>
                  <a:gd name="T35" fmla="*/ 236 h 328"/>
                  <a:gd name="T36" fmla="*/ 198 w 198"/>
                  <a:gd name="T37" fmla="*/ 210 h 328"/>
                  <a:gd name="T38" fmla="*/ 194 w 198"/>
                  <a:gd name="T39" fmla="*/ 173 h 328"/>
                  <a:gd name="T40" fmla="*/ 184 w 198"/>
                  <a:gd name="T41" fmla="*/ 142 h 328"/>
                  <a:gd name="T42" fmla="*/ 167 w 198"/>
                  <a:gd name="T43" fmla="*/ 118 h 328"/>
                  <a:gd name="T44" fmla="*/ 144 w 198"/>
                  <a:gd name="T45" fmla="*/ 102 h 328"/>
                  <a:gd name="T46" fmla="*/ 117 w 198"/>
                  <a:gd name="T47" fmla="*/ 94 h 328"/>
                  <a:gd name="T48" fmla="*/ 96 w 198"/>
                  <a:gd name="T49" fmla="*/ 94 h 328"/>
                  <a:gd name="T50" fmla="*/ 69 w 198"/>
                  <a:gd name="T51" fmla="*/ 103 h 328"/>
                  <a:gd name="T52" fmla="*/ 48 w 198"/>
                  <a:gd name="T53" fmla="*/ 123 h 328"/>
                  <a:gd name="T54" fmla="*/ 42 w 198"/>
                  <a:gd name="T55" fmla="*/ 123 h 328"/>
                  <a:gd name="T56" fmla="*/ 47 w 198"/>
                  <a:gd name="T57" fmla="*/ 97 h 328"/>
                  <a:gd name="T58" fmla="*/ 59 w 198"/>
                  <a:gd name="T59" fmla="*/ 76 h 328"/>
                  <a:gd name="T60" fmla="*/ 78 w 198"/>
                  <a:gd name="T61" fmla="*/ 59 h 328"/>
                  <a:gd name="T62" fmla="*/ 105 w 198"/>
                  <a:gd name="T63" fmla="*/ 48 h 328"/>
                  <a:gd name="T64" fmla="*/ 139 w 198"/>
                  <a:gd name="T65" fmla="*/ 44 h 328"/>
                  <a:gd name="T66" fmla="*/ 162 w 198"/>
                  <a:gd name="T67" fmla="*/ 43 h 328"/>
                  <a:gd name="T68" fmla="*/ 153 w 198"/>
                  <a:gd name="T69" fmla="*/ 211 h 328"/>
                  <a:gd name="T70" fmla="*/ 149 w 198"/>
                  <a:gd name="T71" fmla="*/ 241 h 328"/>
                  <a:gd name="T72" fmla="*/ 135 w 198"/>
                  <a:gd name="T73" fmla="*/ 270 h 328"/>
                  <a:gd name="T74" fmla="*/ 121 w 198"/>
                  <a:gd name="T75" fmla="*/ 281 h 328"/>
                  <a:gd name="T76" fmla="*/ 105 w 198"/>
                  <a:gd name="T77" fmla="*/ 286 h 328"/>
                  <a:gd name="T78" fmla="*/ 93 w 198"/>
                  <a:gd name="T79" fmla="*/ 287 h 328"/>
                  <a:gd name="T80" fmla="*/ 77 w 198"/>
                  <a:gd name="T81" fmla="*/ 282 h 328"/>
                  <a:gd name="T82" fmla="*/ 63 w 198"/>
                  <a:gd name="T83" fmla="*/ 272 h 328"/>
                  <a:gd name="T84" fmla="*/ 53 w 198"/>
                  <a:gd name="T85" fmla="*/ 256 h 328"/>
                  <a:gd name="T86" fmla="*/ 45 w 198"/>
                  <a:gd name="T87" fmla="*/ 227 h 328"/>
                  <a:gd name="T88" fmla="*/ 45 w 198"/>
                  <a:gd name="T89" fmla="*/ 193 h 328"/>
                  <a:gd name="T90" fmla="*/ 55 w 198"/>
                  <a:gd name="T91" fmla="*/ 161 h 328"/>
                  <a:gd name="T92" fmla="*/ 66 w 198"/>
                  <a:gd name="T93" fmla="*/ 147 h 328"/>
                  <a:gd name="T94" fmla="*/ 82 w 198"/>
                  <a:gd name="T95" fmla="*/ 138 h 328"/>
                  <a:gd name="T96" fmla="*/ 101 w 198"/>
                  <a:gd name="T97" fmla="*/ 135 h 328"/>
                  <a:gd name="T98" fmla="*/ 113 w 198"/>
                  <a:gd name="T99" fmla="*/ 136 h 328"/>
                  <a:gd name="T100" fmla="*/ 128 w 198"/>
                  <a:gd name="T101" fmla="*/ 143 h 328"/>
                  <a:gd name="T102" fmla="*/ 139 w 198"/>
                  <a:gd name="T103" fmla="*/ 156 h 328"/>
                  <a:gd name="T104" fmla="*/ 152 w 198"/>
                  <a:gd name="T105" fmla="*/ 194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8" h="328">
                    <a:moveTo>
                      <a:pt x="182" y="0"/>
                    </a:moveTo>
                    <a:lnTo>
                      <a:pt x="182" y="0"/>
                    </a:lnTo>
                    <a:lnTo>
                      <a:pt x="159" y="4"/>
                    </a:lnTo>
                    <a:lnTo>
                      <a:pt x="139" y="5"/>
                    </a:lnTo>
                    <a:lnTo>
                      <a:pt x="139" y="5"/>
                    </a:lnTo>
                    <a:lnTo>
                      <a:pt x="124" y="5"/>
                    </a:lnTo>
                    <a:lnTo>
                      <a:pt x="109" y="7"/>
                    </a:lnTo>
                    <a:lnTo>
                      <a:pt x="96" y="10"/>
                    </a:lnTo>
                    <a:lnTo>
                      <a:pt x="83" y="13"/>
                    </a:lnTo>
                    <a:lnTo>
                      <a:pt x="70" y="18"/>
                    </a:lnTo>
                    <a:lnTo>
                      <a:pt x="59" y="24"/>
                    </a:lnTo>
                    <a:lnTo>
                      <a:pt x="48" y="31"/>
                    </a:lnTo>
                    <a:lnTo>
                      <a:pt x="39" y="39"/>
                    </a:lnTo>
                    <a:lnTo>
                      <a:pt x="30" y="48"/>
                    </a:lnTo>
                    <a:lnTo>
                      <a:pt x="22" y="59"/>
                    </a:lnTo>
                    <a:lnTo>
                      <a:pt x="16" y="70"/>
                    </a:lnTo>
                    <a:lnTo>
                      <a:pt x="10" y="82"/>
                    </a:lnTo>
                    <a:lnTo>
                      <a:pt x="6" y="96"/>
                    </a:lnTo>
                    <a:lnTo>
                      <a:pt x="3" y="111"/>
                    </a:lnTo>
                    <a:lnTo>
                      <a:pt x="1" y="126"/>
                    </a:lnTo>
                    <a:lnTo>
                      <a:pt x="0" y="143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3"/>
                    </a:lnTo>
                    <a:lnTo>
                      <a:pt x="2" y="236"/>
                    </a:lnTo>
                    <a:lnTo>
                      <a:pt x="4" y="248"/>
                    </a:lnTo>
                    <a:lnTo>
                      <a:pt x="8" y="259"/>
                    </a:lnTo>
                    <a:lnTo>
                      <a:pt x="12" y="270"/>
                    </a:lnTo>
                    <a:lnTo>
                      <a:pt x="16" y="279"/>
                    </a:lnTo>
                    <a:lnTo>
                      <a:pt x="22" y="288"/>
                    </a:lnTo>
                    <a:lnTo>
                      <a:pt x="28" y="296"/>
                    </a:lnTo>
                    <a:lnTo>
                      <a:pt x="35" y="303"/>
                    </a:lnTo>
                    <a:lnTo>
                      <a:pt x="42" y="310"/>
                    </a:lnTo>
                    <a:lnTo>
                      <a:pt x="50" y="315"/>
                    </a:lnTo>
                    <a:lnTo>
                      <a:pt x="59" y="320"/>
                    </a:lnTo>
                    <a:lnTo>
                      <a:pt x="68" y="324"/>
                    </a:lnTo>
                    <a:lnTo>
                      <a:pt x="78" y="326"/>
                    </a:lnTo>
                    <a:lnTo>
                      <a:pt x="87" y="328"/>
                    </a:lnTo>
                    <a:lnTo>
                      <a:pt x="98" y="328"/>
                    </a:lnTo>
                    <a:lnTo>
                      <a:pt x="98" y="328"/>
                    </a:lnTo>
                    <a:lnTo>
                      <a:pt x="108" y="328"/>
                    </a:lnTo>
                    <a:lnTo>
                      <a:pt x="118" y="326"/>
                    </a:lnTo>
                    <a:lnTo>
                      <a:pt x="128" y="324"/>
                    </a:lnTo>
                    <a:lnTo>
                      <a:pt x="138" y="320"/>
                    </a:lnTo>
                    <a:lnTo>
                      <a:pt x="146" y="316"/>
                    </a:lnTo>
                    <a:lnTo>
                      <a:pt x="155" y="311"/>
                    </a:lnTo>
                    <a:lnTo>
                      <a:pt x="162" y="304"/>
                    </a:lnTo>
                    <a:lnTo>
                      <a:pt x="169" y="297"/>
                    </a:lnTo>
                    <a:lnTo>
                      <a:pt x="176" y="289"/>
                    </a:lnTo>
                    <a:lnTo>
                      <a:pt x="181" y="280"/>
                    </a:lnTo>
                    <a:lnTo>
                      <a:pt x="186" y="271"/>
                    </a:lnTo>
                    <a:lnTo>
                      <a:pt x="190" y="260"/>
                    </a:lnTo>
                    <a:lnTo>
                      <a:pt x="194" y="249"/>
                    </a:lnTo>
                    <a:lnTo>
                      <a:pt x="196" y="236"/>
                    </a:lnTo>
                    <a:lnTo>
                      <a:pt x="198" y="223"/>
                    </a:lnTo>
                    <a:lnTo>
                      <a:pt x="198" y="210"/>
                    </a:lnTo>
                    <a:lnTo>
                      <a:pt x="198" y="210"/>
                    </a:lnTo>
                    <a:lnTo>
                      <a:pt x="198" y="197"/>
                    </a:lnTo>
                    <a:lnTo>
                      <a:pt x="196" y="184"/>
                    </a:lnTo>
                    <a:lnTo>
                      <a:pt x="194" y="173"/>
                    </a:lnTo>
                    <a:lnTo>
                      <a:pt x="191" y="162"/>
                    </a:lnTo>
                    <a:lnTo>
                      <a:pt x="188" y="152"/>
                    </a:lnTo>
                    <a:lnTo>
                      <a:pt x="184" y="142"/>
                    </a:lnTo>
                    <a:lnTo>
                      <a:pt x="179" y="133"/>
                    </a:lnTo>
                    <a:lnTo>
                      <a:pt x="173" y="125"/>
                    </a:lnTo>
                    <a:lnTo>
                      <a:pt x="167" y="118"/>
                    </a:lnTo>
                    <a:lnTo>
                      <a:pt x="160" y="112"/>
                    </a:lnTo>
                    <a:lnTo>
                      <a:pt x="152" y="106"/>
                    </a:lnTo>
                    <a:lnTo>
                      <a:pt x="144" y="102"/>
                    </a:lnTo>
                    <a:lnTo>
                      <a:pt x="135" y="98"/>
                    </a:lnTo>
                    <a:lnTo>
                      <a:pt x="126" y="96"/>
                    </a:lnTo>
                    <a:lnTo>
                      <a:pt x="117" y="94"/>
                    </a:lnTo>
                    <a:lnTo>
                      <a:pt x="106" y="94"/>
                    </a:lnTo>
                    <a:lnTo>
                      <a:pt x="106" y="94"/>
                    </a:lnTo>
                    <a:lnTo>
                      <a:pt x="96" y="94"/>
                    </a:lnTo>
                    <a:lnTo>
                      <a:pt x="87" y="96"/>
                    </a:lnTo>
                    <a:lnTo>
                      <a:pt x="78" y="99"/>
                    </a:lnTo>
                    <a:lnTo>
                      <a:pt x="69" y="103"/>
                    </a:lnTo>
                    <a:lnTo>
                      <a:pt x="62" y="108"/>
                    </a:lnTo>
                    <a:lnTo>
                      <a:pt x="54" y="115"/>
                    </a:lnTo>
                    <a:lnTo>
                      <a:pt x="48" y="123"/>
                    </a:lnTo>
                    <a:lnTo>
                      <a:pt x="42" y="133"/>
                    </a:lnTo>
                    <a:lnTo>
                      <a:pt x="42" y="133"/>
                    </a:lnTo>
                    <a:lnTo>
                      <a:pt x="42" y="123"/>
                    </a:lnTo>
                    <a:lnTo>
                      <a:pt x="43" y="114"/>
                    </a:lnTo>
                    <a:lnTo>
                      <a:pt x="45" y="106"/>
                    </a:lnTo>
                    <a:lnTo>
                      <a:pt x="47" y="97"/>
                    </a:lnTo>
                    <a:lnTo>
                      <a:pt x="50" y="90"/>
                    </a:lnTo>
                    <a:lnTo>
                      <a:pt x="54" y="82"/>
                    </a:lnTo>
                    <a:lnTo>
                      <a:pt x="59" y="76"/>
                    </a:lnTo>
                    <a:lnTo>
                      <a:pt x="65" y="69"/>
                    </a:lnTo>
                    <a:lnTo>
                      <a:pt x="71" y="64"/>
                    </a:lnTo>
                    <a:lnTo>
                      <a:pt x="78" y="59"/>
                    </a:lnTo>
                    <a:lnTo>
                      <a:pt x="86" y="54"/>
                    </a:lnTo>
                    <a:lnTo>
                      <a:pt x="95" y="51"/>
                    </a:lnTo>
                    <a:lnTo>
                      <a:pt x="105" y="48"/>
                    </a:lnTo>
                    <a:lnTo>
                      <a:pt x="115" y="46"/>
                    </a:lnTo>
                    <a:lnTo>
                      <a:pt x="127" y="44"/>
                    </a:lnTo>
                    <a:lnTo>
                      <a:pt x="139" y="44"/>
                    </a:lnTo>
                    <a:lnTo>
                      <a:pt x="139" y="44"/>
                    </a:lnTo>
                    <a:lnTo>
                      <a:pt x="151" y="44"/>
                    </a:lnTo>
                    <a:lnTo>
                      <a:pt x="162" y="43"/>
                    </a:lnTo>
                    <a:lnTo>
                      <a:pt x="182" y="40"/>
                    </a:lnTo>
                    <a:lnTo>
                      <a:pt x="182" y="0"/>
                    </a:lnTo>
                    <a:close/>
                    <a:moveTo>
                      <a:pt x="153" y="211"/>
                    </a:moveTo>
                    <a:lnTo>
                      <a:pt x="153" y="211"/>
                    </a:lnTo>
                    <a:lnTo>
                      <a:pt x="152" y="226"/>
                    </a:lnTo>
                    <a:lnTo>
                      <a:pt x="149" y="241"/>
                    </a:lnTo>
                    <a:lnTo>
                      <a:pt x="145" y="254"/>
                    </a:lnTo>
                    <a:lnTo>
                      <a:pt x="138" y="265"/>
                    </a:lnTo>
                    <a:lnTo>
                      <a:pt x="135" y="270"/>
                    </a:lnTo>
                    <a:lnTo>
                      <a:pt x="131" y="274"/>
                    </a:lnTo>
                    <a:lnTo>
                      <a:pt x="126" y="278"/>
                    </a:lnTo>
                    <a:lnTo>
                      <a:pt x="121" y="281"/>
                    </a:lnTo>
                    <a:lnTo>
                      <a:pt x="116" y="283"/>
                    </a:lnTo>
                    <a:lnTo>
                      <a:pt x="111" y="285"/>
                    </a:lnTo>
                    <a:lnTo>
                      <a:pt x="105" y="286"/>
                    </a:lnTo>
                    <a:lnTo>
                      <a:pt x="99" y="287"/>
                    </a:lnTo>
                    <a:lnTo>
                      <a:pt x="99" y="287"/>
                    </a:lnTo>
                    <a:lnTo>
                      <a:pt x="93" y="287"/>
                    </a:lnTo>
                    <a:lnTo>
                      <a:pt x="87" y="286"/>
                    </a:lnTo>
                    <a:lnTo>
                      <a:pt x="82" y="284"/>
                    </a:lnTo>
                    <a:lnTo>
                      <a:pt x="77" y="282"/>
                    </a:lnTo>
                    <a:lnTo>
                      <a:pt x="72" y="279"/>
                    </a:lnTo>
                    <a:lnTo>
                      <a:pt x="67" y="276"/>
                    </a:lnTo>
                    <a:lnTo>
                      <a:pt x="63" y="272"/>
                    </a:lnTo>
                    <a:lnTo>
                      <a:pt x="59" y="267"/>
                    </a:lnTo>
                    <a:lnTo>
                      <a:pt x="56" y="262"/>
                    </a:lnTo>
                    <a:lnTo>
                      <a:pt x="53" y="256"/>
                    </a:lnTo>
                    <a:lnTo>
                      <a:pt x="50" y="250"/>
                    </a:lnTo>
                    <a:lnTo>
                      <a:pt x="48" y="243"/>
                    </a:lnTo>
                    <a:lnTo>
                      <a:pt x="45" y="227"/>
                    </a:lnTo>
                    <a:lnTo>
                      <a:pt x="44" y="209"/>
                    </a:lnTo>
                    <a:lnTo>
                      <a:pt x="44" y="209"/>
                    </a:lnTo>
                    <a:lnTo>
                      <a:pt x="45" y="193"/>
                    </a:lnTo>
                    <a:lnTo>
                      <a:pt x="48" y="179"/>
                    </a:lnTo>
                    <a:lnTo>
                      <a:pt x="52" y="166"/>
                    </a:lnTo>
                    <a:lnTo>
                      <a:pt x="55" y="161"/>
                    </a:lnTo>
                    <a:lnTo>
                      <a:pt x="58" y="155"/>
                    </a:lnTo>
                    <a:lnTo>
                      <a:pt x="62" y="151"/>
                    </a:lnTo>
                    <a:lnTo>
                      <a:pt x="66" y="147"/>
                    </a:lnTo>
                    <a:lnTo>
                      <a:pt x="71" y="143"/>
                    </a:lnTo>
                    <a:lnTo>
                      <a:pt x="76" y="140"/>
                    </a:lnTo>
                    <a:lnTo>
                      <a:pt x="82" y="138"/>
                    </a:lnTo>
                    <a:lnTo>
                      <a:pt x="88" y="136"/>
                    </a:lnTo>
                    <a:lnTo>
                      <a:pt x="94" y="135"/>
                    </a:lnTo>
                    <a:lnTo>
                      <a:pt x="101" y="135"/>
                    </a:lnTo>
                    <a:lnTo>
                      <a:pt x="101" y="135"/>
                    </a:lnTo>
                    <a:lnTo>
                      <a:pt x="107" y="135"/>
                    </a:lnTo>
                    <a:lnTo>
                      <a:pt x="113" y="136"/>
                    </a:lnTo>
                    <a:lnTo>
                      <a:pt x="118" y="138"/>
                    </a:lnTo>
                    <a:lnTo>
                      <a:pt x="123" y="140"/>
                    </a:lnTo>
                    <a:lnTo>
                      <a:pt x="128" y="143"/>
                    </a:lnTo>
                    <a:lnTo>
                      <a:pt x="132" y="147"/>
                    </a:lnTo>
                    <a:lnTo>
                      <a:pt x="136" y="151"/>
                    </a:lnTo>
                    <a:lnTo>
                      <a:pt x="139" y="156"/>
                    </a:lnTo>
                    <a:lnTo>
                      <a:pt x="145" y="167"/>
                    </a:lnTo>
                    <a:lnTo>
                      <a:pt x="150" y="180"/>
                    </a:lnTo>
                    <a:lnTo>
                      <a:pt x="152" y="194"/>
                    </a:lnTo>
                    <a:lnTo>
                      <a:pt x="153" y="211"/>
                    </a:lnTo>
                    <a:lnTo>
                      <a:pt x="153" y="211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6" name="Freeform 65"/>
              <p:cNvSpPr>
                <a:spLocks/>
              </p:cNvSpPr>
              <p:nvPr userDrawn="1"/>
            </p:nvSpPr>
            <p:spPr bwMode="auto">
              <a:xfrm>
                <a:off x="2633662" y="6363507"/>
                <a:ext cx="74613" cy="90488"/>
              </a:xfrm>
              <a:custGeom>
                <a:avLst/>
                <a:gdLst>
                  <a:gd name="T0" fmla="*/ 0 w 188"/>
                  <a:gd name="T1" fmla="*/ 0 h 230"/>
                  <a:gd name="T2" fmla="*/ 0 w 188"/>
                  <a:gd name="T3" fmla="*/ 230 h 230"/>
                  <a:gd name="T4" fmla="*/ 45 w 188"/>
                  <a:gd name="T5" fmla="*/ 230 h 230"/>
                  <a:gd name="T6" fmla="*/ 126 w 188"/>
                  <a:gd name="T7" fmla="*/ 101 h 230"/>
                  <a:gd name="T8" fmla="*/ 126 w 188"/>
                  <a:gd name="T9" fmla="*/ 101 h 230"/>
                  <a:gd name="T10" fmla="*/ 143 w 188"/>
                  <a:gd name="T11" fmla="*/ 72 h 230"/>
                  <a:gd name="T12" fmla="*/ 143 w 188"/>
                  <a:gd name="T13" fmla="*/ 72 h 230"/>
                  <a:gd name="T14" fmla="*/ 143 w 188"/>
                  <a:gd name="T15" fmla="*/ 120 h 230"/>
                  <a:gd name="T16" fmla="*/ 143 w 188"/>
                  <a:gd name="T17" fmla="*/ 230 h 230"/>
                  <a:gd name="T18" fmla="*/ 188 w 188"/>
                  <a:gd name="T19" fmla="*/ 230 h 230"/>
                  <a:gd name="T20" fmla="*/ 188 w 188"/>
                  <a:gd name="T21" fmla="*/ 0 h 230"/>
                  <a:gd name="T22" fmla="*/ 143 w 188"/>
                  <a:gd name="T23" fmla="*/ 0 h 230"/>
                  <a:gd name="T24" fmla="*/ 62 w 188"/>
                  <a:gd name="T25" fmla="*/ 127 h 230"/>
                  <a:gd name="T26" fmla="*/ 62 w 188"/>
                  <a:gd name="T27" fmla="*/ 127 h 230"/>
                  <a:gd name="T28" fmla="*/ 52 w 188"/>
                  <a:gd name="T29" fmla="*/ 143 h 230"/>
                  <a:gd name="T30" fmla="*/ 45 w 188"/>
                  <a:gd name="T31" fmla="*/ 158 h 230"/>
                  <a:gd name="T32" fmla="*/ 45 w 188"/>
                  <a:gd name="T33" fmla="*/ 158 h 230"/>
                  <a:gd name="T34" fmla="*/ 45 w 188"/>
                  <a:gd name="T35" fmla="*/ 108 h 230"/>
                  <a:gd name="T36" fmla="*/ 45 w 188"/>
                  <a:gd name="T37" fmla="*/ 0 h 230"/>
                  <a:gd name="T38" fmla="*/ 0 w 188"/>
                  <a:gd name="T3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8" h="230">
                    <a:moveTo>
                      <a:pt x="0" y="0"/>
                    </a:moveTo>
                    <a:lnTo>
                      <a:pt x="0" y="230"/>
                    </a:lnTo>
                    <a:lnTo>
                      <a:pt x="45" y="230"/>
                    </a:lnTo>
                    <a:lnTo>
                      <a:pt x="126" y="101"/>
                    </a:lnTo>
                    <a:lnTo>
                      <a:pt x="126" y="101"/>
                    </a:lnTo>
                    <a:lnTo>
                      <a:pt x="143" y="72"/>
                    </a:lnTo>
                    <a:lnTo>
                      <a:pt x="143" y="72"/>
                    </a:lnTo>
                    <a:lnTo>
                      <a:pt x="143" y="120"/>
                    </a:lnTo>
                    <a:lnTo>
                      <a:pt x="143" y="230"/>
                    </a:lnTo>
                    <a:lnTo>
                      <a:pt x="188" y="230"/>
                    </a:lnTo>
                    <a:lnTo>
                      <a:pt x="188" y="0"/>
                    </a:lnTo>
                    <a:lnTo>
                      <a:pt x="143" y="0"/>
                    </a:lnTo>
                    <a:lnTo>
                      <a:pt x="62" y="127"/>
                    </a:lnTo>
                    <a:lnTo>
                      <a:pt x="62" y="127"/>
                    </a:lnTo>
                    <a:lnTo>
                      <a:pt x="52" y="143"/>
                    </a:lnTo>
                    <a:lnTo>
                      <a:pt x="45" y="158"/>
                    </a:lnTo>
                    <a:lnTo>
                      <a:pt x="45" y="158"/>
                    </a:lnTo>
                    <a:lnTo>
                      <a:pt x="45" y="108"/>
                    </a:lnTo>
                    <a:lnTo>
                      <a:pt x="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7" name="Freeform 66"/>
              <p:cNvSpPr>
                <a:spLocks/>
              </p:cNvSpPr>
              <p:nvPr userDrawn="1"/>
            </p:nvSpPr>
            <p:spPr bwMode="auto">
              <a:xfrm>
                <a:off x="2722562" y="6360332"/>
                <a:ext cx="69850" cy="95250"/>
              </a:xfrm>
              <a:custGeom>
                <a:avLst/>
                <a:gdLst>
                  <a:gd name="T0" fmla="*/ 93 w 177"/>
                  <a:gd name="T1" fmla="*/ 131 h 239"/>
                  <a:gd name="T2" fmla="*/ 117 w 177"/>
                  <a:gd name="T3" fmla="*/ 137 h 239"/>
                  <a:gd name="T4" fmla="*/ 130 w 177"/>
                  <a:gd name="T5" fmla="*/ 153 h 239"/>
                  <a:gd name="T6" fmla="*/ 132 w 177"/>
                  <a:gd name="T7" fmla="*/ 166 h 239"/>
                  <a:gd name="T8" fmla="*/ 126 w 177"/>
                  <a:gd name="T9" fmla="*/ 185 h 239"/>
                  <a:gd name="T10" fmla="*/ 106 w 177"/>
                  <a:gd name="T11" fmla="*/ 198 h 239"/>
                  <a:gd name="T12" fmla="*/ 85 w 177"/>
                  <a:gd name="T13" fmla="*/ 201 h 239"/>
                  <a:gd name="T14" fmla="*/ 61 w 177"/>
                  <a:gd name="T15" fmla="*/ 197 h 239"/>
                  <a:gd name="T16" fmla="*/ 36 w 177"/>
                  <a:gd name="T17" fmla="*/ 187 h 239"/>
                  <a:gd name="T18" fmla="*/ 0 w 177"/>
                  <a:gd name="T19" fmla="*/ 210 h 239"/>
                  <a:gd name="T20" fmla="*/ 18 w 177"/>
                  <a:gd name="T21" fmla="*/ 222 h 239"/>
                  <a:gd name="T22" fmla="*/ 50 w 177"/>
                  <a:gd name="T23" fmla="*/ 235 h 239"/>
                  <a:gd name="T24" fmla="*/ 83 w 177"/>
                  <a:gd name="T25" fmla="*/ 239 h 239"/>
                  <a:gd name="T26" fmla="*/ 106 w 177"/>
                  <a:gd name="T27" fmla="*/ 238 h 239"/>
                  <a:gd name="T28" fmla="*/ 134 w 177"/>
                  <a:gd name="T29" fmla="*/ 231 h 239"/>
                  <a:gd name="T30" fmla="*/ 154 w 177"/>
                  <a:gd name="T31" fmla="*/ 218 h 239"/>
                  <a:gd name="T32" fmla="*/ 168 w 177"/>
                  <a:gd name="T33" fmla="*/ 202 h 239"/>
                  <a:gd name="T34" fmla="*/ 176 w 177"/>
                  <a:gd name="T35" fmla="*/ 182 h 239"/>
                  <a:gd name="T36" fmla="*/ 177 w 177"/>
                  <a:gd name="T37" fmla="*/ 168 h 239"/>
                  <a:gd name="T38" fmla="*/ 168 w 177"/>
                  <a:gd name="T39" fmla="*/ 137 h 239"/>
                  <a:gd name="T40" fmla="*/ 149 w 177"/>
                  <a:gd name="T41" fmla="*/ 118 h 239"/>
                  <a:gd name="T42" fmla="*/ 133 w 177"/>
                  <a:gd name="T43" fmla="*/ 112 h 239"/>
                  <a:gd name="T44" fmla="*/ 154 w 177"/>
                  <a:gd name="T45" fmla="*/ 99 h 239"/>
                  <a:gd name="T46" fmla="*/ 167 w 177"/>
                  <a:gd name="T47" fmla="*/ 80 h 239"/>
                  <a:gd name="T48" fmla="*/ 170 w 177"/>
                  <a:gd name="T49" fmla="*/ 64 h 239"/>
                  <a:gd name="T50" fmla="*/ 167 w 177"/>
                  <a:gd name="T51" fmla="*/ 45 h 239"/>
                  <a:gd name="T52" fmla="*/ 159 w 177"/>
                  <a:gd name="T53" fmla="*/ 28 h 239"/>
                  <a:gd name="T54" fmla="*/ 144 w 177"/>
                  <a:gd name="T55" fmla="*/ 15 h 239"/>
                  <a:gd name="T56" fmla="*/ 123 w 177"/>
                  <a:gd name="T57" fmla="*/ 5 h 239"/>
                  <a:gd name="T58" fmla="*/ 96 w 177"/>
                  <a:gd name="T59" fmla="*/ 0 h 239"/>
                  <a:gd name="T60" fmla="*/ 74 w 177"/>
                  <a:gd name="T61" fmla="*/ 0 h 239"/>
                  <a:gd name="T62" fmla="*/ 43 w 177"/>
                  <a:gd name="T63" fmla="*/ 7 h 239"/>
                  <a:gd name="T64" fmla="*/ 15 w 177"/>
                  <a:gd name="T65" fmla="*/ 20 h 239"/>
                  <a:gd name="T66" fmla="*/ 27 w 177"/>
                  <a:gd name="T67" fmla="*/ 60 h 239"/>
                  <a:gd name="T68" fmla="*/ 56 w 177"/>
                  <a:gd name="T69" fmla="*/ 44 h 239"/>
                  <a:gd name="T70" fmla="*/ 79 w 177"/>
                  <a:gd name="T71" fmla="*/ 39 h 239"/>
                  <a:gd name="T72" fmla="*/ 97 w 177"/>
                  <a:gd name="T73" fmla="*/ 39 h 239"/>
                  <a:gd name="T74" fmla="*/ 117 w 177"/>
                  <a:gd name="T75" fmla="*/ 47 h 239"/>
                  <a:gd name="T76" fmla="*/ 125 w 177"/>
                  <a:gd name="T77" fmla="*/ 62 h 239"/>
                  <a:gd name="T78" fmla="*/ 125 w 177"/>
                  <a:gd name="T79" fmla="*/ 72 h 239"/>
                  <a:gd name="T80" fmla="*/ 118 w 177"/>
                  <a:gd name="T81" fmla="*/ 86 h 239"/>
                  <a:gd name="T82" fmla="*/ 99 w 177"/>
                  <a:gd name="T83" fmla="*/ 94 h 239"/>
                  <a:gd name="T84" fmla="*/ 61 w 177"/>
                  <a:gd name="T85" fmla="*/ 131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7" h="239">
                    <a:moveTo>
                      <a:pt x="61" y="131"/>
                    </a:moveTo>
                    <a:lnTo>
                      <a:pt x="93" y="131"/>
                    </a:lnTo>
                    <a:lnTo>
                      <a:pt x="93" y="131"/>
                    </a:lnTo>
                    <a:lnTo>
                      <a:pt x="102" y="132"/>
                    </a:lnTo>
                    <a:lnTo>
                      <a:pt x="111" y="134"/>
                    </a:lnTo>
                    <a:lnTo>
                      <a:pt x="117" y="137"/>
                    </a:lnTo>
                    <a:lnTo>
                      <a:pt x="123" y="142"/>
                    </a:lnTo>
                    <a:lnTo>
                      <a:pt x="127" y="147"/>
                    </a:lnTo>
                    <a:lnTo>
                      <a:pt x="130" y="153"/>
                    </a:lnTo>
                    <a:lnTo>
                      <a:pt x="131" y="159"/>
                    </a:lnTo>
                    <a:lnTo>
                      <a:pt x="132" y="166"/>
                    </a:lnTo>
                    <a:lnTo>
                      <a:pt x="132" y="166"/>
                    </a:lnTo>
                    <a:lnTo>
                      <a:pt x="131" y="173"/>
                    </a:lnTo>
                    <a:lnTo>
                      <a:pt x="129" y="179"/>
                    </a:lnTo>
                    <a:lnTo>
                      <a:pt x="126" y="185"/>
                    </a:lnTo>
                    <a:lnTo>
                      <a:pt x="121" y="190"/>
                    </a:lnTo>
                    <a:lnTo>
                      <a:pt x="115" y="194"/>
                    </a:lnTo>
                    <a:lnTo>
                      <a:pt x="106" y="198"/>
                    </a:lnTo>
                    <a:lnTo>
                      <a:pt x="97" y="200"/>
                    </a:lnTo>
                    <a:lnTo>
                      <a:pt x="85" y="201"/>
                    </a:lnTo>
                    <a:lnTo>
                      <a:pt x="85" y="201"/>
                    </a:lnTo>
                    <a:lnTo>
                      <a:pt x="77" y="200"/>
                    </a:lnTo>
                    <a:lnTo>
                      <a:pt x="69" y="199"/>
                    </a:lnTo>
                    <a:lnTo>
                      <a:pt x="61" y="197"/>
                    </a:lnTo>
                    <a:lnTo>
                      <a:pt x="53" y="194"/>
                    </a:lnTo>
                    <a:lnTo>
                      <a:pt x="44" y="191"/>
                    </a:lnTo>
                    <a:lnTo>
                      <a:pt x="36" y="187"/>
                    </a:lnTo>
                    <a:lnTo>
                      <a:pt x="28" y="182"/>
                    </a:lnTo>
                    <a:lnTo>
                      <a:pt x="20" y="176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9" y="216"/>
                    </a:lnTo>
                    <a:lnTo>
                      <a:pt x="18" y="222"/>
                    </a:lnTo>
                    <a:lnTo>
                      <a:pt x="28" y="227"/>
                    </a:lnTo>
                    <a:lnTo>
                      <a:pt x="39" y="231"/>
                    </a:lnTo>
                    <a:lnTo>
                      <a:pt x="50" y="235"/>
                    </a:lnTo>
                    <a:lnTo>
                      <a:pt x="61" y="237"/>
                    </a:lnTo>
                    <a:lnTo>
                      <a:pt x="72" y="239"/>
                    </a:lnTo>
                    <a:lnTo>
                      <a:pt x="83" y="239"/>
                    </a:lnTo>
                    <a:lnTo>
                      <a:pt x="83" y="239"/>
                    </a:lnTo>
                    <a:lnTo>
                      <a:pt x="95" y="239"/>
                    </a:lnTo>
                    <a:lnTo>
                      <a:pt x="106" y="238"/>
                    </a:lnTo>
                    <a:lnTo>
                      <a:pt x="116" y="236"/>
                    </a:lnTo>
                    <a:lnTo>
                      <a:pt x="125" y="234"/>
                    </a:lnTo>
                    <a:lnTo>
                      <a:pt x="134" y="231"/>
                    </a:lnTo>
                    <a:lnTo>
                      <a:pt x="141" y="227"/>
                    </a:lnTo>
                    <a:lnTo>
                      <a:pt x="148" y="223"/>
                    </a:lnTo>
                    <a:lnTo>
                      <a:pt x="154" y="218"/>
                    </a:lnTo>
                    <a:lnTo>
                      <a:pt x="160" y="213"/>
                    </a:lnTo>
                    <a:lnTo>
                      <a:pt x="164" y="208"/>
                    </a:lnTo>
                    <a:lnTo>
                      <a:pt x="168" y="202"/>
                    </a:lnTo>
                    <a:lnTo>
                      <a:pt x="171" y="196"/>
                    </a:lnTo>
                    <a:lnTo>
                      <a:pt x="174" y="189"/>
                    </a:lnTo>
                    <a:lnTo>
                      <a:pt x="176" y="182"/>
                    </a:lnTo>
                    <a:lnTo>
                      <a:pt x="177" y="175"/>
                    </a:lnTo>
                    <a:lnTo>
                      <a:pt x="177" y="168"/>
                    </a:lnTo>
                    <a:lnTo>
                      <a:pt x="177" y="168"/>
                    </a:lnTo>
                    <a:lnTo>
                      <a:pt x="176" y="157"/>
                    </a:lnTo>
                    <a:lnTo>
                      <a:pt x="173" y="145"/>
                    </a:lnTo>
                    <a:lnTo>
                      <a:pt x="168" y="137"/>
                    </a:lnTo>
                    <a:lnTo>
                      <a:pt x="163" y="129"/>
                    </a:lnTo>
                    <a:lnTo>
                      <a:pt x="156" y="123"/>
                    </a:lnTo>
                    <a:lnTo>
                      <a:pt x="149" y="118"/>
                    </a:lnTo>
                    <a:lnTo>
                      <a:pt x="141" y="114"/>
                    </a:lnTo>
                    <a:lnTo>
                      <a:pt x="133" y="112"/>
                    </a:lnTo>
                    <a:lnTo>
                      <a:pt x="133" y="112"/>
                    </a:lnTo>
                    <a:lnTo>
                      <a:pt x="141" y="108"/>
                    </a:lnTo>
                    <a:lnTo>
                      <a:pt x="148" y="104"/>
                    </a:lnTo>
                    <a:lnTo>
                      <a:pt x="154" y="99"/>
                    </a:lnTo>
                    <a:lnTo>
                      <a:pt x="159" y="94"/>
                    </a:lnTo>
                    <a:lnTo>
                      <a:pt x="164" y="88"/>
                    </a:lnTo>
                    <a:lnTo>
                      <a:pt x="167" y="80"/>
                    </a:lnTo>
                    <a:lnTo>
                      <a:pt x="169" y="73"/>
                    </a:lnTo>
                    <a:lnTo>
                      <a:pt x="170" y="64"/>
                    </a:lnTo>
                    <a:lnTo>
                      <a:pt x="170" y="64"/>
                    </a:lnTo>
                    <a:lnTo>
                      <a:pt x="170" y="57"/>
                    </a:lnTo>
                    <a:lnTo>
                      <a:pt x="169" y="51"/>
                    </a:lnTo>
                    <a:lnTo>
                      <a:pt x="167" y="45"/>
                    </a:lnTo>
                    <a:lnTo>
                      <a:pt x="165" y="39"/>
                    </a:lnTo>
                    <a:lnTo>
                      <a:pt x="162" y="34"/>
                    </a:lnTo>
                    <a:lnTo>
                      <a:pt x="159" y="28"/>
                    </a:lnTo>
                    <a:lnTo>
                      <a:pt x="155" y="23"/>
                    </a:lnTo>
                    <a:lnTo>
                      <a:pt x="150" y="19"/>
                    </a:lnTo>
                    <a:lnTo>
                      <a:pt x="144" y="15"/>
                    </a:lnTo>
                    <a:lnTo>
                      <a:pt x="138" y="11"/>
                    </a:lnTo>
                    <a:lnTo>
                      <a:pt x="131" y="8"/>
                    </a:lnTo>
                    <a:lnTo>
                      <a:pt x="123" y="5"/>
                    </a:lnTo>
                    <a:lnTo>
                      <a:pt x="115" y="3"/>
                    </a:lnTo>
                    <a:lnTo>
                      <a:pt x="106" y="1"/>
                    </a:lnTo>
                    <a:lnTo>
                      <a:pt x="96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74" y="0"/>
                    </a:lnTo>
                    <a:lnTo>
                      <a:pt x="64" y="2"/>
                    </a:lnTo>
                    <a:lnTo>
                      <a:pt x="53" y="4"/>
                    </a:lnTo>
                    <a:lnTo>
                      <a:pt x="43" y="7"/>
                    </a:lnTo>
                    <a:lnTo>
                      <a:pt x="33" y="11"/>
                    </a:lnTo>
                    <a:lnTo>
                      <a:pt x="24" y="15"/>
                    </a:lnTo>
                    <a:lnTo>
                      <a:pt x="15" y="20"/>
                    </a:lnTo>
                    <a:lnTo>
                      <a:pt x="7" y="25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41" y="50"/>
                    </a:lnTo>
                    <a:lnTo>
                      <a:pt x="49" y="47"/>
                    </a:lnTo>
                    <a:lnTo>
                      <a:pt x="56" y="44"/>
                    </a:lnTo>
                    <a:lnTo>
                      <a:pt x="63" y="42"/>
                    </a:lnTo>
                    <a:lnTo>
                      <a:pt x="71" y="40"/>
                    </a:lnTo>
                    <a:lnTo>
                      <a:pt x="79" y="39"/>
                    </a:lnTo>
                    <a:lnTo>
                      <a:pt x="87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5" y="41"/>
                    </a:lnTo>
                    <a:lnTo>
                      <a:pt x="111" y="44"/>
                    </a:lnTo>
                    <a:lnTo>
                      <a:pt x="117" y="47"/>
                    </a:lnTo>
                    <a:lnTo>
                      <a:pt x="121" y="52"/>
                    </a:lnTo>
                    <a:lnTo>
                      <a:pt x="124" y="56"/>
                    </a:lnTo>
                    <a:lnTo>
                      <a:pt x="125" y="62"/>
                    </a:lnTo>
                    <a:lnTo>
                      <a:pt x="126" y="67"/>
                    </a:lnTo>
                    <a:lnTo>
                      <a:pt x="126" y="67"/>
                    </a:lnTo>
                    <a:lnTo>
                      <a:pt x="125" y="72"/>
                    </a:lnTo>
                    <a:lnTo>
                      <a:pt x="124" y="77"/>
                    </a:lnTo>
                    <a:lnTo>
                      <a:pt x="121" y="82"/>
                    </a:lnTo>
                    <a:lnTo>
                      <a:pt x="118" y="86"/>
                    </a:lnTo>
                    <a:lnTo>
                      <a:pt x="113" y="89"/>
                    </a:lnTo>
                    <a:lnTo>
                      <a:pt x="107" y="92"/>
                    </a:lnTo>
                    <a:lnTo>
                      <a:pt x="99" y="94"/>
                    </a:lnTo>
                    <a:lnTo>
                      <a:pt x="91" y="94"/>
                    </a:lnTo>
                    <a:lnTo>
                      <a:pt x="61" y="94"/>
                    </a:lnTo>
                    <a:lnTo>
                      <a:pt x="61" y="131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8" name="Freeform 67"/>
              <p:cNvSpPr>
                <a:spLocks/>
              </p:cNvSpPr>
              <p:nvPr userDrawn="1"/>
            </p:nvSpPr>
            <p:spPr bwMode="auto">
              <a:xfrm>
                <a:off x="2809875" y="6363507"/>
                <a:ext cx="73025" cy="90488"/>
              </a:xfrm>
              <a:custGeom>
                <a:avLst/>
                <a:gdLst>
                  <a:gd name="T0" fmla="*/ 139 w 185"/>
                  <a:gd name="T1" fmla="*/ 0 h 230"/>
                  <a:gd name="T2" fmla="*/ 139 w 185"/>
                  <a:gd name="T3" fmla="*/ 87 h 230"/>
                  <a:gd name="T4" fmla="*/ 45 w 185"/>
                  <a:gd name="T5" fmla="*/ 87 h 230"/>
                  <a:gd name="T6" fmla="*/ 45 w 185"/>
                  <a:gd name="T7" fmla="*/ 0 h 230"/>
                  <a:gd name="T8" fmla="*/ 0 w 185"/>
                  <a:gd name="T9" fmla="*/ 0 h 230"/>
                  <a:gd name="T10" fmla="*/ 0 w 185"/>
                  <a:gd name="T11" fmla="*/ 230 h 230"/>
                  <a:gd name="T12" fmla="*/ 45 w 185"/>
                  <a:gd name="T13" fmla="*/ 230 h 230"/>
                  <a:gd name="T14" fmla="*/ 45 w 185"/>
                  <a:gd name="T15" fmla="*/ 126 h 230"/>
                  <a:gd name="T16" fmla="*/ 139 w 185"/>
                  <a:gd name="T17" fmla="*/ 126 h 230"/>
                  <a:gd name="T18" fmla="*/ 139 w 185"/>
                  <a:gd name="T19" fmla="*/ 230 h 230"/>
                  <a:gd name="T20" fmla="*/ 185 w 185"/>
                  <a:gd name="T21" fmla="*/ 230 h 230"/>
                  <a:gd name="T22" fmla="*/ 185 w 185"/>
                  <a:gd name="T23" fmla="*/ 0 h 230"/>
                  <a:gd name="T24" fmla="*/ 139 w 185"/>
                  <a:gd name="T25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5" h="230">
                    <a:moveTo>
                      <a:pt x="139" y="0"/>
                    </a:moveTo>
                    <a:lnTo>
                      <a:pt x="139" y="87"/>
                    </a:lnTo>
                    <a:lnTo>
                      <a:pt x="45" y="87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5" y="230"/>
                    </a:lnTo>
                    <a:lnTo>
                      <a:pt x="45" y="126"/>
                    </a:lnTo>
                    <a:lnTo>
                      <a:pt x="139" y="126"/>
                    </a:lnTo>
                    <a:lnTo>
                      <a:pt x="139" y="230"/>
                    </a:lnTo>
                    <a:lnTo>
                      <a:pt x="185" y="230"/>
                    </a:lnTo>
                    <a:lnTo>
                      <a:pt x="185" y="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9" name="Freeform 68"/>
              <p:cNvSpPr>
                <a:spLocks noEditPoints="1"/>
              </p:cNvSpPr>
              <p:nvPr userDrawn="1"/>
            </p:nvSpPr>
            <p:spPr bwMode="auto">
              <a:xfrm>
                <a:off x="2901950" y="6360332"/>
                <a:ext cx="77788" cy="95250"/>
              </a:xfrm>
              <a:custGeom>
                <a:avLst/>
                <a:gdLst>
                  <a:gd name="T0" fmla="*/ 197 w 197"/>
                  <a:gd name="T1" fmla="*/ 114 h 239"/>
                  <a:gd name="T2" fmla="*/ 195 w 197"/>
                  <a:gd name="T3" fmla="*/ 92 h 239"/>
                  <a:gd name="T4" fmla="*/ 191 w 197"/>
                  <a:gd name="T5" fmla="*/ 70 h 239"/>
                  <a:gd name="T6" fmla="*/ 183 w 197"/>
                  <a:gd name="T7" fmla="*/ 51 h 239"/>
                  <a:gd name="T8" fmla="*/ 173 w 197"/>
                  <a:gd name="T9" fmla="*/ 34 h 239"/>
                  <a:gd name="T10" fmla="*/ 159 w 197"/>
                  <a:gd name="T11" fmla="*/ 20 h 239"/>
                  <a:gd name="T12" fmla="*/ 143 w 197"/>
                  <a:gd name="T13" fmla="*/ 9 h 239"/>
                  <a:gd name="T14" fmla="*/ 123 w 197"/>
                  <a:gd name="T15" fmla="*/ 2 h 239"/>
                  <a:gd name="T16" fmla="*/ 100 w 197"/>
                  <a:gd name="T17" fmla="*/ 0 h 239"/>
                  <a:gd name="T18" fmla="*/ 89 w 197"/>
                  <a:gd name="T19" fmla="*/ 0 h 239"/>
                  <a:gd name="T20" fmla="*/ 69 w 197"/>
                  <a:gd name="T21" fmla="*/ 4 h 239"/>
                  <a:gd name="T22" fmla="*/ 51 w 197"/>
                  <a:gd name="T23" fmla="*/ 12 h 239"/>
                  <a:gd name="T24" fmla="*/ 35 w 197"/>
                  <a:gd name="T25" fmla="*/ 23 h 239"/>
                  <a:gd name="T26" fmla="*/ 22 w 197"/>
                  <a:gd name="T27" fmla="*/ 38 h 239"/>
                  <a:gd name="T28" fmla="*/ 11 w 197"/>
                  <a:gd name="T29" fmla="*/ 57 h 239"/>
                  <a:gd name="T30" fmla="*/ 4 w 197"/>
                  <a:gd name="T31" fmla="*/ 79 h 239"/>
                  <a:gd name="T32" fmla="*/ 1 w 197"/>
                  <a:gd name="T33" fmla="*/ 105 h 239"/>
                  <a:gd name="T34" fmla="*/ 0 w 197"/>
                  <a:gd name="T35" fmla="*/ 119 h 239"/>
                  <a:gd name="T36" fmla="*/ 2 w 197"/>
                  <a:gd name="T37" fmla="*/ 147 h 239"/>
                  <a:gd name="T38" fmla="*/ 9 w 197"/>
                  <a:gd name="T39" fmla="*/ 173 h 239"/>
                  <a:gd name="T40" fmla="*/ 19 w 197"/>
                  <a:gd name="T41" fmla="*/ 193 h 239"/>
                  <a:gd name="T42" fmla="*/ 30 w 197"/>
                  <a:gd name="T43" fmla="*/ 209 h 239"/>
                  <a:gd name="T44" fmla="*/ 36 w 197"/>
                  <a:gd name="T45" fmla="*/ 215 h 239"/>
                  <a:gd name="T46" fmla="*/ 51 w 197"/>
                  <a:gd name="T47" fmla="*/ 226 h 239"/>
                  <a:gd name="T48" fmla="*/ 68 w 197"/>
                  <a:gd name="T49" fmla="*/ 234 h 239"/>
                  <a:gd name="T50" fmla="*/ 88 w 197"/>
                  <a:gd name="T51" fmla="*/ 239 h 239"/>
                  <a:gd name="T52" fmla="*/ 99 w 197"/>
                  <a:gd name="T53" fmla="*/ 239 h 239"/>
                  <a:gd name="T54" fmla="*/ 124 w 197"/>
                  <a:gd name="T55" fmla="*/ 237 h 239"/>
                  <a:gd name="T56" fmla="*/ 145 w 197"/>
                  <a:gd name="T57" fmla="*/ 231 h 239"/>
                  <a:gd name="T58" fmla="*/ 154 w 197"/>
                  <a:gd name="T59" fmla="*/ 227 h 239"/>
                  <a:gd name="T60" fmla="*/ 170 w 197"/>
                  <a:gd name="T61" fmla="*/ 217 h 239"/>
                  <a:gd name="T62" fmla="*/ 151 w 197"/>
                  <a:gd name="T63" fmla="*/ 180 h 239"/>
                  <a:gd name="T64" fmla="*/ 139 w 197"/>
                  <a:gd name="T65" fmla="*/ 188 h 239"/>
                  <a:gd name="T66" fmla="*/ 128 w 197"/>
                  <a:gd name="T67" fmla="*/ 194 h 239"/>
                  <a:gd name="T68" fmla="*/ 116 w 197"/>
                  <a:gd name="T69" fmla="*/ 197 h 239"/>
                  <a:gd name="T70" fmla="*/ 102 w 197"/>
                  <a:gd name="T71" fmla="*/ 199 h 239"/>
                  <a:gd name="T72" fmla="*/ 91 w 197"/>
                  <a:gd name="T73" fmla="*/ 198 h 239"/>
                  <a:gd name="T74" fmla="*/ 73 w 197"/>
                  <a:gd name="T75" fmla="*/ 191 h 239"/>
                  <a:gd name="T76" fmla="*/ 57 w 197"/>
                  <a:gd name="T77" fmla="*/ 175 h 239"/>
                  <a:gd name="T78" fmla="*/ 47 w 197"/>
                  <a:gd name="T79" fmla="*/ 151 h 239"/>
                  <a:gd name="T80" fmla="*/ 195 w 197"/>
                  <a:gd name="T81" fmla="*/ 135 h 239"/>
                  <a:gd name="T82" fmla="*/ 196 w 197"/>
                  <a:gd name="T83" fmla="*/ 126 h 239"/>
                  <a:gd name="T84" fmla="*/ 197 w 197"/>
                  <a:gd name="T85" fmla="*/ 114 h 239"/>
                  <a:gd name="T86" fmla="*/ 45 w 197"/>
                  <a:gd name="T87" fmla="*/ 98 h 239"/>
                  <a:gd name="T88" fmla="*/ 50 w 197"/>
                  <a:gd name="T89" fmla="*/ 73 h 239"/>
                  <a:gd name="T90" fmla="*/ 61 w 197"/>
                  <a:gd name="T91" fmla="*/ 55 h 239"/>
                  <a:gd name="T92" fmla="*/ 77 w 197"/>
                  <a:gd name="T93" fmla="*/ 44 h 239"/>
                  <a:gd name="T94" fmla="*/ 97 w 197"/>
                  <a:gd name="T95" fmla="*/ 40 h 239"/>
                  <a:gd name="T96" fmla="*/ 104 w 197"/>
                  <a:gd name="T97" fmla="*/ 41 h 239"/>
                  <a:gd name="T98" fmla="*/ 116 w 197"/>
                  <a:gd name="T99" fmla="*/ 43 h 239"/>
                  <a:gd name="T100" fmla="*/ 126 w 197"/>
                  <a:gd name="T101" fmla="*/ 47 h 239"/>
                  <a:gd name="T102" fmla="*/ 137 w 197"/>
                  <a:gd name="T103" fmla="*/ 57 h 239"/>
                  <a:gd name="T104" fmla="*/ 147 w 197"/>
                  <a:gd name="T105" fmla="*/ 76 h 239"/>
                  <a:gd name="T106" fmla="*/ 151 w 197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7" h="239">
                    <a:moveTo>
                      <a:pt x="197" y="114"/>
                    </a:moveTo>
                    <a:lnTo>
                      <a:pt x="197" y="114"/>
                    </a:lnTo>
                    <a:lnTo>
                      <a:pt x="196" y="103"/>
                    </a:lnTo>
                    <a:lnTo>
                      <a:pt x="195" y="92"/>
                    </a:lnTo>
                    <a:lnTo>
                      <a:pt x="193" y="81"/>
                    </a:lnTo>
                    <a:lnTo>
                      <a:pt x="191" y="70"/>
                    </a:lnTo>
                    <a:lnTo>
                      <a:pt x="187" y="60"/>
                    </a:lnTo>
                    <a:lnTo>
                      <a:pt x="183" y="51"/>
                    </a:lnTo>
                    <a:lnTo>
                      <a:pt x="178" y="42"/>
                    </a:lnTo>
                    <a:lnTo>
                      <a:pt x="173" y="34"/>
                    </a:lnTo>
                    <a:lnTo>
                      <a:pt x="166" y="26"/>
                    </a:lnTo>
                    <a:lnTo>
                      <a:pt x="159" y="20"/>
                    </a:lnTo>
                    <a:lnTo>
                      <a:pt x="151" y="14"/>
                    </a:lnTo>
                    <a:lnTo>
                      <a:pt x="143" y="9"/>
                    </a:lnTo>
                    <a:lnTo>
                      <a:pt x="133" y="5"/>
                    </a:lnTo>
                    <a:lnTo>
                      <a:pt x="123" y="2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9" y="2"/>
                    </a:lnTo>
                    <a:lnTo>
                      <a:pt x="69" y="4"/>
                    </a:lnTo>
                    <a:lnTo>
                      <a:pt x="60" y="8"/>
                    </a:lnTo>
                    <a:lnTo>
                      <a:pt x="51" y="12"/>
                    </a:lnTo>
                    <a:lnTo>
                      <a:pt x="43" y="17"/>
                    </a:lnTo>
                    <a:lnTo>
                      <a:pt x="35" y="23"/>
                    </a:lnTo>
                    <a:lnTo>
                      <a:pt x="28" y="30"/>
                    </a:lnTo>
                    <a:lnTo>
                      <a:pt x="22" y="38"/>
                    </a:lnTo>
                    <a:lnTo>
                      <a:pt x="16" y="47"/>
                    </a:lnTo>
                    <a:lnTo>
                      <a:pt x="11" y="57"/>
                    </a:lnTo>
                    <a:lnTo>
                      <a:pt x="7" y="68"/>
                    </a:lnTo>
                    <a:lnTo>
                      <a:pt x="4" y="79"/>
                    </a:lnTo>
                    <a:lnTo>
                      <a:pt x="2" y="92"/>
                    </a:lnTo>
                    <a:lnTo>
                      <a:pt x="1" y="105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0" y="134"/>
                    </a:lnTo>
                    <a:lnTo>
                      <a:pt x="2" y="147"/>
                    </a:lnTo>
                    <a:lnTo>
                      <a:pt x="5" y="161"/>
                    </a:lnTo>
                    <a:lnTo>
                      <a:pt x="9" y="173"/>
                    </a:lnTo>
                    <a:lnTo>
                      <a:pt x="13" y="184"/>
                    </a:lnTo>
                    <a:lnTo>
                      <a:pt x="19" y="193"/>
                    </a:lnTo>
                    <a:lnTo>
                      <a:pt x="24" y="202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1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8" y="237"/>
                    </a:lnTo>
                    <a:lnTo>
                      <a:pt x="88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9"/>
                    </a:lnTo>
                    <a:lnTo>
                      <a:pt x="124" y="237"/>
                    </a:lnTo>
                    <a:lnTo>
                      <a:pt x="135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4" y="227"/>
                    </a:lnTo>
                    <a:lnTo>
                      <a:pt x="162" y="222"/>
                    </a:lnTo>
                    <a:lnTo>
                      <a:pt x="170" y="217"/>
                    </a:lnTo>
                    <a:lnTo>
                      <a:pt x="178" y="209"/>
                    </a:lnTo>
                    <a:lnTo>
                      <a:pt x="151" y="180"/>
                    </a:lnTo>
                    <a:lnTo>
                      <a:pt x="151" y="180"/>
                    </a:lnTo>
                    <a:lnTo>
                      <a:pt x="139" y="188"/>
                    </a:lnTo>
                    <a:lnTo>
                      <a:pt x="128" y="194"/>
                    </a:lnTo>
                    <a:lnTo>
                      <a:pt x="128" y="194"/>
                    </a:lnTo>
                    <a:lnTo>
                      <a:pt x="122" y="196"/>
                    </a:lnTo>
                    <a:lnTo>
                      <a:pt x="116" y="197"/>
                    </a:lnTo>
                    <a:lnTo>
                      <a:pt x="109" y="198"/>
                    </a:lnTo>
                    <a:lnTo>
                      <a:pt x="102" y="199"/>
                    </a:lnTo>
                    <a:lnTo>
                      <a:pt x="102" y="199"/>
                    </a:lnTo>
                    <a:lnTo>
                      <a:pt x="91" y="198"/>
                    </a:lnTo>
                    <a:lnTo>
                      <a:pt x="82" y="195"/>
                    </a:lnTo>
                    <a:lnTo>
                      <a:pt x="73" y="191"/>
                    </a:lnTo>
                    <a:lnTo>
                      <a:pt x="64" y="184"/>
                    </a:lnTo>
                    <a:lnTo>
                      <a:pt x="57" y="175"/>
                    </a:lnTo>
                    <a:lnTo>
                      <a:pt x="51" y="164"/>
                    </a:lnTo>
                    <a:lnTo>
                      <a:pt x="47" y="151"/>
                    </a:lnTo>
                    <a:lnTo>
                      <a:pt x="44" y="135"/>
                    </a:lnTo>
                    <a:lnTo>
                      <a:pt x="195" y="135"/>
                    </a:lnTo>
                    <a:lnTo>
                      <a:pt x="195" y="135"/>
                    </a:lnTo>
                    <a:lnTo>
                      <a:pt x="196" y="126"/>
                    </a:lnTo>
                    <a:lnTo>
                      <a:pt x="197" y="114"/>
                    </a:lnTo>
                    <a:lnTo>
                      <a:pt x="197" y="114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0" y="73"/>
                    </a:lnTo>
                    <a:lnTo>
                      <a:pt x="55" y="64"/>
                    </a:lnTo>
                    <a:lnTo>
                      <a:pt x="61" y="55"/>
                    </a:lnTo>
                    <a:lnTo>
                      <a:pt x="68" y="49"/>
                    </a:lnTo>
                    <a:lnTo>
                      <a:pt x="77" y="44"/>
                    </a:lnTo>
                    <a:lnTo>
                      <a:pt x="86" y="41"/>
                    </a:lnTo>
                    <a:lnTo>
                      <a:pt x="97" y="40"/>
                    </a:lnTo>
                    <a:lnTo>
                      <a:pt x="97" y="40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21" y="45"/>
                    </a:lnTo>
                    <a:lnTo>
                      <a:pt x="126" y="47"/>
                    </a:lnTo>
                    <a:lnTo>
                      <a:pt x="130" y="50"/>
                    </a:lnTo>
                    <a:lnTo>
                      <a:pt x="137" y="57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6"/>
                    </a:lnTo>
                    <a:lnTo>
                      <a:pt x="151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0" name="Freeform 69"/>
              <p:cNvSpPr>
                <a:spLocks/>
              </p:cNvSpPr>
              <p:nvPr userDrawn="1"/>
            </p:nvSpPr>
            <p:spPr bwMode="auto">
              <a:xfrm>
                <a:off x="2994025" y="6360332"/>
                <a:ext cx="73025" cy="95250"/>
              </a:xfrm>
              <a:custGeom>
                <a:avLst/>
                <a:gdLst>
                  <a:gd name="T0" fmla="*/ 182 w 182"/>
                  <a:gd name="T1" fmla="*/ 39 h 239"/>
                  <a:gd name="T2" fmla="*/ 165 w 182"/>
                  <a:gd name="T3" fmla="*/ 22 h 239"/>
                  <a:gd name="T4" fmla="*/ 146 w 182"/>
                  <a:gd name="T5" fmla="*/ 10 h 239"/>
                  <a:gd name="T6" fmla="*/ 124 w 182"/>
                  <a:gd name="T7" fmla="*/ 2 h 239"/>
                  <a:gd name="T8" fmla="*/ 101 w 182"/>
                  <a:gd name="T9" fmla="*/ 0 h 239"/>
                  <a:gd name="T10" fmla="*/ 90 w 182"/>
                  <a:gd name="T11" fmla="*/ 0 h 239"/>
                  <a:gd name="T12" fmla="*/ 71 w 182"/>
                  <a:gd name="T13" fmla="*/ 4 h 239"/>
                  <a:gd name="T14" fmla="*/ 53 w 182"/>
                  <a:gd name="T15" fmla="*/ 12 h 239"/>
                  <a:gd name="T16" fmla="*/ 37 w 182"/>
                  <a:gd name="T17" fmla="*/ 24 h 239"/>
                  <a:gd name="T18" fmla="*/ 23 w 182"/>
                  <a:gd name="T19" fmla="*/ 39 h 239"/>
                  <a:gd name="T20" fmla="*/ 12 w 182"/>
                  <a:gd name="T21" fmla="*/ 58 h 239"/>
                  <a:gd name="T22" fmla="*/ 5 w 182"/>
                  <a:gd name="T23" fmla="*/ 80 h 239"/>
                  <a:gd name="T24" fmla="*/ 1 w 182"/>
                  <a:gd name="T25" fmla="*/ 106 h 239"/>
                  <a:gd name="T26" fmla="*/ 0 w 182"/>
                  <a:gd name="T27" fmla="*/ 120 h 239"/>
                  <a:gd name="T28" fmla="*/ 2 w 182"/>
                  <a:gd name="T29" fmla="*/ 145 h 239"/>
                  <a:gd name="T30" fmla="*/ 8 w 182"/>
                  <a:gd name="T31" fmla="*/ 169 h 239"/>
                  <a:gd name="T32" fmla="*/ 17 w 182"/>
                  <a:gd name="T33" fmla="*/ 190 h 239"/>
                  <a:gd name="T34" fmla="*/ 29 w 182"/>
                  <a:gd name="T35" fmla="*/ 207 h 239"/>
                  <a:gd name="T36" fmla="*/ 43 w 182"/>
                  <a:gd name="T37" fmla="*/ 221 h 239"/>
                  <a:gd name="T38" fmla="*/ 60 w 182"/>
                  <a:gd name="T39" fmla="*/ 231 h 239"/>
                  <a:gd name="T40" fmla="*/ 79 w 182"/>
                  <a:gd name="T41" fmla="*/ 237 h 239"/>
                  <a:gd name="T42" fmla="*/ 99 w 182"/>
                  <a:gd name="T43" fmla="*/ 239 h 239"/>
                  <a:gd name="T44" fmla="*/ 114 w 182"/>
                  <a:gd name="T45" fmla="*/ 238 h 239"/>
                  <a:gd name="T46" fmla="*/ 139 w 182"/>
                  <a:gd name="T47" fmla="*/ 232 h 239"/>
                  <a:gd name="T48" fmla="*/ 158 w 182"/>
                  <a:gd name="T49" fmla="*/ 220 h 239"/>
                  <a:gd name="T50" fmla="*/ 174 w 182"/>
                  <a:gd name="T51" fmla="*/ 205 h 239"/>
                  <a:gd name="T52" fmla="*/ 152 w 182"/>
                  <a:gd name="T53" fmla="*/ 168 h 239"/>
                  <a:gd name="T54" fmla="*/ 140 w 182"/>
                  <a:gd name="T55" fmla="*/ 181 h 239"/>
                  <a:gd name="T56" fmla="*/ 128 w 182"/>
                  <a:gd name="T57" fmla="*/ 189 h 239"/>
                  <a:gd name="T58" fmla="*/ 115 w 182"/>
                  <a:gd name="T59" fmla="*/ 195 h 239"/>
                  <a:gd name="T60" fmla="*/ 101 w 182"/>
                  <a:gd name="T61" fmla="*/ 197 h 239"/>
                  <a:gd name="T62" fmla="*/ 94 w 182"/>
                  <a:gd name="T63" fmla="*/ 196 h 239"/>
                  <a:gd name="T64" fmla="*/ 82 w 182"/>
                  <a:gd name="T65" fmla="*/ 193 h 239"/>
                  <a:gd name="T66" fmla="*/ 72 w 182"/>
                  <a:gd name="T67" fmla="*/ 188 h 239"/>
                  <a:gd name="T68" fmla="*/ 63 w 182"/>
                  <a:gd name="T69" fmla="*/ 180 h 239"/>
                  <a:gd name="T70" fmla="*/ 56 w 182"/>
                  <a:gd name="T71" fmla="*/ 169 h 239"/>
                  <a:gd name="T72" fmla="*/ 49 w 182"/>
                  <a:gd name="T73" fmla="*/ 150 h 239"/>
                  <a:gd name="T74" fmla="*/ 46 w 182"/>
                  <a:gd name="T75" fmla="*/ 118 h 239"/>
                  <a:gd name="T76" fmla="*/ 47 w 182"/>
                  <a:gd name="T77" fmla="*/ 102 h 239"/>
                  <a:gd name="T78" fmla="*/ 54 w 182"/>
                  <a:gd name="T79" fmla="*/ 74 h 239"/>
                  <a:gd name="T80" fmla="*/ 60 w 182"/>
                  <a:gd name="T81" fmla="*/ 63 h 239"/>
                  <a:gd name="T82" fmla="*/ 68 w 182"/>
                  <a:gd name="T83" fmla="*/ 54 h 239"/>
                  <a:gd name="T84" fmla="*/ 77 w 182"/>
                  <a:gd name="T85" fmla="*/ 48 h 239"/>
                  <a:gd name="T86" fmla="*/ 88 w 182"/>
                  <a:gd name="T87" fmla="*/ 44 h 239"/>
                  <a:gd name="T88" fmla="*/ 99 w 182"/>
                  <a:gd name="T89" fmla="*/ 43 h 239"/>
                  <a:gd name="T90" fmla="*/ 107 w 182"/>
                  <a:gd name="T91" fmla="*/ 43 h 239"/>
                  <a:gd name="T92" fmla="*/ 121 w 182"/>
                  <a:gd name="T93" fmla="*/ 46 h 239"/>
                  <a:gd name="T94" fmla="*/ 135 w 182"/>
                  <a:gd name="T95" fmla="*/ 53 h 239"/>
                  <a:gd name="T96" fmla="*/ 148 w 182"/>
                  <a:gd name="T97" fmla="*/ 64 h 239"/>
                  <a:gd name="T98" fmla="*/ 182 w 182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2" h="239">
                    <a:moveTo>
                      <a:pt x="182" y="39"/>
                    </a:moveTo>
                    <a:lnTo>
                      <a:pt x="182" y="39"/>
                    </a:lnTo>
                    <a:lnTo>
                      <a:pt x="173" y="30"/>
                    </a:lnTo>
                    <a:lnTo>
                      <a:pt x="165" y="22"/>
                    </a:lnTo>
                    <a:lnTo>
                      <a:pt x="155" y="15"/>
                    </a:lnTo>
                    <a:lnTo>
                      <a:pt x="146" y="10"/>
                    </a:lnTo>
                    <a:lnTo>
                      <a:pt x="135" y="5"/>
                    </a:lnTo>
                    <a:lnTo>
                      <a:pt x="124" y="2"/>
                    </a:lnTo>
                    <a:lnTo>
                      <a:pt x="113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90" y="0"/>
                    </a:lnTo>
                    <a:lnTo>
                      <a:pt x="80" y="2"/>
                    </a:lnTo>
                    <a:lnTo>
                      <a:pt x="71" y="4"/>
                    </a:lnTo>
                    <a:lnTo>
                      <a:pt x="61" y="8"/>
                    </a:lnTo>
                    <a:lnTo>
                      <a:pt x="53" y="12"/>
                    </a:lnTo>
                    <a:lnTo>
                      <a:pt x="44" y="18"/>
                    </a:lnTo>
                    <a:lnTo>
                      <a:pt x="37" y="24"/>
                    </a:lnTo>
                    <a:lnTo>
                      <a:pt x="30" y="31"/>
                    </a:lnTo>
                    <a:lnTo>
                      <a:pt x="23" y="39"/>
                    </a:lnTo>
                    <a:lnTo>
                      <a:pt x="17" y="48"/>
                    </a:lnTo>
                    <a:lnTo>
                      <a:pt x="12" y="58"/>
                    </a:lnTo>
                    <a:lnTo>
                      <a:pt x="8" y="69"/>
                    </a:lnTo>
                    <a:lnTo>
                      <a:pt x="5" y="80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5"/>
                    </a:lnTo>
                    <a:lnTo>
                      <a:pt x="5" y="158"/>
                    </a:lnTo>
                    <a:lnTo>
                      <a:pt x="8" y="169"/>
                    </a:lnTo>
                    <a:lnTo>
                      <a:pt x="12" y="180"/>
                    </a:lnTo>
                    <a:lnTo>
                      <a:pt x="17" y="190"/>
                    </a:lnTo>
                    <a:lnTo>
                      <a:pt x="23" y="199"/>
                    </a:lnTo>
                    <a:lnTo>
                      <a:pt x="29" y="207"/>
                    </a:lnTo>
                    <a:lnTo>
                      <a:pt x="36" y="214"/>
                    </a:lnTo>
                    <a:lnTo>
                      <a:pt x="43" y="221"/>
                    </a:lnTo>
                    <a:lnTo>
                      <a:pt x="52" y="226"/>
                    </a:lnTo>
                    <a:lnTo>
                      <a:pt x="60" y="231"/>
                    </a:lnTo>
                    <a:lnTo>
                      <a:pt x="69" y="234"/>
                    </a:lnTo>
                    <a:lnTo>
                      <a:pt x="79" y="237"/>
                    </a:lnTo>
                    <a:lnTo>
                      <a:pt x="89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4" y="238"/>
                    </a:lnTo>
                    <a:lnTo>
                      <a:pt x="127" y="236"/>
                    </a:lnTo>
                    <a:lnTo>
                      <a:pt x="139" y="232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7" y="213"/>
                    </a:lnTo>
                    <a:lnTo>
                      <a:pt x="174" y="205"/>
                    </a:lnTo>
                    <a:lnTo>
                      <a:pt x="181" y="197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40" y="181"/>
                    </a:lnTo>
                    <a:lnTo>
                      <a:pt x="134" y="185"/>
                    </a:lnTo>
                    <a:lnTo>
                      <a:pt x="128" y="189"/>
                    </a:lnTo>
                    <a:lnTo>
                      <a:pt x="122" y="193"/>
                    </a:lnTo>
                    <a:lnTo>
                      <a:pt x="115" y="195"/>
                    </a:lnTo>
                    <a:lnTo>
                      <a:pt x="108" y="196"/>
                    </a:lnTo>
                    <a:lnTo>
                      <a:pt x="101" y="197"/>
                    </a:lnTo>
                    <a:lnTo>
                      <a:pt x="101" y="197"/>
                    </a:lnTo>
                    <a:lnTo>
                      <a:pt x="94" y="196"/>
                    </a:lnTo>
                    <a:lnTo>
                      <a:pt x="88" y="195"/>
                    </a:lnTo>
                    <a:lnTo>
                      <a:pt x="82" y="193"/>
                    </a:lnTo>
                    <a:lnTo>
                      <a:pt x="77" y="191"/>
                    </a:lnTo>
                    <a:lnTo>
                      <a:pt x="72" y="188"/>
                    </a:lnTo>
                    <a:lnTo>
                      <a:pt x="67" y="184"/>
                    </a:lnTo>
                    <a:lnTo>
                      <a:pt x="63" y="180"/>
                    </a:lnTo>
                    <a:lnTo>
                      <a:pt x="60" y="175"/>
                    </a:lnTo>
                    <a:lnTo>
                      <a:pt x="56" y="169"/>
                    </a:lnTo>
                    <a:lnTo>
                      <a:pt x="54" y="164"/>
                    </a:lnTo>
                    <a:lnTo>
                      <a:pt x="49" y="150"/>
                    </a:lnTo>
                    <a:lnTo>
                      <a:pt x="47" y="135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47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8"/>
                    </a:lnTo>
                    <a:lnTo>
                      <a:pt x="60" y="63"/>
                    </a:lnTo>
                    <a:lnTo>
                      <a:pt x="64" y="58"/>
                    </a:lnTo>
                    <a:lnTo>
                      <a:pt x="68" y="54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8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7" y="43"/>
                    </a:lnTo>
                    <a:lnTo>
                      <a:pt x="114" y="44"/>
                    </a:lnTo>
                    <a:lnTo>
                      <a:pt x="121" y="46"/>
                    </a:lnTo>
                    <a:lnTo>
                      <a:pt x="128" y="49"/>
                    </a:lnTo>
                    <a:lnTo>
                      <a:pt x="135" y="53"/>
                    </a:lnTo>
                    <a:lnTo>
                      <a:pt x="141" y="58"/>
                    </a:lnTo>
                    <a:lnTo>
                      <a:pt x="148" y="64"/>
                    </a:lnTo>
                    <a:lnTo>
                      <a:pt x="155" y="70"/>
                    </a:lnTo>
                    <a:lnTo>
                      <a:pt x="182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1" name="Freeform 70"/>
              <p:cNvSpPr>
                <a:spLocks noEditPoints="1"/>
              </p:cNvSpPr>
              <p:nvPr userDrawn="1"/>
            </p:nvSpPr>
            <p:spPr bwMode="auto">
              <a:xfrm>
                <a:off x="3081337" y="6360332"/>
                <a:ext cx="74613" cy="95250"/>
              </a:xfrm>
              <a:custGeom>
                <a:avLst/>
                <a:gdLst>
                  <a:gd name="T0" fmla="*/ 186 w 186"/>
                  <a:gd name="T1" fmla="*/ 77 h 239"/>
                  <a:gd name="T2" fmla="*/ 185 w 186"/>
                  <a:gd name="T3" fmla="*/ 67 h 239"/>
                  <a:gd name="T4" fmla="*/ 182 w 186"/>
                  <a:gd name="T5" fmla="*/ 50 h 239"/>
                  <a:gd name="T6" fmla="*/ 176 w 186"/>
                  <a:gd name="T7" fmla="*/ 36 h 239"/>
                  <a:gd name="T8" fmla="*/ 167 w 186"/>
                  <a:gd name="T9" fmla="*/ 24 h 239"/>
                  <a:gd name="T10" fmla="*/ 156 w 186"/>
                  <a:gd name="T11" fmla="*/ 14 h 239"/>
                  <a:gd name="T12" fmla="*/ 142 w 186"/>
                  <a:gd name="T13" fmla="*/ 7 h 239"/>
                  <a:gd name="T14" fmla="*/ 127 w 186"/>
                  <a:gd name="T15" fmla="*/ 2 h 239"/>
                  <a:gd name="T16" fmla="*/ 109 w 186"/>
                  <a:gd name="T17" fmla="*/ 0 h 239"/>
                  <a:gd name="T18" fmla="*/ 100 w 186"/>
                  <a:gd name="T19" fmla="*/ 0 h 239"/>
                  <a:gd name="T20" fmla="*/ 77 w 186"/>
                  <a:gd name="T21" fmla="*/ 1 h 239"/>
                  <a:gd name="T22" fmla="*/ 57 w 186"/>
                  <a:gd name="T23" fmla="*/ 5 h 239"/>
                  <a:gd name="T24" fmla="*/ 38 w 186"/>
                  <a:gd name="T25" fmla="*/ 11 h 239"/>
                  <a:gd name="T26" fmla="*/ 21 w 186"/>
                  <a:gd name="T27" fmla="*/ 20 h 239"/>
                  <a:gd name="T28" fmla="*/ 39 w 186"/>
                  <a:gd name="T29" fmla="*/ 54 h 239"/>
                  <a:gd name="T30" fmla="*/ 67 w 186"/>
                  <a:gd name="T31" fmla="*/ 43 h 239"/>
                  <a:gd name="T32" fmla="*/ 99 w 186"/>
                  <a:gd name="T33" fmla="*/ 40 h 239"/>
                  <a:gd name="T34" fmla="*/ 108 w 186"/>
                  <a:gd name="T35" fmla="*/ 41 h 239"/>
                  <a:gd name="T36" fmla="*/ 125 w 186"/>
                  <a:gd name="T37" fmla="*/ 46 h 239"/>
                  <a:gd name="T38" fmla="*/ 135 w 186"/>
                  <a:gd name="T39" fmla="*/ 56 h 239"/>
                  <a:gd name="T40" fmla="*/ 141 w 186"/>
                  <a:gd name="T41" fmla="*/ 70 h 239"/>
                  <a:gd name="T42" fmla="*/ 142 w 186"/>
                  <a:gd name="T43" fmla="*/ 96 h 239"/>
                  <a:gd name="T44" fmla="*/ 133 w 186"/>
                  <a:gd name="T45" fmla="*/ 92 h 239"/>
                  <a:gd name="T46" fmla="*/ 107 w 186"/>
                  <a:gd name="T47" fmla="*/ 88 h 239"/>
                  <a:gd name="T48" fmla="*/ 91 w 186"/>
                  <a:gd name="T49" fmla="*/ 87 h 239"/>
                  <a:gd name="T50" fmla="*/ 63 w 186"/>
                  <a:gd name="T51" fmla="*/ 89 h 239"/>
                  <a:gd name="T52" fmla="*/ 47 w 186"/>
                  <a:gd name="T53" fmla="*/ 94 h 239"/>
                  <a:gd name="T54" fmla="*/ 32 w 186"/>
                  <a:gd name="T55" fmla="*/ 101 h 239"/>
                  <a:gd name="T56" fmla="*/ 20 w 186"/>
                  <a:gd name="T57" fmla="*/ 110 h 239"/>
                  <a:gd name="T58" fmla="*/ 10 w 186"/>
                  <a:gd name="T59" fmla="*/ 121 h 239"/>
                  <a:gd name="T60" fmla="*/ 4 w 186"/>
                  <a:gd name="T61" fmla="*/ 135 h 239"/>
                  <a:gd name="T62" fmla="*/ 0 w 186"/>
                  <a:gd name="T63" fmla="*/ 153 h 239"/>
                  <a:gd name="T64" fmla="*/ 0 w 186"/>
                  <a:gd name="T65" fmla="*/ 162 h 239"/>
                  <a:gd name="T66" fmla="*/ 2 w 186"/>
                  <a:gd name="T67" fmla="*/ 182 h 239"/>
                  <a:gd name="T68" fmla="*/ 7 w 186"/>
                  <a:gd name="T69" fmla="*/ 198 h 239"/>
                  <a:gd name="T70" fmla="*/ 15 w 186"/>
                  <a:gd name="T71" fmla="*/ 211 h 239"/>
                  <a:gd name="T72" fmla="*/ 25 w 186"/>
                  <a:gd name="T73" fmla="*/ 222 h 239"/>
                  <a:gd name="T74" fmla="*/ 38 w 186"/>
                  <a:gd name="T75" fmla="*/ 230 h 239"/>
                  <a:gd name="T76" fmla="*/ 51 w 186"/>
                  <a:gd name="T77" fmla="*/ 235 h 239"/>
                  <a:gd name="T78" fmla="*/ 79 w 186"/>
                  <a:gd name="T79" fmla="*/ 239 h 239"/>
                  <a:gd name="T80" fmla="*/ 90 w 186"/>
                  <a:gd name="T81" fmla="*/ 239 h 239"/>
                  <a:gd name="T82" fmla="*/ 108 w 186"/>
                  <a:gd name="T83" fmla="*/ 234 h 239"/>
                  <a:gd name="T84" fmla="*/ 115 w 186"/>
                  <a:gd name="T85" fmla="*/ 231 h 239"/>
                  <a:gd name="T86" fmla="*/ 134 w 186"/>
                  <a:gd name="T87" fmla="*/ 219 h 239"/>
                  <a:gd name="T88" fmla="*/ 142 w 186"/>
                  <a:gd name="T89" fmla="*/ 235 h 239"/>
                  <a:gd name="T90" fmla="*/ 142 w 186"/>
                  <a:gd name="T91" fmla="*/ 170 h 239"/>
                  <a:gd name="T92" fmla="*/ 137 w 186"/>
                  <a:gd name="T93" fmla="*/ 175 h 239"/>
                  <a:gd name="T94" fmla="*/ 126 w 186"/>
                  <a:gd name="T95" fmla="*/ 185 h 239"/>
                  <a:gd name="T96" fmla="*/ 112 w 186"/>
                  <a:gd name="T97" fmla="*/ 193 h 239"/>
                  <a:gd name="T98" fmla="*/ 95 w 186"/>
                  <a:gd name="T99" fmla="*/ 198 h 239"/>
                  <a:gd name="T100" fmla="*/ 86 w 186"/>
                  <a:gd name="T101" fmla="*/ 199 h 239"/>
                  <a:gd name="T102" fmla="*/ 68 w 186"/>
                  <a:gd name="T103" fmla="*/ 196 h 239"/>
                  <a:gd name="T104" fmla="*/ 55 w 186"/>
                  <a:gd name="T105" fmla="*/ 190 h 239"/>
                  <a:gd name="T106" fmla="*/ 50 w 186"/>
                  <a:gd name="T107" fmla="*/ 185 h 239"/>
                  <a:gd name="T108" fmla="*/ 43 w 186"/>
                  <a:gd name="T109" fmla="*/ 170 h 239"/>
                  <a:gd name="T110" fmla="*/ 42 w 186"/>
                  <a:gd name="T111" fmla="*/ 161 h 239"/>
                  <a:gd name="T112" fmla="*/ 46 w 186"/>
                  <a:gd name="T113" fmla="*/ 146 h 239"/>
                  <a:gd name="T114" fmla="*/ 55 w 186"/>
                  <a:gd name="T115" fmla="*/ 135 h 239"/>
                  <a:gd name="T116" fmla="*/ 70 w 186"/>
                  <a:gd name="T117" fmla="*/ 128 h 239"/>
                  <a:gd name="T118" fmla="*/ 89 w 186"/>
                  <a:gd name="T119" fmla="*/ 126 h 239"/>
                  <a:gd name="T120" fmla="*/ 106 w 186"/>
                  <a:gd name="T121" fmla="*/ 126 h 239"/>
                  <a:gd name="T122" fmla="*/ 120 w 186"/>
                  <a:gd name="T123" fmla="*/ 128 h 239"/>
                  <a:gd name="T124" fmla="*/ 142 w 186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6" h="239">
                    <a:moveTo>
                      <a:pt x="186" y="235"/>
                    </a:moveTo>
                    <a:lnTo>
                      <a:pt x="186" y="77"/>
                    </a:lnTo>
                    <a:lnTo>
                      <a:pt x="186" y="77"/>
                    </a:lnTo>
                    <a:lnTo>
                      <a:pt x="185" y="67"/>
                    </a:lnTo>
                    <a:lnTo>
                      <a:pt x="184" y="58"/>
                    </a:lnTo>
                    <a:lnTo>
                      <a:pt x="182" y="50"/>
                    </a:lnTo>
                    <a:lnTo>
                      <a:pt x="180" y="43"/>
                    </a:lnTo>
                    <a:lnTo>
                      <a:pt x="176" y="36"/>
                    </a:lnTo>
                    <a:lnTo>
                      <a:pt x="172" y="29"/>
                    </a:lnTo>
                    <a:lnTo>
                      <a:pt x="167" y="24"/>
                    </a:lnTo>
                    <a:lnTo>
                      <a:pt x="162" y="19"/>
                    </a:lnTo>
                    <a:lnTo>
                      <a:pt x="156" y="14"/>
                    </a:lnTo>
                    <a:lnTo>
                      <a:pt x="149" y="10"/>
                    </a:lnTo>
                    <a:lnTo>
                      <a:pt x="142" y="7"/>
                    </a:lnTo>
                    <a:lnTo>
                      <a:pt x="135" y="5"/>
                    </a:lnTo>
                    <a:lnTo>
                      <a:pt x="127" y="2"/>
                    </a:lnTo>
                    <a:lnTo>
                      <a:pt x="118" y="1"/>
                    </a:lnTo>
                    <a:lnTo>
                      <a:pt x="109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8" y="0"/>
                    </a:lnTo>
                    <a:lnTo>
                      <a:pt x="77" y="1"/>
                    </a:lnTo>
                    <a:lnTo>
                      <a:pt x="67" y="3"/>
                    </a:lnTo>
                    <a:lnTo>
                      <a:pt x="57" y="5"/>
                    </a:lnTo>
                    <a:lnTo>
                      <a:pt x="47" y="8"/>
                    </a:lnTo>
                    <a:lnTo>
                      <a:pt x="38" y="11"/>
                    </a:lnTo>
                    <a:lnTo>
                      <a:pt x="30" y="16"/>
                    </a:lnTo>
                    <a:lnTo>
                      <a:pt x="21" y="20"/>
                    </a:lnTo>
                    <a:lnTo>
                      <a:pt x="39" y="54"/>
                    </a:lnTo>
                    <a:lnTo>
                      <a:pt x="39" y="54"/>
                    </a:lnTo>
                    <a:lnTo>
                      <a:pt x="52" y="48"/>
                    </a:lnTo>
                    <a:lnTo>
                      <a:pt x="67" y="43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8" y="41"/>
                    </a:lnTo>
                    <a:lnTo>
                      <a:pt x="117" y="43"/>
                    </a:lnTo>
                    <a:lnTo>
                      <a:pt x="125" y="46"/>
                    </a:lnTo>
                    <a:lnTo>
                      <a:pt x="131" y="50"/>
                    </a:lnTo>
                    <a:lnTo>
                      <a:pt x="135" y="56"/>
                    </a:lnTo>
                    <a:lnTo>
                      <a:pt x="139" y="62"/>
                    </a:lnTo>
                    <a:lnTo>
                      <a:pt x="141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3" y="92"/>
                    </a:lnTo>
                    <a:lnTo>
                      <a:pt x="121" y="89"/>
                    </a:lnTo>
                    <a:lnTo>
                      <a:pt x="107" y="88"/>
                    </a:lnTo>
                    <a:lnTo>
                      <a:pt x="91" y="87"/>
                    </a:lnTo>
                    <a:lnTo>
                      <a:pt x="91" y="87"/>
                    </a:lnTo>
                    <a:lnTo>
                      <a:pt x="72" y="88"/>
                    </a:lnTo>
                    <a:lnTo>
                      <a:pt x="63" y="89"/>
                    </a:lnTo>
                    <a:lnTo>
                      <a:pt x="55" y="91"/>
                    </a:lnTo>
                    <a:lnTo>
                      <a:pt x="47" y="94"/>
                    </a:lnTo>
                    <a:lnTo>
                      <a:pt x="39" y="97"/>
                    </a:lnTo>
                    <a:lnTo>
                      <a:pt x="32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5"/>
                    </a:lnTo>
                    <a:lnTo>
                      <a:pt x="10" y="121"/>
                    </a:lnTo>
                    <a:lnTo>
                      <a:pt x="7" y="128"/>
                    </a:lnTo>
                    <a:lnTo>
                      <a:pt x="4" y="135"/>
                    </a:lnTo>
                    <a:lnTo>
                      <a:pt x="1" y="143"/>
                    </a:lnTo>
                    <a:lnTo>
                      <a:pt x="0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2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1" y="205"/>
                    </a:lnTo>
                    <a:lnTo>
                      <a:pt x="15" y="211"/>
                    </a:lnTo>
                    <a:lnTo>
                      <a:pt x="20" y="217"/>
                    </a:lnTo>
                    <a:lnTo>
                      <a:pt x="25" y="222"/>
                    </a:lnTo>
                    <a:lnTo>
                      <a:pt x="31" y="226"/>
                    </a:lnTo>
                    <a:lnTo>
                      <a:pt x="38" y="230"/>
                    </a:lnTo>
                    <a:lnTo>
                      <a:pt x="44" y="233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9"/>
                    </a:lnTo>
                    <a:lnTo>
                      <a:pt x="100" y="237"/>
                    </a:lnTo>
                    <a:lnTo>
                      <a:pt x="108" y="234"/>
                    </a:lnTo>
                    <a:lnTo>
                      <a:pt x="115" y="231"/>
                    </a:lnTo>
                    <a:lnTo>
                      <a:pt x="115" y="231"/>
                    </a:lnTo>
                    <a:lnTo>
                      <a:pt x="127" y="224"/>
                    </a:lnTo>
                    <a:lnTo>
                      <a:pt x="134" y="219"/>
                    </a:lnTo>
                    <a:lnTo>
                      <a:pt x="142" y="212"/>
                    </a:lnTo>
                    <a:lnTo>
                      <a:pt x="142" y="235"/>
                    </a:lnTo>
                    <a:lnTo>
                      <a:pt x="186" y="235"/>
                    </a:lnTo>
                    <a:close/>
                    <a:moveTo>
                      <a:pt x="142" y="170"/>
                    </a:moveTo>
                    <a:lnTo>
                      <a:pt x="142" y="170"/>
                    </a:lnTo>
                    <a:lnTo>
                      <a:pt x="137" y="175"/>
                    </a:lnTo>
                    <a:lnTo>
                      <a:pt x="132" y="180"/>
                    </a:lnTo>
                    <a:lnTo>
                      <a:pt x="126" y="185"/>
                    </a:lnTo>
                    <a:lnTo>
                      <a:pt x="119" y="190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5" y="198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76" y="198"/>
                    </a:lnTo>
                    <a:lnTo>
                      <a:pt x="68" y="196"/>
                    </a:lnTo>
                    <a:lnTo>
                      <a:pt x="61" y="194"/>
                    </a:lnTo>
                    <a:lnTo>
                      <a:pt x="55" y="190"/>
                    </a:lnTo>
                    <a:lnTo>
                      <a:pt x="55" y="190"/>
                    </a:lnTo>
                    <a:lnTo>
                      <a:pt x="50" y="185"/>
                    </a:lnTo>
                    <a:lnTo>
                      <a:pt x="46" y="178"/>
                    </a:lnTo>
                    <a:lnTo>
                      <a:pt x="43" y="170"/>
                    </a:lnTo>
                    <a:lnTo>
                      <a:pt x="42" y="161"/>
                    </a:lnTo>
                    <a:lnTo>
                      <a:pt x="42" y="161"/>
                    </a:lnTo>
                    <a:lnTo>
                      <a:pt x="43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5" y="135"/>
                    </a:lnTo>
                    <a:lnTo>
                      <a:pt x="62" y="131"/>
                    </a:lnTo>
                    <a:lnTo>
                      <a:pt x="70" y="128"/>
                    </a:lnTo>
                    <a:lnTo>
                      <a:pt x="79" y="126"/>
                    </a:lnTo>
                    <a:lnTo>
                      <a:pt x="89" y="126"/>
                    </a:lnTo>
                    <a:lnTo>
                      <a:pt x="89" y="126"/>
                    </a:lnTo>
                    <a:lnTo>
                      <a:pt x="106" y="126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30" y="131"/>
                    </a:lnTo>
                    <a:lnTo>
                      <a:pt x="142" y="136"/>
                    </a:lnTo>
                    <a:lnTo>
                      <a:pt x="142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2" name="Freeform 71"/>
              <p:cNvSpPr>
                <a:spLocks/>
              </p:cNvSpPr>
              <p:nvPr userDrawn="1"/>
            </p:nvSpPr>
            <p:spPr bwMode="auto">
              <a:xfrm>
                <a:off x="3178175" y="6430182"/>
                <a:ext cx="25400" cy="44450"/>
              </a:xfrm>
              <a:custGeom>
                <a:avLst/>
                <a:gdLst>
                  <a:gd name="T0" fmla="*/ 64 w 64"/>
                  <a:gd name="T1" fmla="*/ 0 h 115"/>
                  <a:gd name="T2" fmla="*/ 6 w 64"/>
                  <a:gd name="T3" fmla="*/ 0 h 115"/>
                  <a:gd name="T4" fmla="*/ 0 w 64"/>
                  <a:gd name="T5" fmla="*/ 115 h 115"/>
                  <a:gd name="T6" fmla="*/ 31 w 64"/>
                  <a:gd name="T7" fmla="*/ 115 h 115"/>
                  <a:gd name="T8" fmla="*/ 64 w 64"/>
                  <a:gd name="T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115">
                    <a:moveTo>
                      <a:pt x="64" y="0"/>
                    </a:moveTo>
                    <a:lnTo>
                      <a:pt x="6" y="0"/>
                    </a:lnTo>
                    <a:lnTo>
                      <a:pt x="0" y="115"/>
                    </a:lnTo>
                    <a:lnTo>
                      <a:pt x="31" y="115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3" name="Freeform 72"/>
              <p:cNvSpPr>
                <a:spLocks/>
              </p:cNvSpPr>
              <p:nvPr userDrawn="1"/>
            </p:nvSpPr>
            <p:spPr bwMode="auto">
              <a:xfrm>
                <a:off x="3271837" y="6363507"/>
                <a:ext cx="90488" cy="92075"/>
              </a:xfrm>
              <a:custGeom>
                <a:avLst/>
                <a:gdLst>
                  <a:gd name="T0" fmla="*/ 226 w 226"/>
                  <a:gd name="T1" fmla="*/ 230 h 233"/>
                  <a:gd name="T2" fmla="*/ 226 w 226"/>
                  <a:gd name="T3" fmla="*/ 0 h 233"/>
                  <a:gd name="T4" fmla="*/ 177 w 226"/>
                  <a:gd name="T5" fmla="*/ 0 h 233"/>
                  <a:gd name="T6" fmla="*/ 128 w 226"/>
                  <a:gd name="T7" fmla="*/ 111 h 233"/>
                  <a:gd name="T8" fmla="*/ 128 w 226"/>
                  <a:gd name="T9" fmla="*/ 111 h 233"/>
                  <a:gd name="T10" fmla="*/ 113 w 226"/>
                  <a:gd name="T11" fmla="*/ 151 h 233"/>
                  <a:gd name="T12" fmla="*/ 113 w 226"/>
                  <a:gd name="T13" fmla="*/ 151 h 233"/>
                  <a:gd name="T14" fmla="*/ 106 w 226"/>
                  <a:gd name="T15" fmla="*/ 132 h 233"/>
                  <a:gd name="T16" fmla="*/ 98 w 226"/>
                  <a:gd name="T17" fmla="*/ 111 h 233"/>
                  <a:gd name="T18" fmla="*/ 49 w 226"/>
                  <a:gd name="T19" fmla="*/ 0 h 233"/>
                  <a:gd name="T20" fmla="*/ 0 w 226"/>
                  <a:gd name="T21" fmla="*/ 0 h 233"/>
                  <a:gd name="T22" fmla="*/ 0 w 226"/>
                  <a:gd name="T23" fmla="*/ 230 h 233"/>
                  <a:gd name="T24" fmla="*/ 43 w 226"/>
                  <a:gd name="T25" fmla="*/ 230 h 233"/>
                  <a:gd name="T26" fmla="*/ 43 w 226"/>
                  <a:gd name="T27" fmla="*/ 110 h 233"/>
                  <a:gd name="T28" fmla="*/ 43 w 226"/>
                  <a:gd name="T29" fmla="*/ 110 h 233"/>
                  <a:gd name="T30" fmla="*/ 42 w 226"/>
                  <a:gd name="T31" fmla="*/ 69 h 233"/>
                  <a:gd name="T32" fmla="*/ 42 w 226"/>
                  <a:gd name="T33" fmla="*/ 69 h 233"/>
                  <a:gd name="T34" fmla="*/ 48 w 226"/>
                  <a:gd name="T35" fmla="*/ 85 h 233"/>
                  <a:gd name="T36" fmla="*/ 57 w 226"/>
                  <a:gd name="T37" fmla="*/ 106 h 233"/>
                  <a:gd name="T38" fmla="*/ 112 w 226"/>
                  <a:gd name="T39" fmla="*/ 233 h 233"/>
                  <a:gd name="T40" fmla="*/ 166 w 226"/>
                  <a:gd name="T41" fmla="*/ 106 h 233"/>
                  <a:gd name="T42" fmla="*/ 166 w 226"/>
                  <a:gd name="T43" fmla="*/ 106 h 233"/>
                  <a:gd name="T44" fmla="*/ 176 w 226"/>
                  <a:gd name="T45" fmla="*/ 85 h 233"/>
                  <a:gd name="T46" fmla="*/ 182 w 226"/>
                  <a:gd name="T47" fmla="*/ 69 h 233"/>
                  <a:gd name="T48" fmla="*/ 182 w 226"/>
                  <a:gd name="T49" fmla="*/ 69 h 233"/>
                  <a:gd name="T50" fmla="*/ 181 w 226"/>
                  <a:gd name="T51" fmla="*/ 110 h 233"/>
                  <a:gd name="T52" fmla="*/ 181 w 226"/>
                  <a:gd name="T53" fmla="*/ 230 h 233"/>
                  <a:gd name="T54" fmla="*/ 226 w 226"/>
                  <a:gd name="T55" fmla="*/ 23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26" h="233">
                    <a:moveTo>
                      <a:pt x="226" y="230"/>
                    </a:moveTo>
                    <a:lnTo>
                      <a:pt x="226" y="0"/>
                    </a:lnTo>
                    <a:lnTo>
                      <a:pt x="177" y="0"/>
                    </a:lnTo>
                    <a:lnTo>
                      <a:pt x="128" y="111"/>
                    </a:lnTo>
                    <a:lnTo>
                      <a:pt x="128" y="111"/>
                    </a:lnTo>
                    <a:lnTo>
                      <a:pt x="113" y="151"/>
                    </a:lnTo>
                    <a:lnTo>
                      <a:pt x="113" y="151"/>
                    </a:lnTo>
                    <a:lnTo>
                      <a:pt x="106" y="132"/>
                    </a:lnTo>
                    <a:lnTo>
                      <a:pt x="98" y="111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3" y="230"/>
                    </a:lnTo>
                    <a:lnTo>
                      <a:pt x="43" y="110"/>
                    </a:lnTo>
                    <a:lnTo>
                      <a:pt x="43" y="110"/>
                    </a:lnTo>
                    <a:lnTo>
                      <a:pt x="42" y="69"/>
                    </a:lnTo>
                    <a:lnTo>
                      <a:pt x="42" y="69"/>
                    </a:lnTo>
                    <a:lnTo>
                      <a:pt x="48" y="85"/>
                    </a:lnTo>
                    <a:lnTo>
                      <a:pt x="57" y="106"/>
                    </a:lnTo>
                    <a:lnTo>
                      <a:pt x="112" y="233"/>
                    </a:lnTo>
                    <a:lnTo>
                      <a:pt x="166" y="106"/>
                    </a:lnTo>
                    <a:lnTo>
                      <a:pt x="166" y="106"/>
                    </a:lnTo>
                    <a:lnTo>
                      <a:pt x="176" y="85"/>
                    </a:lnTo>
                    <a:lnTo>
                      <a:pt x="182" y="69"/>
                    </a:lnTo>
                    <a:lnTo>
                      <a:pt x="182" y="69"/>
                    </a:lnTo>
                    <a:lnTo>
                      <a:pt x="181" y="110"/>
                    </a:lnTo>
                    <a:lnTo>
                      <a:pt x="181" y="230"/>
                    </a:lnTo>
                    <a:lnTo>
                      <a:pt x="226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4" name="Freeform 73"/>
              <p:cNvSpPr>
                <a:spLocks noEditPoints="1"/>
              </p:cNvSpPr>
              <p:nvPr userDrawn="1"/>
            </p:nvSpPr>
            <p:spPr bwMode="auto">
              <a:xfrm>
                <a:off x="3384550" y="6363507"/>
                <a:ext cx="98425" cy="90488"/>
              </a:xfrm>
              <a:custGeom>
                <a:avLst/>
                <a:gdLst>
                  <a:gd name="T0" fmla="*/ 0 w 248"/>
                  <a:gd name="T1" fmla="*/ 0 h 230"/>
                  <a:gd name="T2" fmla="*/ 90 w 248"/>
                  <a:gd name="T3" fmla="*/ 230 h 230"/>
                  <a:gd name="T4" fmla="*/ 99 w 248"/>
                  <a:gd name="T5" fmla="*/ 229 h 230"/>
                  <a:gd name="T6" fmla="*/ 115 w 248"/>
                  <a:gd name="T7" fmla="*/ 227 h 230"/>
                  <a:gd name="T8" fmla="*/ 129 w 248"/>
                  <a:gd name="T9" fmla="*/ 222 h 230"/>
                  <a:gd name="T10" fmla="*/ 142 w 248"/>
                  <a:gd name="T11" fmla="*/ 215 h 230"/>
                  <a:gd name="T12" fmla="*/ 152 w 248"/>
                  <a:gd name="T13" fmla="*/ 206 h 230"/>
                  <a:gd name="T14" fmla="*/ 160 w 248"/>
                  <a:gd name="T15" fmla="*/ 194 h 230"/>
                  <a:gd name="T16" fmla="*/ 166 w 248"/>
                  <a:gd name="T17" fmla="*/ 180 h 230"/>
                  <a:gd name="T18" fmla="*/ 169 w 248"/>
                  <a:gd name="T19" fmla="*/ 164 h 230"/>
                  <a:gd name="T20" fmla="*/ 169 w 248"/>
                  <a:gd name="T21" fmla="*/ 155 h 230"/>
                  <a:gd name="T22" fmla="*/ 167 w 248"/>
                  <a:gd name="T23" fmla="*/ 137 h 230"/>
                  <a:gd name="T24" fmla="*/ 163 w 248"/>
                  <a:gd name="T25" fmla="*/ 122 h 230"/>
                  <a:gd name="T26" fmla="*/ 156 w 248"/>
                  <a:gd name="T27" fmla="*/ 109 h 230"/>
                  <a:gd name="T28" fmla="*/ 147 w 248"/>
                  <a:gd name="T29" fmla="*/ 99 h 230"/>
                  <a:gd name="T30" fmla="*/ 136 w 248"/>
                  <a:gd name="T31" fmla="*/ 91 h 230"/>
                  <a:gd name="T32" fmla="*/ 123 w 248"/>
                  <a:gd name="T33" fmla="*/ 85 h 230"/>
                  <a:gd name="T34" fmla="*/ 109 w 248"/>
                  <a:gd name="T35" fmla="*/ 81 h 230"/>
                  <a:gd name="T36" fmla="*/ 93 w 248"/>
                  <a:gd name="T37" fmla="*/ 80 h 230"/>
                  <a:gd name="T38" fmla="*/ 45 w 248"/>
                  <a:gd name="T39" fmla="*/ 0 h 230"/>
                  <a:gd name="T40" fmla="*/ 45 w 248"/>
                  <a:gd name="T41" fmla="*/ 117 h 230"/>
                  <a:gd name="T42" fmla="*/ 89 w 248"/>
                  <a:gd name="T43" fmla="*/ 117 h 230"/>
                  <a:gd name="T44" fmla="*/ 104 w 248"/>
                  <a:gd name="T45" fmla="*/ 120 h 230"/>
                  <a:gd name="T46" fmla="*/ 116 w 248"/>
                  <a:gd name="T47" fmla="*/ 127 h 230"/>
                  <a:gd name="T48" fmla="*/ 124 w 248"/>
                  <a:gd name="T49" fmla="*/ 138 h 230"/>
                  <a:gd name="T50" fmla="*/ 126 w 248"/>
                  <a:gd name="T51" fmla="*/ 155 h 230"/>
                  <a:gd name="T52" fmla="*/ 126 w 248"/>
                  <a:gd name="T53" fmla="*/ 163 h 230"/>
                  <a:gd name="T54" fmla="*/ 121 w 248"/>
                  <a:gd name="T55" fmla="*/ 177 h 230"/>
                  <a:gd name="T56" fmla="*/ 112 w 248"/>
                  <a:gd name="T57" fmla="*/ 187 h 230"/>
                  <a:gd name="T58" fmla="*/ 98 w 248"/>
                  <a:gd name="T59" fmla="*/ 192 h 230"/>
                  <a:gd name="T60" fmla="*/ 45 w 248"/>
                  <a:gd name="T61" fmla="*/ 192 h 230"/>
                  <a:gd name="T62" fmla="*/ 248 w 248"/>
                  <a:gd name="T63" fmla="*/ 0 h 230"/>
                  <a:gd name="T64" fmla="*/ 202 w 248"/>
                  <a:gd name="T65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8" h="230">
                    <a:moveTo>
                      <a:pt x="45" y="0"/>
                    </a:moveTo>
                    <a:lnTo>
                      <a:pt x="0" y="0"/>
                    </a:lnTo>
                    <a:lnTo>
                      <a:pt x="0" y="230"/>
                    </a:lnTo>
                    <a:lnTo>
                      <a:pt x="90" y="230"/>
                    </a:lnTo>
                    <a:lnTo>
                      <a:pt x="90" y="230"/>
                    </a:lnTo>
                    <a:lnTo>
                      <a:pt x="99" y="229"/>
                    </a:lnTo>
                    <a:lnTo>
                      <a:pt x="107" y="228"/>
                    </a:lnTo>
                    <a:lnTo>
                      <a:pt x="115" y="227"/>
                    </a:lnTo>
                    <a:lnTo>
                      <a:pt x="122" y="225"/>
                    </a:lnTo>
                    <a:lnTo>
                      <a:pt x="129" y="222"/>
                    </a:lnTo>
                    <a:lnTo>
                      <a:pt x="136" y="219"/>
                    </a:lnTo>
                    <a:lnTo>
                      <a:pt x="142" y="215"/>
                    </a:lnTo>
                    <a:lnTo>
                      <a:pt x="147" y="211"/>
                    </a:lnTo>
                    <a:lnTo>
                      <a:pt x="152" y="206"/>
                    </a:lnTo>
                    <a:lnTo>
                      <a:pt x="156" y="200"/>
                    </a:lnTo>
                    <a:lnTo>
                      <a:pt x="160" y="194"/>
                    </a:lnTo>
                    <a:lnTo>
                      <a:pt x="163" y="187"/>
                    </a:lnTo>
                    <a:lnTo>
                      <a:pt x="166" y="180"/>
                    </a:lnTo>
                    <a:lnTo>
                      <a:pt x="167" y="172"/>
                    </a:lnTo>
                    <a:lnTo>
                      <a:pt x="169" y="164"/>
                    </a:lnTo>
                    <a:lnTo>
                      <a:pt x="169" y="155"/>
                    </a:lnTo>
                    <a:lnTo>
                      <a:pt x="169" y="155"/>
                    </a:lnTo>
                    <a:lnTo>
                      <a:pt x="169" y="146"/>
                    </a:lnTo>
                    <a:lnTo>
                      <a:pt x="167" y="137"/>
                    </a:lnTo>
                    <a:lnTo>
                      <a:pt x="166" y="129"/>
                    </a:lnTo>
                    <a:lnTo>
                      <a:pt x="163" y="122"/>
                    </a:lnTo>
                    <a:lnTo>
                      <a:pt x="160" y="115"/>
                    </a:lnTo>
                    <a:lnTo>
                      <a:pt x="156" y="109"/>
                    </a:lnTo>
                    <a:lnTo>
                      <a:pt x="152" y="104"/>
                    </a:lnTo>
                    <a:lnTo>
                      <a:pt x="147" y="99"/>
                    </a:lnTo>
                    <a:lnTo>
                      <a:pt x="142" y="94"/>
                    </a:lnTo>
                    <a:lnTo>
                      <a:pt x="136" y="91"/>
                    </a:lnTo>
                    <a:lnTo>
                      <a:pt x="130" y="88"/>
                    </a:lnTo>
                    <a:lnTo>
                      <a:pt x="123" y="85"/>
                    </a:lnTo>
                    <a:lnTo>
                      <a:pt x="116" y="83"/>
                    </a:lnTo>
                    <a:lnTo>
                      <a:pt x="109" y="81"/>
                    </a:lnTo>
                    <a:lnTo>
                      <a:pt x="101" y="81"/>
                    </a:lnTo>
                    <a:lnTo>
                      <a:pt x="93" y="80"/>
                    </a:lnTo>
                    <a:lnTo>
                      <a:pt x="45" y="80"/>
                    </a:lnTo>
                    <a:lnTo>
                      <a:pt x="45" y="0"/>
                    </a:lnTo>
                    <a:close/>
                    <a:moveTo>
                      <a:pt x="45" y="192"/>
                    </a:moveTo>
                    <a:lnTo>
                      <a:pt x="45" y="117"/>
                    </a:lnTo>
                    <a:lnTo>
                      <a:pt x="89" y="117"/>
                    </a:lnTo>
                    <a:lnTo>
                      <a:pt x="89" y="117"/>
                    </a:lnTo>
                    <a:lnTo>
                      <a:pt x="97" y="118"/>
                    </a:lnTo>
                    <a:lnTo>
                      <a:pt x="104" y="120"/>
                    </a:lnTo>
                    <a:lnTo>
                      <a:pt x="111" y="123"/>
                    </a:lnTo>
                    <a:lnTo>
                      <a:pt x="116" y="127"/>
                    </a:lnTo>
                    <a:lnTo>
                      <a:pt x="120" y="132"/>
                    </a:lnTo>
                    <a:lnTo>
                      <a:pt x="124" y="138"/>
                    </a:lnTo>
                    <a:lnTo>
                      <a:pt x="125" y="147"/>
                    </a:lnTo>
                    <a:lnTo>
                      <a:pt x="126" y="155"/>
                    </a:lnTo>
                    <a:lnTo>
                      <a:pt x="126" y="155"/>
                    </a:lnTo>
                    <a:lnTo>
                      <a:pt x="126" y="163"/>
                    </a:lnTo>
                    <a:lnTo>
                      <a:pt x="124" y="171"/>
                    </a:lnTo>
                    <a:lnTo>
                      <a:pt x="121" y="177"/>
                    </a:lnTo>
                    <a:lnTo>
                      <a:pt x="117" y="182"/>
                    </a:lnTo>
                    <a:lnTo>
                      <a:pt x="112" y="187"/>
                    </a:lnTo>
                    <a:lnTo>
                      <a:pt x="105" y="190"/>
                    </a:lnTo>
                    <a:lnTo>
                      <a:pt x="98" y="192"/>
                    </a:lnTo>
                    <a:lnTo>
                      <a:pt x="89" y="192"/>
                    </a:lnTo>
                    <a:lnTo>
                      <a:pt x="45" y="192"/>
                    </a:lnTo>
                    <a:close/>
                    <a:moveTo>
                      <a:pt x="248" y="230"/>
                    </a:moveTo>
                    <a:lnTo>
                      <a:pt x="248" y="0"/>
                    </a:lnTo>
                    <a:lnTo>
                      <a:pt x="202" y="0"/>
                    </a:lnTo>
                    <a:lnTo>
                      <a:pt x="202" y="230"/>
                    </a:lnTo>
                    <a:lnTo>
                      <a:pt x="248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5" name="Freeform 74"/>
              <p:cNvSpPr>
                <a:spLocks/>
              </p:cNvSpPr>
              <p:nvPr userDrawn="1"/>
            </p:nvSpPr>
            <p:spPr bwMode="auto">
              <a:xfrm>
                <a:off x="3541712" y="6363507"/>
                <a:ext cx="85725" cy="122238"/>
              </a:xfrm>
              <a:custGeom>
                <a:avLst/>
                <a:gdLst>
                  <a:gd name="T0" fmla="*/ 214 w 214"/>
                  <a:gd name="T1" fmla="*/ 0 h 310"/>
                  <a:gd name="T2" fmla="*/ 166 w 214"/>
                  <a:gd name="T3" fmla="*/ 0 h 310"/>
                  <a:gd name="T4" fmla="*/ 107 w 214"/>
                  <a:gd name="T5" fmla="*/ 173 h 310"/>
                  <a:gd name="T6" fmla="*/ 49 w 214"/>
                  <a:gd name="T7" fmla="*/ 0 h 310"/>
                  <a:gd name="T8" fmla="*/ 0 w 214"/>
                  <a:gd name="T9" fmla="*/ 0 h 310"/>
                  <a:gd name="T10" fmla="*/ 84 w 214"/>
                  <a:gd name="T11" fmla="*/ 225 h 310"/>
                  <a:gd name="T12" fmla="*/ 51 w 214"/>
                  <a:gd name="T13" fmla="*/ 310 h 310"/>
                  <a:gd name="T14" fmla="*/ 99 w 214"/>
                  <a:gd name="T15" fmla="*/ 310 h 310"/>
                  <a:gd name="T16" fmla="*/ 214 w 214"/>
                  <a:gd name="T17" fmla="*/ 0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4" h="310">
                    <a:moveTo>
                      <a:pt x="214" y="0"/>
                    </a:moveTo>
                    <a:lnTo>
                      <a:pt x="166" y="0"/>
                    </a:lnTo>
                    <a:lnTo>
                      <a:pt x="107" y="173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84" y="225"/>
                    </a:lnTo>
                    <a:lnTo>
                      <a:pt x="51" y="310"/>
                    </a:lnTo>
                    <a:lnTo>
                      <a:pt x="99" y="310"/>
                    </a:lnTo>
                    <a:lnTo>
                      <a:pt x="21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6" name="Freeform 75"/>
              <p:cNvSpPr>
                <a:spLocks/>
              </p:cNvSpPr>
              <p:nvPr userDrawn="1"/>
            </p:nvSpPr>
            <p:spPr bwMode="auto">
              <a:xfrm>
                <a:off x="3630612" y="6363507"/>
                <a:ext cx="82550" cy="92075"/>
              </a:xfrm>
              <a:custGeom>
                <a:avLst/>
                <a:gdLst>
                  <a:gd name="T0" fmla="*/ 94 w 209"/>
                  <a:gd name="T1" fmla="*/ 39 h 234"/>
                  <a:gd name="T2" fmla="*/ 164 w 209"/>
                  <a:gd name="T3" fmla="*/ 39 h 234"/>
                  <a:gd name="T4" fmla="*/ 164 w 209"/>
                  <a:gd name="T5" fmla="*/ 230 h 234"/>
                  <a:gd name="T6" fmla="*/ 209 w 209"/>
                  <a:gd name="T7" fmla="*/ 230 h 234"/>
                  <a:gd name="T8" fmla="*/ 209 w 209"/>
                  <a:gd name="T9" fmla="*/ 0 h 234"/>
                  <a:gd name="T10" fmla="*/ 52 w 209"/>
                  <a:gd name="T11" fmla="*/ 0 h 234"/>
                  <a:gd name="T12" fmla="*/ 47 w 209"/>
                  <a:gd name="T13" fmla="*/ 116 h 234"/>
                  <a:gd name="T14" fmla="*/ 47 w 209"/>
                  <a:gd name="T15" fmla="*/ 116 h 234"/>
                  <a:gd name="T16" fmla="*/ 45 w 209"/>
                  <a:gd name="T17" fmla="*/ 135 h 234"/>
                  <a:gd name="T18" fmla="*/ 42 w 209"/>
                  <a:gd name="T19" fmla="*/ 152 h 234"/>
                  <a:gd name="T20" fmla="*/ 38 w 209"/>
                  <a:gd name="T21" fmla="*/ 165 h 234"/>
                  <a:gd name="T22" fmla="*/ 32 w 209"/>
                  <a:gd name="T23" fmla="*/ 175 h 234"/>
                  <a:gd name="T24" fmla="*/ 26 w 209"/>
                  <a:gd name="T25" fmla="*/ 183 h 234"/>
                  <a:gd name="T26" fmla="*/ 18 w 209"/>
                  <a:gd name="T27" fmla="*/ 189 h 234"/>
                  <a:gd name="T28" fmla="*/ 9 w 209"/>
                  <a:gd name="T29" fmla="*/ 193 h 234"/>
                  <a:gd name="T30" fmla="*/ 0 w 209"/>
                  <a:gd name="T31" fmla="*/ 195 h 234"/>
                  <a:gd name="T32" fmla="*/ 12 w 209"/>
                  <a:gd name="T33" fmla="*/ 234 h 234"/>
                  <a:gd name="T34" fmla="*/ 12 w 209"/>
                  <a:gd name="T35" fmla="*/ 234 h 234"/>
                  <a:gd name="T36" fmla="*/ 19 w 209"/>
                  <a:gd name="T37" fmla="*/ 233 h 234"/>
                  <a:gd name="T38" fmla="*/ 27 w 209"/>
                  <a:gd name="T39" fmla="*/ 230 h 234"/>
                  <a:gd name="T40" fmla="*/ 34 w 209"/>
                  <a:gd name="T41" fmla="*/ 228 h 234"/>
                  <a:gd name="T42" fmla="*/ 41 w 209"/>
                  <a:gd name="T43" fmla="*/ 224 h 234"/>
                  <a:gd name="T44" fmla="*/ 48 w 209"/>
                  <a:gd name="T45" fmla="*/ 220 h 234"/>
                  <a:gd name="T46" fmla="*/ 54 w 209"/>
                  <a:gd name="T47" fmla="*/ 215 h 234"/>
                  <a:gd name="T48" fmla="*/ 60 w 209"/>
                  <a:gd name="T49" fmla="*/ 209 h 234"/>
                  <a:gd name="T50" fmla="*/ 66 w 209"/>
                  <a:gd name="T51" fmla="*/ 203 h 234"/>
                  <a:gd name="T52" fmla="*/ 71 w 209"/>
                  <a:gd name="T53" fmla="*/ 195 h 234"/>
                  <a:gd name="T54" fmla="*/ 75 w 209"/>
                  <a:gd name="T55" fmla="*/ 187 h 234"/>
                  <a:gd name="T56" fmla="*/ 79 w 209"/>
                  <a:gd name="T57" fmla="*/ 178 h 234"/>
                  <a:gd name="T58" fmla="*/ 83 w 209"/>
                  <a:gd name="T59" fmla="*/ 168 h 234"/>
                  <a:gd name="T60" fmla="*/ 86 w 209"/>
                  <a:gd name="T61" fmla="*/ 156 h 234"/>
                  <a:gd name="T62" fmla="*/ 88 w 209"/>
                  <a:gd name="T63" fmla="*/ 143 h 234"/>
                  <a:gd name="T64" fmla="*/ 89 w 209"/>
                  <a:gd name="T65" fmla="*/ 130 h 234"/>
                  <a:gd name="T66" fmla="*/ 91 w 209"/>
                  <a:gd name="T67" fmla="*/ 116 h 234"/>
                  <a:gd name="T68" fmla="*/ 94 w 209"/>
                  <a:gd name="T69" fmla="*/ 39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9" h="234">
                    <a:moveTo>
                      <a:pt x="94" y="39"/>
                    </a:moveTo>
                    <a:lnTo>
                      <a:pt x="164" y="39"/>
                    </a:lnTo>
                    <a:lnTo>
                      <a:pt x="164" y="230"/>
                    </a:lnTo>
                    <a:lnTo>
                      <a:pt x="209" y="230"/>
                    </a:lnTo>
                    <a:lnTo>
                      <a:pt x="209" y="0"/>
                    </a:lnTo>
                    <a:lnTo>
                      <a:pt x="52" y="0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5" y="135"/>
                    </a:lnTo>
                    <a:lnTo>
                      <a:pt x="42" y="152"/>
                    </a:lnTo>
                    <a:lnTo>
                      <a:pt x="38" y="165"/>
                    </a:lnTo>
                    <a:lnTo>
                      <a:pt x="32" y="175"/>
                    </a:lnTo>
                    <a:lnTo>
                      <a:pt x="26" y="183"/>
                    </a:lnTo>
                    <a:lnTo>
                      <a:pt x="18" y="189"/>
                    </a:lnTo>
                    <a:lnTo>
                      <a:pt x="9" y="193"/>
                    </a:lnTo>
                    <a:lnTo>
                      <a:pt x="0" y="195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9" y="233"/>
                    </a:lnTo>
                    <a:lnTo>
                      <a:pt x="27" y="230"/>
                    </a:lnTo>
                    <a:lnTo>
                      <a:pt x="34" y="228"/>
                    </a:lnTo>
                    <a:lnTo>
                      <a:pt x="41" y="224"/>
                    </a:lnTo>
                    <a:lnTo>
                      <a:pt x="48" y="220"/>
                    </a:lnTo>
                    <a:lnTo>
                      <a:pt x="54" y="215"/>
                    </a:lnTo>
                    <a:lnTo>
                      <a:pt x="60" y="209"/>
                    </a:lnTo>
                    <a:lnTo>
                      <a:pt x="66" y="203"/>
                    </a:lnTo>
                    <a:lnTo>
                      <a:pt x="71" y="195"/>
                    </a:lnTo>
                    <a:lnTo>
                      <a:pt x="75" y="187"/>
                    </a:lnTo>
                    <a:lnTo>
                      <a:pt x="79" y="178"/>
                    </a:lnTo>
                    <a:lnTo>
                      <a:pt x="83" y="168"/>
                    </a:lnTo>
                    <a:lnTo>
                      <a:pt x="86" y="156"/>
                    </a:lnTo>
                    <a:lnTo>
                      <a:pt x="88" y="143"/>
                    </a:lnTo>
                    <a:lnTo>
                      <a:pt x="89" y="130"/>
                    </a:lnTo>
                    <a:lnTo>
                      <a:pt x="91" y="116"/>
                    </a:lnTo>
                    <a:lnTo>
                      <a:pt x="94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7" name="Freeform 76"/>
              <p:cNvSpPr>
                <a:spLocks/>
              </p:cNvSpPr>
              <p:nvPr userDrawn="1"/>
            </p:nvSpPr>
            <p:spPr bwMode="auto">
              <a:xfrm>
                <a:off x="3729037" y="6363507"/>
                <a:ext cx="85725" cy="122238"/>
              </a:xfrm>
              <a:custGeom>
                <a:avLst/>
                <a:gdLst>
                  <a:gd name="T0" fmla="*/ 214 w 214"/>
                  <a:gd name="T1" fmla="*/ 0 h 310"/>
                  <a:gd name="T2" fmla="*/ 166 w 214"/>
                  <a:gd name="T3" fmla="*/ 0 h 310"/>
                  <a:gd name="T4" fmla="*/ 107 w 214"/>
                  <a:gd name="T5" fmla="*/ 173 h 310"/>
                  <a:gd name="T6" fmla="*/ 49 w 214"/>
                  <a:gd name="T7" fmla="*/ 0 h 310"/>
                  <a:gd name="T8" fmla="*/ 0 w 214"/>
                  <a:gd name="T9" fmla="*/ 0 h 310"/>
                  <a:gd name="T10" fmla="*/ 84 w 214"/>
                  <a:gd name="T11" fmla="*/ 225 h 310"/>
                  <a:gd name="T12" fmla="*/ 51 w 214"/>
                  <a:gd name="T13" fmla="*/ 310 h 310"/>
                  <a:gd name="T14" fmla="*/ 99 w 214"/>
                  <a:gd name="T15" fmla="*/ 310 h 310"/>
                  <a:gd name="T16" fmla="*/ 214 w 214"/>
                  <a:gd name="T17" fmla="*/ 0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4" h="310">
                    <a:moveTo>
                      <a:pt x="214" y="0"/>
                    </a:moveTo>
                    <a:lnTo>
                      <a:pt x="166" y="0"/>
                    </a:lnTo>
                    <a:lnTo>
                      <a:pt x="107" y="173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84" y="225"/>
                    </a:lnTo>
                    <a:lnTo>
                      <a:pt x="51" y="310"/>
                    </a:lnTo>
                    <a:lnTo>
                      <a:pt x="99" y="310"/>
                    </a:lnTo>
                    <a:lnTo>
                      <a:pt x="21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8" name="Freeform 77"/>
              <p:cNvSpPr>
                <a:spLocks/>
              </p:cNvSpPr>
              <p:nvPr userDrawn="1"/>
            </p:nvSpPr>
            <p:spPr bwMode="auto">
              <a:xfrm>
                <a:off x="3825875" y="6363507"/>
                <a:ext cx="69850" cy="90488"/>
              </a:xfrm>
              <a:custGeom>
                <a:avLst/>
                <a:gdLst>
                  <a:gd name="T0" fmla="*/ 179 w 179"/>
                  <a:gd name="T1" fmla="*/ 0 h 230"/>
                  <a:gd name="T2" fmla="*/ 134 w 179"/>
                  <a:gd name="T3" fmla="*/ 0 h 230"/>
                  <a:gd name="T4" fmla="*/ 134 w 179"/>
                  <a:gd name="T5" fmla="*/ 92 h 230"/>
                  <a:gd name="T6" fmla="*/ 134 w 179"/>
                  <a:gd name="T7" fmla="*/ 92 h 230"/>
                  <a:gd name="T8" fmla="*/ 125 w 179"/>
                  <a:gd name="T9" fmla="*/ 98 h 230"/>
                  <a:gd name="T10" fmla="*/ 113 w 179"/>
                  <a:gd name="T11" fmla="*/ 102 h 230"/>
                  <a:gd name="T12" fmla="*/ 100 w 179"/>
                  <a:gd name="T13" fmla="*/ 105 h 230"/>
                  <a:gd name="T14" fmla="*/ 85 w 179"/>
                  <a:gd name="T15" fmla="*/ 106 h 230"/>
                  <a:gd name="T16" fmla="*/ 85 w 179"/>
                  <a:gd name="T17" fmla="*/ 106 h 230"/>
                  <a:gd name="T18" fmla="*/ 76 w 179"/>
                  <a:gd name="T19" fmla="*/ 105 h 230"/>
                  <a:gd name="T20" fmla="*/ 68 w 179"/>
                  <a:gd name="T21" fmla="*/ 103 h 230"/>
                  <a:gd name="T22" fmla="*/ 61 w 179"/>
                  <a:gd name="T23" fmla="*/ 101 h 230"/>
                  <a:gd name="T24" fmla="*/ 56 w 179"/>
                  <a:gd name="T25" fmla="*/ 97 h 230"/>
                  <a:gd name="T26" fmla="*/ 51 w 179"/>
                  <a:gd name="T27" fmla="*/ 91 h 230"/>
                  <a:gd name="T28" fmla="*/ 48 w 179"/>
                  <a:gd name="T29" fmla="*/ 85 h 230"/>
                  <a:gd name="T30" fmla="*/ 46 w 179"/>
                  <a:gd name="T31" fmla="*/ 76 h 230"/>
                  <a:gd name="T32" fmla="*/ 45 w 179"/>
                  <a:gd name="T33" fmla="*/ 66 h 230"/>
                  <a:gd name="T34" fmla="*/ 45 w 179"/>
                  <a:gd name="T35" fmla="*/ 0 h 230"/>
                  <a:gd name="T36" fmla="*/ 0 w 179"/>
                  <a:gd name="T37" fmla="*/ 0 h 230"/>
                  <a:gd name="T38" fmla="*/ 0 w 179"/>
                  <a:gd name="T39" fmla="*/ 64 h 230"/>
                  <a:gd name="T40" fmla="*/ 0 w 179"/>
                  <a:gd name="T41" fmla="*/ 64 h 230"/>
                  <a:gd name="T42" fmla="*/ 1 w 179"/>
                  <a:gd name="T43" fmla="*/ 74 h 230"/>
                  <a:gd name="T44" fmla="*/ 2 w 179"/>
                  <a:gd name="T45" fmla="*/ 83 h 230"/>
                  <a:gd name="T46" fmla="*/ 3 w 179"/>
                  <a:gd name="T47" fmla="*/ 91 h 230"/>
                  <a:gd name="T48" fmla="*/ 5 w 179"/>
                  <a:gd name="T49" fmla="*/ 99 h 230"/>
                  <a:gd name="T50" fmla="*/ 8 w 179"/>
                  <a:gd name="T51" fmla="*/ 106 h 230"/>
                  <a:gd name="T52" fmla="*/ 11 w 179"/>
                  <a:gd name="T53" fmla="*/ 113 h 230"/>
                  <a:gd name="T54" fmla="*/ 15 w 179"/>
                  <a:gd name="T55" fmla="*/ 119 h 230"/>
                  <a:gd name="T56" fmla="*/ 19 w 179"/>
                  <a:gd name="T57" fmla="*/ 124 h 230"/>
                  <a:gd name="T58" fmla="*/ 24 w 179"/>
                  <a:gd name="T59" fmla="*/ 129 h 230"/>
                  <a:gd name="T60" fmla="*/ 30 w 179"/>
                  <a:gd name="T61" fmla="*/ 133 h 230"/>
                  <a:gd name="T62" fmla="*/ 36 w 179"/>
                  <a:gd name="T63" fmla="*/ 137 h 230"/>
                  <a:gd name="T64" fmla="*/ 42 w 179"/>
                  <a:gd name="T65" fmla="*/ 140 h 230"/>
                  <a:gd name="T66" fmla="*/ 50 w 179"/>
                  <a:gd name="T67" fmla="*/ 142 h 230"/>
                  <a:gd name="T68" fmla="*/ 57 w 179"/>
                  <a:gd name="T69" fmla="*/ 145 h 230"/>
                  <a:gd name="T70" fmla="*/ 65 w 179"/>
                  <a:gd name="T71" fmla="*/ 145 h 230"/>
                  <a:gd name="T72" fmla="*/ 74 w 179"/>
                  <a:gd name="T73" fmla="*/ 146 h 230"/>
                  <a:gd name="T74" fmla="*/ 74 w 179"/>
                  <a:gd name="T75" fmla="*/ 146 h 230"/>
                  <a:gd name="T76" fmla="*/ 91 w 179"/>
                  <a:gd name="T77" fmla="*/ 145 h 230"/>
                  <a:gd name="T78" fmla="*/ 108 w 179"/>
                  <a:gd name="T79" fmla="*/ 141 h 230"/>
                  <a:gd name="T80" fmla="*/ 122 w 179"/>
                  <a:gd name="T81" fmla="*/ 137 h 230"/>
                  <a:gd name="T82" fmla="*/ 134 w 179"/>
                  <a:gd name="T83" fmla="*/ 131 h 230"/>
                  <a:gd name="T84" fmla="*/ 134 w 179"/>
                  <a:gd name="T85" fmla="*/ 230 h 230"/>
                  <a:gd name="T86" fmla="*/ 179 w 179"/>
                  <a:gd name="T87" fmla="*/ 230 h 230"/>
                  <a:gd name="T88" fmla="*/ 179 w 179"/>
                  <a:gd name="T8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79" h="230">
                    <a:moveTo>
                      <a:pt x="179" y="0"/>
                    </a:moveTo>
                    <a:lnTo>
                      <a:pt x="134" y="0"/>
                    </a:lnTo>
                    <a:lnTo>
                      <a:pt x="134" y="92"/>
                    </a:lnTo>
                    <a:lnTo>
                      <a:pt x="134" y="92"/>
                    </a:lnTo>
                    <a:lnTo>
                      <a:pt x="125" y="98"/>
                    </a:lnTo>
                    <a:lnTo>
                      <a:pt x="113" y="102"/>
                    </a:lnTo>
                    <a:lnTo>
                      <a:pt x="100" y="105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6" y="105"/>
                    </a:lnTo>
                    <a:lnTo>
                      <a:pt x="68" y="103"/>
                    </a:lnTo>
                    <a:lnTo>
                      <a:pt x="61" y="101"/>
                    </a:lnTo>
                    <a:lnTo>
                      <a:pt x="56" y="97"/>
                    </a:lnTo>
                    <a:lnTo>
                      <a:pt x="51" y="91"/>
                    </a:lnTo>
                    <a:lnTo>
                      <a:pt x="48" y="85"/>
                    </a:lnTo>
                    <a:lnTo>
                      <a:pt x="46" y="76"/>
                    </a:lnTo>
                    <a:lnTo>
                      <a:pt x="45" y="66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1" y="74"/>
                    </a:lnTo>
                    <a:lnTo>
                      <a:pt x="2" y="83"/>
                    </a:lnTo>
                    <a:lnTo>
                      <a:pt x="3" y="91"/>
                    </a:lnTo>
                    <a:lnTo>
                      <a:pt x="5" y="99"/>
                    </a:lnTo>
                    <a:lnTo>
                      <a:pt x="8" y="106"/>
                    </a:lnTo>
                    <a:lnTo>
                      <a:pt x="11" y="113"/>
                    </a:lnTo>
                    <a:lnTo>
                      <a:pt x="15" y="119"/>
                    </a:lnTo>
                    <a:lnTo>
                      <a:pt x="19" y="124"/>
                    </a:lnTo>
                    <a:lnTo>
                      <a:pt x="24" y="129"/>
                    </a:lnTo>
                    <a:lnTo>
                      <a:pt x="30" y="133"/>
                    </a:lnTo>
                    <a:lnTo>
                      <a:pt x="36" y="137"/>
                    </a:lnTo>
                    <a:lnTo>
                      <a:pt x="42" y="140"/>
                    </a:lnTo>
                    <a:lnTo>
                      <a:pt x="50" y="142"/>
                    </a:lnTo>
                    <a:lnTo>
                      <a:pt x="57" y="145"/>
                    </a:lnTo>
                    <a:lnTo>
                      <a:pt x="65" y="145"/>
                    </a:lnTo>
                    <a:lnTo>
                      <a:pt x="74" y="146"/>
                    </a:lnTo>
                    <a:lnTo>
                      <a:pt x="74" y="146"/>
                    </a:lnTo>
                    <a:lnTo>
                      <a:pt x="91" y="145"/>
                    </a:lnTo>
                    <a:lnTo>
                      <a:pt x="108" y="141"/>
                    </a:lnTo>
                    <a:lnTo>
                      <a:pt x="122" y="137"/>
                    </a:lnTo>
                    <a:lnTo>
                      <a:pt x="134" y="131"/>
                    </a:lnTo>
                    <a:lnTo>
                      <a:pt x="134" y="230"/>
                    </a:lnTo>
                    <a:lnTo>
                      <a:pt x="179" y="230"/>
                    </a:lnTo>
                    <a:lnTo>
                      <a:pt x="179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9" name="Freeform 78"/>
              <p:cNvSpPr>
                <a:spLocks/>
              </p:cNvSpPr>
              <p:nvPr userDrawn="1"/>
            </p:nvSpPr>
            <p:spPr bwMode="auto">
              <a:xfrm>
                <a:off x="3919537" y="6363507"/>
                <a:ext cx="117475" cy="90488"/>
              </a:xfrm>
              <a:custGeom>
                <a:avLst/>
                <a:gdLst>
                  <a:gd name="T0" fmla="*/ 294 w 294"/>
                  <a:gd name="T1" fmla="*/ 0 h 230"/>
                  <a:gd name="T2" fmla="*/ 249 w 294"/>
                  <a:gd name="T3" fmla="*/ 0 h 230"/>
                  <a:gd name="T4" fmla="*/ 249 w 294"/>
                  <a:gd name="T5" fmla="*/ 190 h 230"/>
                  <a:gd name="T6" fmla="*/ 169 w 294"/>
                  <a:gd name="T7" fmla="*/ 190 h 230"/>
                  <a:gd name="T8" fmla="*/ 169 w 294"/>
                  <a:gd name="T9" fmla="*/ 0 h 230"/>
                  <a:gd name="T10" fmla="*/ 125 w 294"/>
                  <a:gd name="T11" fmla="*/ 0 h 230"/>
                  <a:gd name="T12" fmla="*/ 125 w 294"/>
                  <a:gd name="T13" fmla="*/ 190 h 230"/>
                  <a:gd name="T14" fmla="*/ 45 w 294"/>
                  <a:gd name="T15" fmla="*/ 190 h 230"/>
                  <a:gd name="T16" fmla="*/ 45 w 294"/>
                  <a:gd name="T17" fmla="*/ 0 h 230"/>
                  <a:gd name="T18" fmla="*/ 0 w 294"/>
                  <a:gd name="T19" fmla="*/ 0 h 230"/>
                  <a:gd name="T20" fmla="*/ 0 w 294"/>
                  <a:gd name="T21" fmla="*/ 230 h 230"/>
                  <a:gd name="T22" fmla="*/ 294 w 294"/>
                  <a:gd name="T23" fmla="*/ 230 h 230"/>
                  <a:gd name="T24" fmla="*/ 294 w 294"/>
                  <a:gd name="T25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4" h="230">
                    <a:moveTo>
                      <a:pt x="294" y="0"/>
                    </a:moveTo>
                    <a:lnTo>
                      <a:pt x="249" y="0"/>
                    </a:lnTo>
                    <a:lnTo>
                      <a:pt x="249" y="190"/>
                    </a:lnTo>
                    <a:lnTo>
                      <a:pt x="169" y="190"/>
                    </a:lnTo>
                    <a:lnTo>
                      <a:pt x="169" y="0"/>
                    </a:lnTo>
                    <a:lnTo>
                      <a:pt x="125" y="0"/>
                    </a:lnTo>
                    <a:lnTo>
                      <a:pt x="125" y="190"/>
                    </a:lnTo>
                    <a:lnTo>
                      <a:pt x="45" y="190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294" y="230"/>
                    </a:lnTo>
                    <a:lnTo>
                      <a:pt x="29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0" name="Freeform 79"/>
              <p:cNvSpPr>
                <a:spLocks noEditPoints="1"/>
              </p:cNvSpPr>
              <p:nvPr userDrawn="1"/>
            </p:nvSpPr>
            <p:spPr bwMode="auto">
              <a:xfrm>
                <a:off x="4054475" y="6360332"/>
                <a:ext cx="74613" cy="95250"/>
              </a:xfrm>
              <a:custGeom>
                <a:avLst/>
                <a:gdLst>
                  <a:gd name="T0" fmla="*/ 187 w 187"/>
                  <a:gd name="T1" fmla="*/ 77 h 239"/>
                  <a:gd name="T2" fmla="*/ 187 w 187"/>
                  <a:gd name="T3" fmla="*/ 67 h 239"/>
                  <a:gd name="T4" fmla="*/ 183 w 187"/>
                  <a:gd name="T5" fmla="*/ 50 h 239"/>
                  <a:gd name="T6" fmla="*/ 177 w 187"/>
                  <a:gd name="T7" fmla="*/ 36 h 239"/>
                  <a:gd name="T8" fmla="*/ 169 w 187"/>
                  <a:gd name="T9" fmla="*/ 24 h 239"/>
                  <a:gd name="T10" fmla="*/ 157 w 187"/>
                  <a:gd name="T11" fmla="*/ 14 h 239"/>
                  <a:gd name="T12" fmla="*/ 144 w 187"/>
                  <a:gd name="T13" fmla="*/ 7 h 239"/>
                  <a:gd name="T14" fmla="*/ 128 w 187"/>
                  <a:gd name="T15" fmla="*/ 2 h 239"/>
                  <a:gd name="T16" fmla="*/ 110 w 187"/>
                  <a:gd name="T17" fmla="*/ 0 h 239"/>
                  <a:gd name="T18" fmla="*/ 101 w 187"/>
                  <a:gd name="T19" fmla="*/ 0 h 239"/>
                  <a:gd name="T20" fmla="*/ 78 w 187"/>
                  <a:gd name="T21" fmla="*/ 1 h 239"/>
                  <a:gd name="T22" fmla="*/ 58 w 187"/>
                  <a:gd name="T23" fmla="*/ 5 h 239"/>
                  <a:gd name="T24" fmla="*/ 40 w 187"/>
                  <a:gd name="T25" fmla="*/ 11 h 239"/>
                  <a:gd name="T26" fmla="*/ 23 w 187"/>
                  <a:gd name="T27" fmla="*/ 20 h 239"/>
                  <a:gd name="T28" fmla="*/ 40 w 187"/>
                  <a:gd name="T29" fmla="*/ 54 h 239"/>
                  <a:gd name="T30" fmla="*/ 68 w 187"/>
                  <a:gd name="T31" fmla="*/ 43 h 239"/>
                  <a:gd name="T32" fmla="*/ 100 w 187"/>
                  <a:gd name="T33" fmla="*/ 40 h 239"/>
                  <a:gd name="T34" fmla="*/ 110 w 187"/>
                  <a:gd name="T35" fmla="*/ 41 h 239"/>
                  <a:gd name="T36" fmla="*/ 126 w 187"/>
                  <a:gd name="T37" fmla="*/ 46 h 239"/>
                  <a:gd name="T38" fmla="*/ 137 w 187"/>
                  <a:gd name="T39" fmla="*/ 56 h 239"/>
                  <a:gd name="T40" fmla="*/ 142 w 187"/>
                  <a:gd name="T41" fmla="*/ 70 h 239"/>
                  <a:gd name="T42" fmla="*/ 143 w 187"/>
                  <a:gd name="T43" fmla="*/ 96 h 239"/>
                  <a:gd name="T44" fmla="*/ 134 w 187"/>
                  <a:gd name="T45" fmla="*/ 92 h 239"/>
                  <a:gd name="T46" fmla="*/ 109 w 187"/>
                  <a:gd name="T47" fmla="*/ 88 h 239"/>
                  <a:gd name="T48" fmla="*/ 92 w 187"/>
                  <a:gd name="T49" fmla="*/ 87 h 239"/>
                  <a:gd name="T50" fmla="*/ 64 w 187"/>
                  <a:gd name="T51" fmla="*/ 89 h 239"/>
                  <a:gd name="T52" fmla="*/ 48 w 187"/>
                  <a:gd name="T53" fmla="*/ 94 h 239"/>
                  <a:gd name="T54" fmla="*/ 33 w 187"/>
                  <a:gd name="T55" fmla="*/ 101 h 239"/>
                  <a:gd name="T56" fmla="*/ 21 w 187"/>
                  <a:gd name="T57" fmla="*/ 110 h 239"/>
                  <a:gd name="T58" fmla="*/ 11 w 187"/>
                  <a:gd name="T59" fmla="*/ 121 h 239"/>
                  <a:gd name="T60" fmla="*/ 4 w 187"/>
                  <a:gd name="T61" fmla="*/ 135 h 239"/>
                  <a:gd name="T62" fmla="*/ 0 w 187"/>
                  <a:gd name="T63" fmla="*/ 153 h 239"/>
                  <a:gd name="T64" fmla="*/ 0 w 187"/>
                  <a:gd name="T65" fmla="*/ 162 h 239"/>
                  <a:gd name="T66" fmla="*/ 2 w 187"/>
                  <a:gd name="T67" fmla="*/ 182 h 239"/>
                  <a:gd name="T68" fmla="*/ 7 w 187"/>
                  <a:gd name="T69" fmla="*/ 198 h 239"/>
                  <a:gd name="T70" fmla="*/ 15 w 187"/>
                  <a:gd name="T71" fmla="*/ 211 h 239"/>
                  <a:gd name="T72" fmla="*/ 27 w 187"/>
                  <a:gd name="T73" fmla="*/ 222 h 239"/>
                  <a:gd name="T74" fmla="*/ 39 w 187"/>
                  <a:gd name="T75" fmla="*/ 230 h 239"/>
                  <a:gd name="T76" fmla="*/ 52 w 187"/>
                  <a:gd name="T77" fmla="*/ 235 h 239"/>
                  <a:gd name="T78" fmla="*/ 80 w 187"/>
                  <a:gd name="T79" fmla="*/ 239 h 239"/>
                  <a:gd name="T80" fmla="*/ 91 w 187"/>
                  <a:gd name="T81" fmla="*/ 239 h 239"/>
                  <a:gd name="T82" fmla="*/ 109 w 187"/>
                  <a:gd name="T83" fmla="*/ 234 h 239"/>
                  <a:gd name="T84" fmla="*/ 116 w 187"/>
                  <a:gd name="T85" fmla="*/ 231 h 239"/>
                  <a:gd name="T86" fmla="*/ 135 w 187"/>
                  <a:gd name="T87" fmla="*/ 219 h 239"/>
                  <a:gd name="T88" fmla="*/ 143 w 187"/>
                  <a:gd name="T89" fmla="*/ 235 h 239"/>
                  <a:gd name="T90" fmla="*/ 143 w 187"/>
                  <a:gd name="T91" fmla="*/ 170 h 239"/>
                  <a:gd name="T92" fmla="*/ 139 w 187"/>
                  <a:gd name="T93" fmla="*/ 175 h 239"/>
                  <a:gd name="T94" fmla="*/ 127 w 187"/>
                  <a:gd name="T95" fmla="*/ 185 h 239"/>
                  <a:gd name="T96" fmla="*/ 113 w 187"/>
                  <a:gd name="T97" fmla="*/ 193 h 239"/>
                  <a:gd name="T98" fmla="*/ 96 w 187"/>
                  <a:gd name="T99" fmla="*/ 198 h 239"/>
                  <a:gd name="T100" fmla="*/ 88 w 187"/>
                  <a:gd name="T101" fmla="*/ 199 h 239"/>
                  <a:gd name="T102" fmla="*/ 69 w 187"/>
                  <a:gd name="T103" fmla="*/ 196 h 239"/>
                  <a:gd name="T104" fmla="*/ 56 w 187"/>
                  <a:gd name="T105" fmla="*/ 190 h 239"/>
                  <a:gd name="T106" fmla="*/ 51 w 187"/>
                  <a:gd name="T107" fmla="*/ 185 h 239"/>
                  <a:gd name="T108" fmla="*/ 45 w 187"/>
                  <a:gd name="T109" fmla="*/ 170 h 239"/>
                  <a:gd name="T110" fmla="*/ 44 w 187"/>
                  <a:gd name="T111" fmla="*/ 161 h 239"/>
                  <a:gd name="T112" fmla="*/ 47 w 187"/>
                  <a:gd name="T113" fmla="*/ 146 h 239"/>
                  <a:gd name="T114" fmla="*/ 56 w 187"/>
                  <a:gd name="T115" fmla="*/ 135 h 239"/>
                  <a:gd name="T116" fmla="*/ 71 w 187"/>
                  <a:gd name="T117" fmla="*/ 128 h 239"/>
                  <a:gd name="T118" fmla="*/ 91 w 187"/>
                  <a:gd name="T119" fmla="*/ 126 h 239"/>
                  <a:gd name="T120" fmla="*/ 108 w 187"/>
                  <a:gd name="T121" fmla="*/ 126 h 239"/>
                  <a:gd name="T122" fmla="*/ 121 w 187"/>
                  <a:gd name="T123" fmla="*/ 128 h 239"/>
                  <a:gd name="T124" fmla="*/ 143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5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7" y="67"/>
                    </a:lnTo>
                    <a:lnTo>
                      <a:pt x="185" y="58"/>
                    </a:lnTo>
                    <a:lnTo>
                      <a:pt x="183" y="50"/>
                    </a:lnTo>
                    <a:lnTo>
                      <a:pt x="181" y="43"/>
                    </a:lnTo>
                    <a:lnTo>
                      <a:pt x="177" y="36"/>
                    </a:lnTo>
                    <a:lnTo>
                      <a:pt x="173" y="29"/>
                    </a:lnTo>
                    <a:lnTo>
                      <a:pt x="169" y="24"/>
                    </a:lnTo>
                    <a:lnTo>
                      <a:pt x="163" y="19"/>
                    </a:lnTo>
                    <a:lnTo>
                      <a:pt x="157" y="14"/>
                    </a:lnTo>
                    <a:lnTo>
                      <a:pt x="151" y="10"/>
                    </a:lnTo>
                    <a:lnTo>
                      <a:pt x="144" y="7"/>
                    </a:lnTo>
                    <a:lnTo>
                      <a:pt x="136" y="5"/>
                    </a:lnTo>
                    <a:lnTo>
                      <a:pt x="128" y="2"/>
                    </a:lnTo>
                    <a:lnTo>
                      <a:pt x="119" y="1"/>
                    </a:lnTo>
                    <a:lnTo>
                      <a:pt x="110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89" y="0"/>
                    </a:lnTo>
                    <a:lnTo>
                      <a:pt x="78" y="1"/>
                    </a:lnTo>
                    <a:lnTo>
                      <a:pt x="68" y="3"/>
                    </a:lnTo>
                    <a:lnTo>
                      <a:pt x="58" y="5"/>
                    </a:lnTo>
                    <a:lnTo>
                      <a:pt x="49" y="8"/>
                    </a:lnTo>
                    <a:lnTo>
                      <a:pt x="40" y="11"/>
                    </a:lnTo>
                    <a:lnTo>
                      <a:pt x="31" y="16"/>
                    </a:lnTo>
                    <a:lnTo>
                      <a:pt x="23" y="20"/>
                    </a:lnTo>
                    <a:lnTo>
                      <a:pt x="40" y="54"/>
                    </a:lnTo>
                    <a:lnTo>
                      <a:pt x="40" y="54"/>
                    </a:lnTo>
                    <a:lnTo>
                      <a:pt x="54" y="48"/>
                    </a:lnTo>
                    <a:lnTo>
                      <a:pt x="68" y="43"/>
                    </a:lnTo>
                    <a:lnTo>
                      <a:pt x="83" y="41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10" y="41"/>
                    </a:lnTo>
                    <a:lnTo>
                      <a:pt x="118" y="43"/>
                    </a:lnTo>
                    <a:lnTo>
                      <a:pt x="126" y="46"/>
                    </a:lnTo>
                    <a:lnTo>
                      <a:pt x="132" y="50"/>
                    </a:lnTo>
                    <a:lnTo>
                      <a:pt x="137" y="56"/>
                    </a:lnTo>
                    <a:lnTo>
                      <a:pt x="140" y="62"/>
                    </a:lnTo>
                    <a:lnTo>
                      <a:pt x="142" y="70"/>
                    </a:lnTo>
                    <a:lnTo>
                      <a:pt x="143" y="79"/>
                    </a:lnTo>
                    <a:lnTo>
                      <a:pt x="143" y="96"/>
                    </a:lnTo>
                    <a:lnTo>
                      <a:pt x="143" y="96"/>
                    </a:lnTo>
                    <a:lnTo>
                      <a:pt x="134" y="92"/>
                    </a:lnTo>
                    <a:lnTo>
                      <a:pt x="122" y="89"/>
                    </a:lnTo>
                    <a:lnTo>
                      <a:pt x="109" y="88"/>
                    </a:lnTo>
                    <a:lnTo>
                      <a:pt x="92" y="87"/>
                    </a:lnTo>
                    <a:lnTo>
                      <a:pt x="92" y="87"/>
                    </a:lnTo>
                    <a:lnTo>
                      <a:pt x="73" y="88"/>
                    </a:lnTo>
                    <a:lnTo>
                      <a:pt x="64" y="89"/>
                    </a:lnTo>
                    <a:lnTo>
                      <a:pt x="56" y="91"/>
                    </a:lnTo>
                    <a:lnTo>
                      <a:pt x="48" y="94"/>
                    </a:lnTo>
                    <a:lnTo>
                      <a:pt x="40" y="97"/>
                    </a:lnTo>
                    <a:lnTo>
                      <a:pt x="33" y="101"/>
                    </a:lnTo>
                    <a:lnTo>
                      <a:pt x="27" y="105"/>
                    </a:lnTo>
                    <a:lnTo>
                      <a:pt x="21" y="110"/>
                    </a:lnTo>
                    <a:lnTo>
                      <a:pt x="15" y="115"/>
                    </a:lnTo>
                    <a:lnTo>
                      <a:pt x="11" y="121"/>
                    </a:lnTo>
                    <a:lnTo>
                      <a:pt x="7" y="128"/>
                    </a:lnTo>
                    <a:lnTo>
                      <a:pt x="4" y="135"/>
                    </a:lnTo>
                    <a:lnTo>
                      <a:pt x="2" y="143"/>
                    </a:lnTo>
                    <a:lnTo>
                      <a:pt x="0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2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1" y="205"/>
                    </a:lnTo>
                    <a:lnTo>
                      <a:pt x="15" y="211"/>
                    </a:lnTo>
                    <a:lnTo>
                      <a:pt x="21" y="217"/>
                    </a:lnTo>
                    <a:lnTo>
                      <a:pt x="27" y="222"/>
                    </a:lnTo>
                    <a:lnTo>
                      <a:pt x="33" y="226"/>
                    </a:lnTo>
                    <a:lnTo>
                      <a:pt x="39" y="230"/>
                    </a:lnTo>
                    <a:lnTo>
                      <a:pt x="45" y="233"/>
                    </a:lnTo>
                    <a:lnTo>
                      <a:pt x="52" y="235"/>
                    </a:lnTo>
                    <a:lnTo>
                      <a:pt x="66" y="238"/>
                    </a:lnTo>
                    <a:lnTo>
                      <a:pt x="80" y="239"/>
                    </a:lnTo>
                    <a:lnTo>
                      <a:pt x="80" y="239"/>
                    </a:lnTo>
                    <a:lnTo>
                      <a:pt x="91" y="239"/>
                    </a:lnTo>
                    <a:lnTo>
                      <a:pt x="101" y="237"/>
                    </a:lnTo>
                    <a:lnTo>
                      <a:pt x="109" y="234"/>
                    </a:lnTo>
                    <a:lnTo>
                      <a:pt x="116" y="231"/>
                    </a:lnTo>
                    <a:lnTo>
                      <a:pt x="116" y="231"/>
                    </a:lnTo>
                    <a:lnTo>
                      <a:pt x="128" y="224"/>
                    </a:lnTo>
                    <a:lnTo>
                      <a:pt x="135" y="219"/>
                    </a:lnTo>
                    <a:lnTo>
                      <a:pt x="143" y="212"/>
                    </a:lnTo>
                    <a:lnTo>
                      <a:pt x="143" y="235"/>
                    </a:lnTo>
                    <a:lnTo>
                      <a:pt x="187" y="235"/>
                    </a:lnTo>
                    <a:close/>
                    <a:moveTo>
                      <a:pt x="143" y="170"/>
                    </a:moveTo>
                    <a:lnTo>
                      <a:pt x="143" y="170"/>
                    </a:lnTo>
                    <a:lnTo>
                      <a:pt x="139" y="175"/>
                    </a:lnTo>
                    <a:lnTo>
                      <a:pt x="133" y="180"/>
                    </a:lnTo>
                    <a:lnTo>
                      <a:pt x="127" y="185"/>
                    </a:lnTo>
                    <a:lnTo>
                      <a:pt x="121" y="190"/>
                    </a:lnTo>
                    <a:lnTo>
                      <a:pt x="113" y="193"/>
                    </a:lnTo>
                    <a:lnTo>
                      <a:pt x="105" y="196"/>
                    </a:lnTo>
                    <a:lnTo>
                      <a:pt x="96" y="198"/>
                    </a:lnTo>
                    <a:lnTo>
                      <a:pt x="88" y="199"/>
                    </a:lnTo>
                    <a:lnTo>
                      <a:pt x="88" y="199"/>
                    </a:lnTo>
                    <a:lnTo>
                      <a:pt x="78" y="198"/>
                    </a:lnTo>
                    <a:lnTo>
                      <a:pt x="69" y="196"/>
                    </a:lnTo>
                    <a:lnTo>
                      <a:pt x="62" y="194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1" y="185"/>
                    </a:lnTo>
                    <a:lnTo>
                      <a:pt x="47" y="178"/>
                    </a:lnTo>
                    <a:lnTo>
                      <a:pt x="45" y="170"/>
                    </a:lnTo>
                    <a:lnTo>
                      <a:pt x="44" y="161"/>
                    </a:lnTo>
                    <a:lnTo>
                      <a:pt x="44" y="161"/>
                    </a:lnTo>
                    <a:lnTo>
                      <a:pt x="44" y="153"/>
                    </a:lnTo>
                    <a:lnTo>
                      <a:pt x="47" y="146"/>
                    </a:lnTo>
                    <a:lnTo>
                      <a:pt x="51" y="140"/>
                    </a:lnTo>
                    <a:lnTo>
                      <a:pt x="56" y="135"/>
                    </a:lnTo>
                    <a:lnTo>
                      <a:pt x="63" y="131"/>
                    </a:lnTo>
                    <a:lnTo>
                      <a:pt x="71" y="128"/>
                    </a:lnTo>
                    <a:lnTo>
                      <a:pt x="80" y="126"/>
                    </a:lnTo>
                    <a:lnTo>
                      <a:pt x="91" y="126"/>
                    </a:lnTo>
                    <a:lnTo>
                      <a:pt x="91" y="126"/>
                    </a:lnTo>
                    <a:lnTo>
                      <a:pt x="108" y="126"/>
                    </a:lnTo>
                    <a:lnTo>
                      <a:pt x="121" y="128"/>
                    </a:lnTo>
                    <a:lnTo>
                      <a:pt x="121" y="128"/>
                    </a:lnTo>
                    <a:lnTo>
                      <a:pt x="131" y="131"/>
                    </a:lnTo>
                    <a:lnTo>
                      <a:pt x="143" y="136"/>
                    </a:lnTo>
                    <a:lnTo>
                      <a:pt x="143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1" name="Freeform 80"/>
              <p:cNvSpPr>
                <a:spLocks noEditPoints="1"/>
              </p:cNvSpPr>
              <p:nvPr userDrawn="1"/>
            </p:nvSpPr>
            <p:spPr bwMode="auto">
              <a:xfrm>
                <a:off x="4146550" y="6360332"/>
                <a:ext cx="79375" cy="95250"/>
              </a:xfrm>
              <a:custGeom>
                <a:avLst/>
                <a:gdLst>
                  <a:gd name="T0" fmla="*/ 197 w 197"/>
                  <a:gd name="T1" fmla="*/ 114 h 239"/>
                  <a:gd name="T2" fmla="*/ 196 w 197"/>
                  <a:gd name="T3" fmla="*/ 92 h 239"/>
                  <a:gd name="T4" fmla="*/ 191 w 197"/>
                  <a:gd name="T5" fmla="*/ 70 h 239"/>
                  <a:gd name="T6" fmla="*/ 184 w 197"/>
                  <a:gd name="T7" fmla="*/ 51 h 239"/>
                  <a:gd name="T8" fmla="*/ 173 w 197"/>
                  <a:gd name="T9" fmla="*/ 34 h 239"/>
                  <a:gd name="T10" fmla="*/ 160 w 197"/>
                  <a:gd name="T11" fmla="*/ 20 h 239"/>
                  <a:gd name="T12" fmla="*/ 143 w 197"/>
                  <a:gd name="T13" fmla="*/ 9 h 239"/>
                  <a:gd name="T14" fmla="*/ 123 w 197"/>
                  <a:gd name="T15" fmla="*/ 2 h 239"/>
                  <a:gd name="T16" fmla="*/ 101 w 197"/>
                  <a:gd name="T17" fmla="*/ 0 h 239"/>
                  <a:gd name="T18" fmla="*/ 90 w 197"/>
                  <a:gd name="T19" fmla="*/ 0 h 239"/>
                  <a:gd name="T20" fmla="*/ 69 w 197"/>
                  <a:gd name="T21" fmla="*/ 4 h 239"/>
                  <a:gd name="T22" fmla="*/ 51 w 197"/>
                  <a:gd name="T23" fmla="*/ 12 h 239"/>
                  <a:gd name="T24" fmla="*/ 35 w 197"/>
                  <a:gd name="T25" fmla="*/ 23 h 239"/>
                  <a:gd name="T26" fmla="*/ 22 w 197"/>
                  <a:gd name="T27" fmla="*/ 38 h 239"/>
                  <a:gd name="T28" fmla="*/ 12 w 197"/>
                  <a:gd name="T29" fmla="*/ 57 h 239"/>
                  <a:gd name="T30" fmla="*/ 5 w 197"/>
                  <a:gd name="T31" fmla="*/ 79 h 239"/>
                  <a:gd name="T32" fmla="*/ 1 w 197"/>
                  <a:gd name="T33" fmla="*/ 105 h 239"/>
                  <a:gd name="T34" fmla="*/ 0 w 197"/>
                  <a:gd name="T35" fmla="*/ 119 h 239"/>
                  <a:gd name="T36" fmla="*/ 2 w 197"/>
                  <a:gd name="T37" fmla="*/ 147 h 239"/>
                  <a:gd name="T38" fmla="*/ 9 w 197"/>
                  <a:gd name="T39" fmla="*/ 173 h 239"/>
                  <a:gd name="T40" fmla="*/ 19 w 197"/>
                  <a:gd name="T41" fmla="*/ 193 h 239"/>
                  <a:gd name="T42" fmla="*/ 30 w 197"/>
                  <a:gd name="T43" fmla="*/ 209 h 239"/>
                  <a:gd name="T44" fmla="*/ 37 w 197"/>
                  <a:gd name="T45" fmla="*/ 215 h 239"/>
                  <a:gd name="T46" fmla="*/ 51 w 197"/>
                  <a:gd name="T47" fmla="*/ 226 h 239"/>
                  <a:gd name="T48" fmla="*/ 68 w 197"/>
                  <a:gd name="T49" fmla="*/ 234 h 239"/>
                  <a:gd name="T50" fmla="*/ 88 w 197"/>
                  <a:gd name="T51" fmla="*/ 239 h 239"/>
                  <a:gd name="T52" fmla="*/ 99 w 197"/>
                  <a:gd name="T53" fmla="*/ 239 h 239"/>
                  <a:gd name="T54" fmla="*/ 125 w 197"/>
                  <a:gd name="T55" fmla="*/ 237 h 239"/>
                  <a:gd name="T56" fmla="*/ 145 w 197"/>
                  <a:gd name="T57" fmla="*/ 231 h 239"/>
                  <a:gd name="T58" fmla="*/ 154 w 197"/>
                  <a:gd name="T59" fmla="*/ 227 h 239"/>
                  <a:gd name="T60" fmla="*/ 170 w 197"/>
                  <a:gd name="T61" fmla="*/ 217 h 239"/>
                  <a:gd name="T62" fmla="*/ 152 w 197"/>
                  <a:gd name="T63" fmla="*/ 180 h 239"/>
                  <a:gd name="T64" fmla="*/ 139 w 197"/>
                  <a:gd name="T65" fmla="*/ 188 h 239"/>
                  <a:gd name="T66" fmla="*/ 129 w 197"/>
                  <a:gd name="T67" fmla="*/ 194 h 239"/>
                  <a:gd name="T68" fmla="*/ 116 w 197"/>
                  <a:gd name="T69" fmla="*/ 197 h 239"/>
                  <a:gd name="T70" fmla="*/ 102 w 197"/>
                  <a:gd name="T71" fmla="*/ 199 h 239"/>
                  <a:gd name="T72" fmla="*/ 92 w 197"/>
                  <a:gd name="T73" fmla="*/ 198 h 239"/>
                  <a:gd name="T74" fmla="*/ 73 w 197"/>
                  <a:gd name="T75" fmla="*/ 191 h 239"/>
                  <a:gd name="T76" fmla="*/ 58 w 197"/>
                  <a:gd name="T77" fmla="*/ 175 h 239"/>
                  <a:gd name="T78" fmla="*/ 47 w 197"/>
                  <a:gd name="T79" fmla="*/ 151 h 239"/>
                  <a:gd name="T80" fmla="*/ 196 w 197"/>
                  <a:gd name="T81" fmla="*/ 135 h 239"/>
                  <a:gd name="T82" fmla="*/ 196 w 197"/>
                  <a:gd name="T83" fmla="*/ 126 h 239"/>
                  <a:gd name="T84" fmla="*/ 197 w 197"/>
                  <a:gd name="T85" fmla="*/ 114 h 239"/>
                  <a:gd name="T86" fmla="*/ 45 w 197"/>
                  <a:gd name="T87" fmla="*/ 98 h 239"/>
                  <a:gd name="T88" fmla="*/ 51 w 197"/>
                  <a:gd name="T89" fmla="*/ 73 h 239"/>
                  <a:gd name="T90" fmla="*/ 61 w 197"/>
                  <a:gd name="T91" fmla="*/ 55 h 239"/>
                  <a:gd name="T92" fmla="*/ 77 w 197"/>
                  <a:gd name="T93" fmla="*/ 44 h 239"/>
                  <a:gd name="T94" fmla="*/ 98 w 197"/>
                  <a:gd name="T95" fmla="*/ 40 h 239"/>
                  <a:gd name="T96" fmla="*/ 104 w 197"/>
                  <a:gd name="T97" fmla="*/ 41 h 239"/>
                  <a:gd name="T98" fmla="*/ 116 w 197"/>
                  <a:gd name="T99" fmla="*/ 43 h 239"/>
                  <a:gd name="T100" fmla="*/ 126 w 197"/>
                  <a:gd name="T101" fmla="*/ 47 h 239"/>
                  <a:gd name="T102" fmla="*/ 138 w 197"/>
                  <a:gd name="T103" fmla="*/ 57 h 239"/>
                  <a:gd name="T104" fmla="*/ 147 w 197"/>
                  <a:gd name="T105" fmla="*/ 76 h 239"/>
                  <a:gd name="T106" fmla="*/ 152 w 197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7" h="239">
                    <a:moveTo>
                      <a:pt x="197" y="114"/>
                    </a:moveTo>
                    <a:lnTo>
                      <a:pt x="197" y="114"/>
                    </a:lnTo>
                    <a:lnTo>
                      <a:pt x="197" y="103"/>
                    </a:lnTo>
                    <a:lnTo>
                      <a:pt x="196" y="92"/>
                    </a:lnTo>
                    <a:lnTo>
                      <a:pt x="194" y="81"/>
                    </a:lnTo>
                    <a:lnTo>
                      <a:pt x="191" y="70"/>
                    </a:lnTo>
                    <a:lnTo>
                      <a:pt x="188" y="60"/>
                    </a:lnTo>
                    <a:lnTo>
                      <a:pt x="184" y="51"/>
                    </a:lnTo>
                    <a:lnTo>
                      <a:pt x="179" y="42"/>
                    </a:lnTo>
                    <a:lnTo>
                      <a:pt x="173" y="34"/>
                    </a:lnTo>
                    <a:lnTo>
                      <a:pt x="167" y="26"/>
                    </a:lnTo>
                    <a:lnTo>
                      <a:pt x="160" y="20"/>
                    </a:lnTo>
                    <a:lnTo>
                      <a:pt x="152" y="14"/>
                    </a:lnTo>
                    <a:lnTo>
                      <a:pt x="143" y="9"/>
                    </a:lnTo>
                    <a:lnTo>
                      <a:pt x="134" y="5"/>
                    </a:lnTo>
                    <a:lnTo>
                      <a:pt x="123" y="2"/>
                    </a:lnTo>
                    <a:lnTo>
                      <a:pt x="112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90" y="0"/>
                    </a:lnTo>
                    <a:lnTo>
                      <a:pt x="79" y="2"/>
                    </a:lnTo>
                    <a:lnTo>
                      <a:pt x="69" y="4"/>
                    </a:lnTo>
                    <a:lnTo>
                      <a:pt x="60" y="8"/>
                    </a:lnTo>
                    <a:lnTo>
                      <a:pt x="51" y="12"/>
                    </a:lnTo>
                    <a:lnTo>
                      <a:pt x="43" y="17"/>
                    </a:lnTo>
                    <a:lnTo>
                      <a:pt x="35" y="23"/>
                    </a:lnTo>
                    <a:lnTo>
                      <a:pt x="28" y="30"/>
                    </a:lnTo>
                    <a:lnTo>
                      <a:pt x="22" y="38"/>
                    </a:lnTo>
                    <a:lnTo>
                      <a:pt x="16" y="47"/>
                    </a:lnTo>
                    <a:lnTo>
                      <a:pt x="12" y="57"/>
                    </a:lnTo>
                    <a:lnTo>
                      <a:pt x="8" y="68"/>
                    </a:lnTo>
                    <a:lnTo>
                      <a:pt x="5" y="79"/>
                    </a:lnTo>
                    <a:lnTo>
                      <a:pt x="2" y="92"/>
                    </a:lnTo>
                    <a:lnTo>
                      <a:pt x="1" y="105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1" y="134"/>
                    </a:lnTo>
                    <a:lnTo>
                      <a:pt x="2" y="147"/>
                    </a:lnTo>
                    <a:lnTo>
                      <a:pt x="5" y="161"/>
                    </a:lnTo>
                    <a:lnTo>
                      <a:pt x="9" y="173"/>
                    </a:lnTo>
                    <a:lnTo>
                      <a:pt x="14" y="184"/>
                    </a:lnTo>
                    <a:lnTo>
                      <a:pt x="19" y="193"/>
                    </a:lnTo>
                    <a:lnTo>
                      <a:pt x="24" y="202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7" y="215"/>
                    </a:lnTo>
                    <a:lnTo>
                      <a:pt x="44" y="221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8" y="237"/>
                    </a:lnTo>
                    <a:lnTo>
                      <a:pt x="88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9"/>
                    </a:lnTo>
                    <a:lnTo>
                      <a:pt x="125" y="237"/>
                    </a:lnTo>
                    <a:lnTo>
                      <a:pt x="135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4" y="227"/>
                    </a:lnTo>
                    <a:lnTo>
                      <a:pt x="162" y="222"/>
                    </a:lnTo>
                    <a:lnTo>
                      <a:pt x="170" y="217"/>
                    </a:lnTo>
                    <a:lnTo>
                      <a:pt x="178" y="209"/>
                    </a:lnTo>
                    <a:lnTo>
                      <a:pt x="152" y="180"/>
                    </a:lnTo>
                    <a:lnTo>
                      <a:pt x="152" y="180"/>
                    </a:lnTo>
                    <a:lnTo>
                      <a:pt x="139" y="188"/>
                    </a:lnTo>
                    <a:lnTo>
                      <a:pt x="129" y="194"/>
                    </a:lnTo>
                    <a:lnTo>
                      <a:pt x="129" y="194"/>
                    </a:lnTo>
                    <a:lnTo>
                      <a:pt x="122" y="196"/>
                    </a:lnTo>
                    <a:lnTo>
                      <a:pt x="116" y="197"/>
                    </a:lnTo>
                    <a:lnTo>
                      <a:pt x="109" y="198"/>
                    </a:lnTo>
                    <a:lnTo>
                      <a:pt x="102" y="199"/>
                    </a:lnTo>
                    <a:lnTo>
                      <a:pt x="102" y="199"/>
                    </a:lnTo>
                    <a:lnTo>
                      <a:pt x="92" y="198"/>
                    </a:lnTo>
                    <a:lnTo>
                      <a:pt x="82" y="195"/>
                    </a:lnTo>
                    <a:lnTo>
                      <a:pt x="73" y="191"/>
                    </a:lnTo>
                    <a:lnTo>
                      <a:pt x="65" y="184"/>
                    </a:lnTo>
                    <a:lnTo>
                      <a:pt x="58" y="175"/>
                    </a:lnTo>
                    <a:lnTo>
                      <a:pt x="52" y="164"/>
                    </a:lnTo>
                    <a:lnTo>
                      <a:pt x="47" y="151"/>
                    </a:lnTo>
                    <a:lnTo>
                      <a:pt x="44" y="135"/>
                    </a:lnTo>
                    <a:lnTo>
                      <a:pt x="196" y="135"/>
                    </a:lnTo>
                    <a:lnTo>
                      <a:pt x="196" y="135"/>
                    </a:lnTo>
                    <a:lnTo>
                      <a:pt x="196" y="126"/>
                    </a:lnTo>
                    <a:lnTo>
                      <a:pt x="197" y="114"/>
                    </a:lnTo>
                    <a:lnTo>
                      <a:pt x="197" y="114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1" y="73"/>
                    </a:lnTo>
                    <a:lnTo>
                      <a:pt x="55" y="64"/>
                    </a:lnTo>
                    <a:lnTo>
                      <a:pt x="61" y="55"/>
                    </a:lnTo>
                    <a:lnTo>
                      <a:pt x="68" y="49"/>
                    </a:lnTo>
                    <a:lnTo>
                      <a:pt x="77" y="44"/>
                    </a:lnTo>
                    <a:lnTo>
                      <a:pt x="87" y="41"/>
                    </a:lnTo>
                    <a:lnTo>
                      <a:pt x="98" y="40"/>
                    </a:lnTo>
                    <a:lnTo>
                      <a:pt x="98" y="40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21" y="45"/>
                    </a:lnTo>
                    <a:lnTo>
                      <a:pt x="126" y="47"/>
                    </a:lnTo>
                    <a:lnTo>
                      <a:pt x="130" y="50"/>
                    </a:lnTo>
                    <a:lnTo>
                      <a:pt x="138" y="57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6"/>
                    </a:lnTo>
                    <a:lnTo>
                      <a:pt x="152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2" name="Freeform 81"/>
              <p:cNvSpPr>
                <a:spLocks/>
              </p:cNvSpPr>
              <p:nvPr userDrawn="1"/>
            </p:nvSpPr>
            <p:spPr bwMode="auto">
              <a:xfrm>
                <a:off x="4244975" y="6363507"/>
                <a:ext cx="88900" cy="92075"/>
              </a:xfrm>
              <a:custGeom>
                <a:avLst/>
                <a:gdLst>
                  <a:gd name="T0" fmla="*/ 226 w 226"/>
                  <a:gd name="T1" fmla="*/ 230 h 233"/>
                  <a:gd name="T2" fmla="*/ 226 w 226"/>
                  <a:gd name="T3" fmla="*/ 0 h 233"/>
                  <a:gd name="T4" fmla="*/ 177 w 226"/>
                  <a:gd name="T5" fmla="*/ 0 h 233"/>
                  <a:gd name="T6" fmla="*/ 128 w 226"/>
                  <a:gd name="T7" fmla="*/ 111 h 233"/>
                  <a:gd name="T8" fmla="*/ 128 w 226"/>
                  <a:gd name="T9" fmla="*/ 111 h 233"/>
                  <a:gd name="T10" fmla="*/ 113 w 226"/>
                  <a:gd name="T11" fmla="*/ 151 h 233"/>
                  <a:gd name="T12" fmla="*/ 113 w 226"/>
                  <a:gd name="T13" fmla="*/ 151 h 233"/>
                  <a:gd name="T14" fmla="*/ 107 w 226"/>
                  <a:gd name="T15" fmla="*/ 132 h 233"/>
                  <a:gd name="T16" fmla="*/ 98 w 226"/>
                  <a:gd name="T17" fmla="*/ 111 h 233"/>
                  <a:gd name="T18" fmla="*/ 49 w 226"/>
                  <a:gd name="T19" fmla="*/ 0 h 233"/>
                  <a:gd name="T20" fmla="*/ 0 w 226"/>
                  <a:gd name="T21" fmla="*/ 0 h 233"/>
                  <a:gd name="T22" fmla="*/ 0 w 226"/>
                  <a:gd name="T23" fmla="*/ 230 h 233"/>
                  <a:gd name="T24" fmla="*/ 43 w 226"/>
                  <a:gd name="T25" fmla="*/ 230 h 233"/>
                  <a:gd name="T26" fmla="*/ 43 w 226"/>
                  <a:gd name="T27" fmla="*/ 110 h 233"/>
                  <a:gd name="T28" fmla="*/ 43 w 226"/>
                  <a:gd name="T29" fmla="*/ 110 h 233"/>
                  <a:gd name="T30" fmla="*/ 42 w 226"/>
                  <a:gd name="T31" fmla="*/ 69 h 233"/>
                  <a:gd name="T32" fmla="*/ 42 w 226"/>
                  <a:gd name="T33" fmla="*/ 69 h 233"/>
                  <a:gd name="T34" fmla="*/ 48 w 226"/>
                  <a:gd name="T35" fmla="*/ 85 h 233"/>
                  <a:gd name="T36" fmla="*/ 57 w 226"/>
                  <a:gd name="T37" fmla="*/ 106 h 233"/>
                  <a:gd name="T38" fmla="*/ 112 w 226"/>
                  <a:gd name="T39" fmla="*/ 233 h 233"/>
                  <a:gd name="T40" fmla="*/ 167 w 226"/>
                  <a:gd name="T41" fmla="*/ 106 h 233"/>
                  <a:gd name="T42" fmla="*/ 167 w 226"/>
                  <a:gd name="T43" fmla="*/ 106 h 233"/>
                  <a:gd name="T44" fmla="*/ 176 w 226"/>
                  <a:gd name="T45" fmla="*/ 85 h 233"/>
                  <a:gd name="T46" fmla="*/ 182 w 226"/>
                  <a:gd name="T47" fmla="*/ 69 h 233"/>
                  <a:gd name="T48" fmla="*/ 182 w 226"/>
                  <a:gd name="T49" fmla="*/ 69 h 233"/>
                  <a:gd name="T50" fmla="*/ 181 w 226"/>
                  <a:gd name="T51" fmla="*/ 110 h 233"/>
                  <a:gd name="T52" fmla="*/ 181 w 226"/>
                  <a:gd name="T53" fmla="*/ 230 h 233"/>
                  <a:gd name="T54" fmla="*/ 226 w 226"/>
                  <a:gd name="T55" fmla="*/ 23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26" h="233">
                    <a:moveTo>
                      <a:pt x="226" y="230"/>
                    </a:moveTo>
                    <a:lnTo>
                      <a:pt x="226" y="0"/>
                    </a:lnTo>
                    <a:lnTo>
                      <a:pt x="177" y="0"/>
                    </a:lnTo>
                    <a:lnTo>
                      <a:pt x="128" y="111"/>
                    </a:lnTo>
                    <a:lnTo>
                      <a:pt x="128" y="111"/>
                    </a:lnTo>
                    <a:lnTo>
                      <a:pt x="113" y="151"/>
                    </a:lnTo>
                    <a:lnTo>
                      <a:pt x="113" y="151"/>
                    </a:lnTo>
                    <a:lnTo>
                      <a:pt x="107" y="132"/>
                    </a:lnTo>
                    <a:lnTo>
                      <a:pt x="98" y="111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3" y="230"/>
                    </a:lnTo>
                    <a:lnTo>
                      <a:pt x="43" y="110"/>
                    </a:lnTo>
                    <a:lnTo>
                      <a:pt x="43" y="110"/>
                    </a:lnTo>
                    <a:lnTo>
                      <a:pt x="42" y="69"/>
                    </a:lnTo>
                    <a:lnTo>
                      <a:pt x="42" y="69"/>
                    </a:lnTo>
                    <a:lnTo>
                      <a:pt x="48" y="85"/>
                    </a:lnTo>
                    <a:lnTo>
                      <a:pt x="57" y="106"/>
                    </a:lnTo>
                    <a:lnTo>
                      <a:pt x="112" y="233"/>
                    </a:lnTo>
                    <a:lnTo>
                      <a:pt x="167" y="106"/>
                    </a:lnTo>
                    <a:lnTo>
                      <a:pt x="167" y="106"/>
                    </a:lnTo>
                    <a:lnTo>
                      <a:pt x="176" y="85"/>
                    </a:lnTo>
                    <a:lnTo>
                      <a:pt x="182" y="69"/>
                    </a:lnTo>
                    <a:lnTo>
                      <a:pt x="182" y="69"/>
                    </a:lnTo>
                    <a:lnTo>
                      <a:pt x="181" y="110"/>
                    </a:lnTo>
                    <a:lnTo>
                      <a:pt x="181" y="230"/>
                    </a:lnTo>
                    <a:lnTo>
                      <a:pt x="226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3" name="Freeform 82"/>
              <p:cNvSpPr>
                <a:spLocks/>
              </p:cNvSpPr>
              <p:nvPr userDrawn="1"/>
            </p:nvSpPr>
            <p:spPr bwMode="auto">
              <a:xfrm>
                <a:off x="4400550" y="6363507"/>
                <a:ext cx="88900" cy="92075"/>
              </a:xfrm>
              <a:custGeom>
                <a:avLst/>
                <a:gdLst>
                  <a:gd name="T0" fmla="*/ 227 w 227"/>
                  <a:gd name="T1" fmla="*/ 230 h 233"/>
                  <a:gd name="T2" fmla="*/ 227 w 227"/>
                  <a:gd name="T3" fmla="*/ 0 h 233"/>
                  <a:gd name="T4" fmla="*/ 178 w 227"/>
                  <a:gd name="T5" fmla="*/ 0 h 233"/>
                  <a:gd name="T6" fmla="*/ 128 w 227"/>
                  <a:gd name="T7" fmla="*/ 111 h 233"/>
                  <a:gd name="T8" fmla="*/ 128 w 227"/>
                  <a:gd name="T9" fmla="*/ 111 h 233"/>
                  <a:gd name="T10" fmla="*/ 113 w 227"/>
                  <a:gd name="T11" fmla="*/ 151 h 233"/>
                  <a:gd name="T12" fmla="*/ 113 w 227"/>
                  <a:gd name="T13" fmla="*/ 151 h 233"/>
                  <a:gd name="T14" fmla="*/ 106 w 227"/>
                  <a:gd name="T15" fmla="*/ 132 h 233"/>
                  <a:gd name="T16" fmla="*/ 98 w 227"/>
                  <a:gd name="T17" fmla="*/ 111 h 233"/>
                  <a:gd name="T18" fmla="*/ 49 w 227"/>
                  <a:gd name="T19" fmla="*/ 0 h 233"/>
                  <a:gd name="T20" fmla="*/ 0 w 227"/>
                  <a:gd name="T21" fmla="*/ 0 h 233"/>
                  <a:gd name="T22" fmla="*/ 0 w 227"/>
                  <a:gd name="T23" fmla="*/ 230 h 233"/>
                  <a:gd name="T24" fmla="*/ 43 w 227"/>
                  <a:gd name="T25" fmla="*/ 230 h 233"/>
                  <a:gd name="T26" fmla="*/ 43 w 227"/>
                  <a:gd name="T27" fmla="*/ 110 h 233"/>
                  <a:gd name="T28" fmla="*/ 43 w 227"/>
                  <a:gd name="T29" fmla="*/ 110 h 233"/>
                  <a:gd name="T30" fmla="*/ 42 w 227"/>
                  <a:gd name="T31" fmla="*/ 69 h 233"/>
                  <a:gd name="T32" fmla="*/ 42 w 227"/>
                  <a:gd name="T33" fmla="*/ 69 h 233"/>
                  <a:gd name="T34" fmla="*/ 48 w 227"/>
                  <a:gd name="T35" fmla="*/ 85 h 233"/>
                  <a:gd name="T36" fmla="*/ 57 w 227"/>
                  <a:gd name="T37" fmla="*/ 106 h 233"/>
                  <a:gd name="T38" fmla="*/ 112 w 227"/>
                  <a:gd name="T39" fmla="*/ 233 h 233"/>
                  <a:gd name="T40" fmla="*/ 167 w 227"/>
                  <a:gd name="T41" fmla="*/ 106 h 233"/>
                  <a:gd name="T42" fmla="*/ 167 w 227"/>
                  <a:gd name="T43" fmla="*/ 106 h 233"/>
                  <a:gd name="T44" fmla="*/ 177 w 227"/>
                  <a:gd name="T45" fmla="*/ 85 h 233"/>
                  <a:gd name="T46" fmla="*/ 183 w 227"/>
                  <a:gd name="T47" fmla="*/ 69 h 233"/>
                  <a:gd name="T48" fmla="*/ 183 w 227"/>
                  <a:gd name="T49" fmla="*/ 69 h 233"/>
                  <a:gd name="T50" fmla="*/ 182 w 227"/>
                  <a:gd name="T51" fmla="*/ 110 h 233"/>
                  <a:gd name="T52" fmla="*/ 182 w 227"/>
                  <a:gd name="T53" fmla="*/ 230 h 233"/>
                  <a:gd name="T54" fmla="*/ 227 w 227"/>
                  <a:gd name="T55" fmla="*/ 23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27" h="233">
                    <a:moveTo>
                      <a:pt x="227" y="230"/>
                    </a:moveTo>
                    <a:lnTo>
                      <a:pt x="227" y="0"/>
                    </a:lnTo>
                    <a:lnTo>
                      <a:pt x="178" y="0"/>
                    </a:lnTo>
                    <a:lnTo>
                      <a:pt x="128" y="111"/>
                    </a:lnTo>
                    <a:lnTo>
                      <a:pt x="128" y="111"/>
                    </a:lnTo>
                    <a:lnTo>
                      <a:pt x="113" y="151"/>
                    </a:lnTo>
                    <a:lnTo>
                      <a:pt x="113" y="151"/>
                    </a:lnTo>
                    <a:lnTo>
                      <a:pt x="106" y="132"/>
                    </a:lnTo>
                    <a:lnTo>
                      <a:pt x="98" y="111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3" y="230"/>
                    </a:lnTo>
                    <a:lnTo>
                      <a:pt x="43" y="110"/>
                    </a:lnTo>
                    <a:lnTo>
                      <a:pt x="43" y="110"/>
                    </a:lnTo>
                    <a:lnTo>
                      <a:pt x="42" y="69"/>
                    </a:lnTo>
                    <a:lnTo>
                      <a:pt x="42" y="69"/>
                    </a:lnTo>
                    <a:lnTo>
                      <a:pt x="48" y="85"/>
                    </a:lnTo>
                    <a:lnTo>
                      <a:pt x="57" y="106"/>
                    </a:lnTo>
                    <a:lnTo>
                      <a:pt x="112" y="233"/>
                    </a:lnTo>
                    <a:lnTo>
                      <a:pt x="167" y="106"/>
                    </a:lnTo>
                    <a:lnTo>
                      <a:pt x="167" y="106"/>
                    </a:lnTo>
                    <a:lnTo>
                      <a:pt x="177" y="85"/>
                    </a:lnTo>
                    <a:lnTo>
                      <a:pt x="183" y="69"/>
                    </a:lnTo>
                    <a:lnTo>
                      <a:pt x="183" y="69"/>
                    </a:lnTo>
                    <a:lnTo>
                      <a:pt x="182" y="110"/>
                    </a:lnTo>
                    <a:lnTo>
                      <a:pt x="182" y="230"/>
                    </a:lnTo>
                    <a:lnTo>
                      <a:pt x="227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4" name="Freeform 83"/>
              <p:cNvSpPr>
                <a:spLocks/>
              </p:cNvSpPr>
              <p:nvPr userDrawn="1"/>
            </p:nvSpPr>
            <p:spPr bwMode="auto">
              <a:xfrm>
                <a:off x="4513262" y="6363507"/>
                <a:ext cx="74613" cy="90488"/>
              </a:xfrm>
              <a:custGeom>
                <a:avLst/>
                <a:gdLst>
                  <a:gd name="T0" fmla="*/ 0 w 186"/>
                  <a:gd name="T1" fmla="*/ 0 h 230"/>
                  <a:gd name="T2" fmla="*/ 0 w 186"/>
                  <a:gd name="T3" fmla="*/ 230 h 230"/>
                  <a:gd name="T4" fmla="*/ 45 w 186"/>
                  <a:gd name="T5" fmla="*/ 230 h 230"/>
                  <a:gd name="T6" fmla="*/ 124 w 186"/>
                  <a:gd name="T7" fmla="*/ 101 h 230"/>
                  <a:gd name="T8" fmla="*/ 124 w 186"/>
                  <a:gd name="T9" fmla="*/ 101 h 230"/>
                  <a:gd name="T10" fmla="*/ 142 w 186"/>
                  <a:gd name="T11" fmla="*/ 72 h 230"/>
                  <a:gd name="T12" fmla="*/ 142 w 186"/>
                  <a:gd name="T13" fmla="*/ 72 h 230"/>
                  <a:gd name="T14" fmla="*/ 141 w 186"/>
                  <a:gd name="T15" fmla="*/ 120 h 230"/>
                  <a:gd name="T16" fmla="*/ 141 w 186"/>
                  <a:gd name="T17" fmla="*/ 230 h 230"/>
                  <a:gd name="T18" fmla="*/ 186 w 186"/>
                  <a:gd name="T19" fmla="*/ 230 h 230"/>
                  <a:gd name="T20" fmla="*/ 186 w 186"/>
                  <a:gd name="T21" fmla="*/ 0 h 230"/>
                  <a:gd name="T22" fmla="*/ 141 w 186"/>
                  <a:gd name="T23" fmla="*/ 0 h 230"/>
                  <a:gd name="T24" fmla="*/ 62 w 186"/>
                  <a:gd name="T25" fmla="*/ 127 h 230"/>
                  <a:gd name="T26" fmla="*/ 62 w 186"/>
                  <a:gd name="T27" fmla="*/ 127 h 230"/>
                  <a:gd name="T28" fmla="*/ 52 w 186"/>
                  <a:gd name="T29" fmla="*/ 143 h 230"/>
                  <a:gd name="T30" fmla="*/ 44 w 186"/>
                  <a:gd name="T31" fmla="*/ 158 h 230"/>
                  <a:gd name="T32" fmla="*/ 44 w 186"/>
                  <a:gd name="T33" fmla="*/ 158 h 230"/>
                  <a:gd name="T34" fmla="*/ 45 w 186"/>
                  <a:gd name="T35" fmla="*/ 108 h 230"/>
                  <a:gd name="T36" fmla="*/ 45 w 186"/>
                  <a:gd name="T37" fmla="*/ 0 h 230"/>
                  <a:gd name="T38" fmla="*/ 0 w 186"/>
                  <a:gd name="T3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6" h="230">
                    <a:moveTo>
                      <a:pt x="0" y="0"/>
                    </a:moveTo>
                    <a:lnTo>
                      <a:pt x="0" y="230"/>
                    </a:lnTo>
                    <a:lnTo>
                      <a:pt x="45" y="230"/>
                    </a:lnTo>
                    <a:lnTo>
                      <a:pt x="124" y="101"/>
                    </a:lnTo>
                    <a:lnTo>
                      <a:pt x="124" y="101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41" y="120"/>
                    </a:lnTo>
                    <a:lnTo>
                      <a:pt x="141" y="230"/>
                    </a:lnTo>
                    <a:lnTo>
                      <a:pt x="186" y="230"/>
                    </a:lnTo>
                    <a:lnTo>
                      <a:pt x="186" y="0"/>
                    </a:lnTo>
                    <a:lnTo>
                      <a:pt x="141" y="0"/>
                    </a:lnTo>
                    <a:lnTo>
                      <a:pt x="62" y="127"/>
                    </a:lnTo>
                    <a:lnTo>
                      <a:pt x="62" y="127"/>
                    </a:lnTo>
                    <a:lnTo>
                      <a:pt x="52" y="143"/>
                    </a:lnTo>
                    <a:lnTo>
                      <a:pt x="44" y="158"/>
                    </a:lnTo>
                    <a:lnTo>
                      <a:pt x="44" y="158"/>
                    </a:lnTo>
                    <a:lnTo>
                      <a:pt x="45" y="108"/>
                    </a:lnTo>
                    <a:lnTo>
                      <a:pt x="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5" name="Freeform 84"/>
              <p:cNvSpPr>
                <a:spLocks noEditPoints="1"/>
              </p:cNvSpPr>
              <p:nvPr userDrawn="1"/>
            </p:nvSpPr>
            <p:spPr bwMode="auto">
              <a:xfrm>
                <a:off x="4610100" y="6360332"/>
                <a:ext cx="76200" cy="127000"/>
              </a:xfrm>
              <a:custGeom>
                <a:avLst/>
                <a:gdLst>
                  <a:gd name="T0" fmla="*/ 194 w 194"/>
                  <a:gd name="T1" fmla="*/ 123 h 319"/>
                  <a:gd name="T2" fmla="*/ 192 w 194"/>
                  <a:gd name="T3" fmla="*/ 92 h 319"/>
                  <a:gd name="T4" fmla="*/ 187 w 194"/>
                  <a:gd name="T5" fmla="*/ 67 h 319"/>
                  <a:gd name="T6" fmla="*/ 179 w 194"/>
                  <a:gd name="T7" fmla="*/ 45 h 319"/>
                  <a:gd name="T8" fmla="*/ 168 w 194"/>
                  <a:gd name="T9" fmla="*/ 28 h 319"/>
                  <a:gd name="T10" fmla="*/ 155 w 194"/>
                  <a:gd name="T11" fmla="*/ 16 h 319"/>
                  <a:gd name="T12" fmla="*/ 140 w 194"/>
                  <a:gd name="T13" fmla="*/ 7 h 319"/>
                  <a:gd name="T14" fmla="*/ 123 w 194"/>
                  <a:gd name="T15" fmla="*/ 2 h 319"/>
                  <a:gd name="T16" fmla="*/ 105 w 194"/>
                  <a:gd name="T17" fmla="*/ 0 h 319"/>
                  <a:gd name="T18" fmla="*/ 96 w 194"/>
                  <a:gd name="T19" fmla="*/ 0 h 319"/>
                  <a:gd name="T20" fmla="*/ 79 w 194"/>
                  <a:gd name="T21" fmla="*/ 4 h 319"/>
                  <a:gd name="T22" fmla="*/ 65 w 194"/>
                  <a:gd name="T23" fmla="*/ 11 h 319"/>
                  <a:gd name="T24" fmla="*/ 45 w 194"/>
                  <a:gd name="T25" fmla="*/ 26 h 319"/>
                  <a:gd name="T26" fmla="*/ 0 w 194"/>
                  <a:gd name="T27" fmla="*/ 5 h 319"/>
                  <a:gd name="T28" fmla="*/ 45 w 194"/>
                  <a:gd name="T29" fmla="*/ 296 h 319"/>
                  <a:gd name="T30" fmla="*/ 45 w 194"/>
                  <a:gd name="T31" fmla="*/ 213 h 319"/>
                  <a:gd name="T32" fmla="*/ 58 w 194"/>
                  <a:gd name="T33" fmla="*/ 225 h 319"/>
                  <a:gd name="T34" fmla="*/ 72 w 194"/>
                  <a:gd name="T35" fmla="*/ 233 h 319"/>
                  <a:gd name="T36" fmla="*/ 87 w 194"/>
                  <a:gd name="T37" fmla="*/ 238 h 319"/>
                  <a:gd name="T38" fmla="*/ 102 w 194"/>
                  <a:gd name="T39" fmla="*/ 239 h 319"/>
                  <a:gd name="T40" fmla="*/ 111 w 194"/>
                  <a:gd name="T41" fmla="*/ 239 h 319"/>
                  <a:gd name="T42" fmla="*/ 129 w 194"/>
                  <a:gd name="T43" fmla="*/ 235 h 319"/>
                  <a:gd name="T44" fmla="*/ 145 w 194"/>
                  <a:gd name="T45" fmla="*/ 228 h 319"/>
                  <a:gd name="T46" fmla="*/ 160 w 194"/>
                  <a:gd name="T47" fmla="*/ 218 h 319"/>
                  <a:gd name="T48" fmla="*/ 172 w 194"/>
                  <a:gd name="T49" fmla="*/ 203 h 319"/>
                  <a:gd name="T50" fmla="*/ 182 w 194"/>
                  <a:gd name="T51" fmla="*/ 185 h 319"/>
                  <a:gd name="T52" fmla="*/ 189 w 194"/>
                  <a:gd name="T53" fmla="*/ 164 h 319"/>
                  <a:gd name="T54" fmla="*/ 193 w 194"/>
                  <a:gd name="T55" fmla="*/ 137 h 319"/>
                  <a:gd name="T56" fmla="*/ 194 w 194"/>
                  <a:gd name="T57" fmla="*/ 123 h 319"/>
                  <a:gd name="T58" fmla="*/ 149 w 194"/>
                  <a:gd name="T59" fmla="*/ 124 h 319"/>
                  <a:gd name="T60" fmla="*/ 146 w 194"/>
                  <a:gd name="T61" fmla="*/ 157 h 319"/>
                  <a:gd name="T62" fmla="*/ 139 w 194"/>
                  <a:gd name="T63" fmla="*/ 175 h 319"/>
                  <a:gd name="T64" fmla="*/ 133 w 194"/>
                  <a:gd name="T65" fmla="*/ 184 h 319"/>
                  <a:gd name="T66" fmla="*/ 125 w 194"/>
                  <a:gd name="T67" fmla="*/ 191 h 319"/>
                  <a:gd name="T68" fmla="*/ 116 w 194"/>
                  <a:gd name="T69" fmla="*/ 195 h 319"/>
                  <a:gd name="T70" fmla="*/ 104 w 194"/>
                  <a:gd name="T71" fmla="*/ 198 h 319"/>
                  <a:gd name="T72" fmla="*/ 98 w 194"/>
                  <a:gd name="T73" fmla="*/ 198 h 319"/>
                  <a:gd name="T74" fmla="*/ 81 w 194"/>
                  <a:gd name="T75" fmla="*/ 195 h 319"/>
                  <a:gd name="T76" fmla="*/ 66 w 194"/>
                  <a:gd name="T77" fmla="*/ 188 h 319"/>
                  <a:gd name="T78" fmla="*/ 54 w 194"/>
                  <a:gd name="T79" fmla="*/ 178 h 319"/>
                  <a:gd name="T80" fmla="*/ 44 w 194"/>
                  <a:gd name="T81" fmla="*/ 168 h 319"/>
                  <a:gd name="T82" fmla="*/ 44 w 194"/>
                  <a:gd name="T83" fmla="*/ 70 h 319"/>
                  <a:gd name="T84" fmla="*/ 56 w 194"/>
                  <a:gd name="T85" fmla="*/ 58 h 319"/>
                  <a:gd name="T86" fmla="*/ 69 w 194"/>
                  <a:gd name="T87" fmla="*/ 49 h 319"/>
                  <a:gd name="T88" fmla="*/ 82 w 194"/>
                  <a:gd name="T89" fmla="*/ 43 h 319"/>
                  <a:gd name="T90" fmla="*/ 96 w 194"/>
                  <a:gd name="T91" fmla="*/ 41 h 319"/>
                  <a:gd name="T92" fmla="*/ 102 w 194"/>
                  <a:gd name="T93" fmla="*/ 42 h 319"/>
                  <a:gd name="T94" fmla="*/ 113 w 194"/>
                  <a:gd name="T95" fmla="*/ 44 h 319"/>
                  <a:gd name="T96" fmla="*/ 124 w 194"/>
                  <a:gd name="T97" fmla="*/ 49 h 319"/>
                  <a:gd name="T98" fmla="*/ 132 w 194"/>
                  <a:gd name="T99" fmla="*/ 56 h 319"/>
                  <a:gd name="T100" fmla="*/ 138 w 194"/>
                  <a:gd name="T101" fmla="*/ 67 h 319"/>
                  <a:gd name="T102" fmla="*/ 145 w 194"/>
                  <a:gd name="T103" fmla="*/ 87 h 319"/>
                  <a:gd name="T104" fmla="*/ 149 w 194"/>
                  <a:gd name="T105" fmla="*/ 124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4" h="319">
                    <a:moveTo>
                      <a:pt x="194" y="123"/>
                    </a:moveTo>
                    <a:lnTo>
                      <a:pt x="194" y="123"/>
                    </a:lnTo>
                    <a:lnTo>
                      <a:pt x="193" y="107"/>
                    </a:lnTo>
                    <a:lnTo>
                      <a:pt x="192" y="92"/>
                    </a:lnTo>
                    <a:lnTo>
                      <a:pt x="190" y="79"/>
                    </a:lnTo>
                    <a:lnTo>
                      <a:pt x="187" y="67"/>
                    </a:lnTo>
                    <a:lnTo>
                      <a:pt x="183" y="55"/>
                    </a:lnTo>
                    <a:lnTo>
                      <a:pt x="179" y="45"/>
                    </a:lnTo>
                    <a:lnTo>
                      <a:pt x="174" y="36"/>
                    </a:lnTo>
                    <a:lnTo>
                      <a:pt x="168" y="28"/>
                    </a:lnTo>
                    <a:lnTo>
                      <a:pt x="162" y="22"/>
                    </a:lnTo>
                    <a:lnTo>
                      <a:pt x="155" y="16"/>
                    </a:lnTo>
                    <a:lnTo>
                      <a:pt x="148" y="11"/>
                    </a:lnTo>
                    <a:lnTo>
                      <a:pt x="140" y="7"/>
                    </a:lnTo>
                    <a:lnTo>
                      <a:pt x="132" y="4"/>
                    </a:lnTo>
                    <a:lnTo>
                      <a:pt x="123" y="2"/>
                    </a:lnTo>
                    <a:lnTo>
                      <a:pt x="114" y="0"/>
                    </a:lnTo>
                    <a:lnTo>
                      <a:pt x="105" y="0"/>
                    </a:lnTo>
                    <a:lnTo>
                      <a:pt x="105" y="0"/>
                    </a:lnTo>
                    <a:lnTo>
                      <a:pt x="96" y="0"/>
                    </a:lnTo>
                    <a:lnTo>
                      <a:pt x="87" y="2"/>
                    </a:lnTo>
                    <a:lnTo>
                      <a:pt x="79" y="4"/>
                    </a:lnTo>
                    <a:lnTo>
                      <a:pt x="72" y="7"/>
                    </a:lnTo>
                    <a:lnTo>
                      <a:pt x="65" y="11"/>
                    </a:lnTo>
                    <a:lnTo>
                      <a:pt x="58" y="16"/>
                    </a:lnTo>
                    <a:lnTo>
                      <a:pt x="45" y="26"/>
                    </a:lnTo>
                    <a:lnTo>
                      <a:pt x="45" y="5"/>
                    </a:lnTo>
                    <a:lnTo>
                      <a:pt x="0" y="5"/>
                    </a:lnTo>
                    <a:lnTo>
                      <a:pt x="0" y="319"/>
                    </a:lnTo>
                    <a:lnTo>
                      <a:pt x="45" y="296"/>
                    </a:lnTo>
                    <a:lnTo>
                      <a:pt x="45" y="213"/>
                    </a:lnTo>
                    <a:lnTo>
                      <a:pt x="45" y="213"/>
                    </a:lnTo>
                    <a:lnTo>
                      <a:pt x="51" y="219"/>
                    </a:lnTo>
                    <a:lnTo>
                      <a:pt x="58" y="225"/>
                    </a:lnTo>
                    <a:lnTo>
                      <a:pt x="65" y="229"/>
                    </a:lnTo>
                    <a:lnTo>
                      <a:pt x="72" y="233"/>
                    </a:lnTo>
                    <a:lnTo>
                      <a:pt x="80" y="236"/>
                    </a:lnTo>
                    <a:lnTo>
                      <a:pt x="87" y="238"/>
                    </a:lnTo>
                    <a:lnTo>
                      <a:pt x="95" y="239"/>
                    </a:lnTo>
                    <a:lnTo>
                      <a:pt x="102" y="239"/>
                    </a:lnTo>
                    <a:lnTo>
                      <a:pt x="102" y="239"/>
                    </a:lnTo>
                    <a:lnTo>
                      <a:pt x="111" y="239"/>
                    </a:lnTo>
                    <a:lnTo>
                      <a:pt x="121" y="238"/>
                    </a:lnTo>
                    <a:lnTo>
                      <a:pt x="129" y="235"/>
                    </a:lnTo>
                    <a:lnTo>
                      <a:pt x="138" y="232"/>
                    </a:lnTo>
                    <a:lnTo>
                      <a:pt x="145" y="228"/>
                    </a:lnTo>
                    <a:lnTo>
                      <a:pt x="153" y="223"/>
                    </a:lnTo>
                    <a:lnTo>
                      <a:pt x="160" y="218"/>
                    </a:lnTo>
                    <a:lnTo>
                      <a:pt x="166" y="211"/>
                    </a:lnTo>
                    <a:lnTo>
                      <a:pt x="172" y="203"/>
                    </a:lnTo>
                    <a:lnTo>
                      <a:pt x="178" y="195"/>
                    </a:lnTo>
                    <a:lnTo>
                      <a:pt x="182" y="185"/>
                    </a:lnTo>
                    <a:lnTo>
                      <a:pt x="186" y="175"/>
                    </a:lnTo>
                    <a:lnTo>
                      <a:pt x="189" y="164"/>
                    </a:lnTo>
                    <a:lnTo>
                      <a:pt x="192" y="151"/>
                    </a:lnTo>
                    <a:lnTo>
                      <a:pt x="193" y="137"/>
                    </a:lnTo>
                    <a:lnTo>
                      <a:pt x="194" y="123"/>
                    </a:lnTo>
                    <a:lnTo>
                      <a:pt x="194" y="123"/>
                    </a:lnTo>
                    <a:close/>
                    <a:moveTo>
                      <a:pt x="149" y="124"/>
                    </a:moveTo>
                    <a:lnTo>
                      <a:pt x="149" y="124"/>
                    </a:lnTo>
                    <a:lnTo>
                      <a:pt x="148" y="141"/>
                    </a:lnTo>
                    <a:lnTo>
                      <a:pt x="146" y="157"/>
                    </a:lnTo>
                    <a:lnTo>
                      <a:pt x="142" y="169"/>
                    </a:lnTo>
                    <a:lnTo>
                      <a:pt x="139" y="175"/>
                    </a:lnTo>
                    <a:lnTo>
                      <a:pt x="136" y="180"/>
                    </a:lnTo>
                    <a:lnTo>
                      <a:pt x="133" y="184"/>
                    </a:lnTo>
                    <a:lnTo>
                      <a:pt x="129" y="188"/>
                    </a:lnTo>
                    <a:lnTo>
                      <a:pt x="125" y="191"/>
                    </a:lnTo>
                    <a:lnTo>
                      <a:pt x="121" y="193"/>
                    </a:lnTo>
                    <a:lnTo>
                      <a:pt x="116" y="195"/>
                    </a:lnTo>
                    <a:lnTo>
                      <a:pt x="110" y="197"/>
                    </a:lnTo>
                    <a:lnTo>
                      <a:pt x="104" y="198"/>
                    </a:lnTo>
                    <a:lnTo>
                      <a:pt x="98" y="198"/>
                    </a:lnTo>
                    <a:lnTo>
                      <a:pt x="98" y="198"/>
                    </a:lnTo>
                    <a:lnTo>
                      <a:pt x="90" y="197"/>
                    </a:lnTo>
                    <a:lnTo>
                      <a:pt x="81" y="195"/>
                    </a:lnTo>
                    <a:lnTo>
                      <a:pt x="74" y="192"/>
                    </a:lnTo>
                    <a:lnTo>
                      <a:pt x="66" y="188"/>
                    </a:lnTo>
                    <a:lnTo>
                      <a:pt x="60" y="183"/>
                    </a:lnTo>
                    <a:lnTo>
                      <a:pt x="54" y="178"/>
                    </a:lnTo>
                    <a:lnTo>
                      <a:pt x="49" y="173"/>
                    </a:lnTo>
                    <a:lnTo>
                      <a:pt x="44" y="168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0" y="64"/>
                    </a:lnTo>
                    <a:lnTo>
                      <a:pt x="56" y="58"/>
                    </a:lnTo>
                    <a:lnTo>
                      <a:pt x="62" y="53"/>
                    </a:lnTo>
                    <a:lnTo>
                      <a:pt x="69" y="49"/>
                    </a:lnTo>
                    <a:lnTo>
                      <a:pt x="75" y="46"/>
                    </a:lnTo>
                    <a:lnTo>
                      <a:pt x="82" y="43"/>
                    </a:lnTo>
                    <a:lnTo>
                      <a:pt x="89" y="42"/>
                    </a:lnTo>
                    <a:lnTo>
                      <a:pt x="96" y="41"/>
                    </a:lnTo>
                    <a:lnTo>
                      <a:pt x="96" y="41"/>
                    </a:lnTo>
                    <a:lnTo>
                      <a:pt x="102" y="42"/>
                    </a:lnTo>
                    <a:lnTo>
                      <a:pt x="108" y="42"/>
                    </a:lnTo>
                    <a:lnTo>
                      <a:pt x="113" y="44"/>
                    </a:lnTo>
                    <a:lnTo>
                      <a:pt x="119" y="46"/>
                    </a:lnTo>
                    <a:lnTo>
                      <a:pt x="124" y="49"/>
                    </a:lnTo>
                    <a:lnTo>
                      <a:pt x="128" y="52"/>
                    </a:lnTo>
                    <a:lnTo>
                      <a:pt x="132" y="56"/>
                    </a:lnTo>
                    <a:lnTo>
                      <a:pt x="135" y="61"/>
                    </a:lnTo>
                    <a:lnTo>
                      <a:pt x="138" y="67"/>
                    </a:lnTo>
                    <a:lnTo>
                      <a:pt x="141" y="73"/>
                    </a:lnTo>
                    <a:lnTo>
                      <a:pt x="145" y="87"/>
                    </a:lnTo>
                    <a:lnTo>
                      <a:pt x="148" y="104"/>
                    </a:lnTo>
                    <a:lnTo>
                      <a:pt x="149" y="124"/>
                    </a:lnTo>
                    <a:lnTo>
                      <a:pt x="149" y="124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6" name="Freeform 85"/>
              <p:cNvSpPr>
                <a:spLocks/>
              </p:cNvSpPr>
              <p:nvPr userDrawn="1"/>
            </p:nvSpPr>
            <p:spPr bwMode="auto">
              <a:xfrm>
                <a:off x="4705350" y="6428594"/>
                <a:ext cx="26988" cy="26988"/>
              </a:xfrm>
              <a:custGeom>
                <a:avLst/>
                <a:gdLst>
                  <a:gd name="T0" fmla="*/ 68 w 68"/>
                  <a:gd name="T1" fmla="*/ 35 h 69"/>
                  <a:gd name="T2" fmla="*/ 68 w 68"/>
                  <a:gd name="T3" fmla="*/ 35 h 69"/>
                  <a:gd name="T4" fmla="*/ 68 w 68"/>
                  <a:gd name="T5" fmla="*/ 28 h 69"/>
                  <a:gd name="T6" fmla="*/ 66 w 68"/>
                  <a:gd name="T7" fmla="*/ 21 h 69"/>
                  <a:gd name="T8" fmla="*/ 63 w 68"/>
                  <a:gd name="T9" fmla="*/ 15 h 69"/>
                  <a:gd name="T10" fmla="*/ 58 w 68"/>
                  <a:gd name="T11" fmla="*/ 10 h 69"/>
                  <a:gd name="T12" fmla="*/ 53 w 68"/>
                  <a:gd name="T13" fmla="*/ 6 h 69"/>
                  <a:gd name="T14" fmla="*/ 47 w 68"/>
                  <a:gd name="T15" fmla="*/ 3 h 69"/>
                  <a:gd name="T16" fmla="*/ 41 w 68"/>
                  <a:gd name="T17" fmla="*/ 1 h 69"/>
                  <a:gd name="T18" fmla="*/ 34 w 68"/>
                  <a:gd name="T19" fmla="*/ 0 h 69"/>
                  <a:gd name="T20" fmla="*/ 34 w 68"/>
                  <a:gd name="T21" fmla="*/ 0 h 69"/>
                  <a:gd name="T22" fmla="*/ 27 w 68"/>
                  <a:gd name="T23" fmla="*/ 1 h 69"/>
                  <a:gd name="T24" fmla="*/ 20 w 68"/>
                  <a:gd name="T25" fmla="*/ 3 h 69"/>
                  <a:gd name="T26" fmla="*/ 14 w 68"/>
                  <a:gd name="T27" fmla="*/ 6 h 69"/>
                  <a:gd name="T28" fmla="*/ 9 w 68"/>
                  <a:gd name="T29" fmla="*/ 10 h 69"/>
                  <a:gd name="T30" fmla="*/ 5 w 68"/>
                  <a:gd name="T31" fmla="*/ 15 h 69"/>
                  <a:gd name="T32" fmla="*/ 2 w 68"/>
                  <a:gd name="T33" fmla="*/ 21 h 69"/>
                  <a:gd name="T34" fmla="*/ 0 w 68"/>
                  <a:gd name="T35" fmla="*/ 28 h 69"/>
                  <a:gd name="T36" fmla="*/ 0 w 68"/>
                  <a:gd name="T37" fmla="*/ 35 h 69"/>
                  <a:gd name="T38" fmla="*/ 0 w 68"/>
                  <a:gd name="T39" fmla="*/ 35 h 69"/>
                  <a:gd name="T40" fmla="*/ 0 w 68"/>
                  <a:gd name="T41" fmla="*/ 42 h 69"/>
                  <a:gd name="T42" fmla="*/ 2 w 68"/>
                  <a:gd name="T43" fmla="*/ 49 h 69"/>
                  <a:gd name="T44" fmla="*/ 5 w 68"/>
                  <a:gd name="T45" fmla="*/ 54 h 69"/>
                  <a:gd name="T46" fmla="*/ 9 w 68"/>
                  <a:gd name="T47" fmla="*/ 59 h 69"/>
                  <a:gd name="T48" fmla="*/ 14 w 68"/>
                  <a:gd name="T49" fmla="*/ 64 h 69"/>
                  <a:gd name="T50" fmla="*/ 20 w 68"/>
                  <a:gd name="T51" fmla="*/ 67 h 69"/>
                  <a:gd name="T52" fmla="*/ 27 w 68"/>
                  <a:gd name="T53" fmla="*/ 69 h 69"/>
                  <a:gd name="T54" fmla="*/ 34 w 68"/>
                  <a:gd name="T55" fmla="*/ 69 h 69"/>
                  <a:gd name="T56" fmla="*/ 34 w 68"/>
                  <a:gd name="T57" fmla="*/ 69 h 69"/>
                  <a:gd name="T58" fmla="*/ 41 w 68"/>
                  <a:gd name="T59" fmla="*/ 69 h 69"/>
                  <a:gd name="T60" fmla="*/ 47 w 68"/>
                  <a:gd name="T61" fmla="*/ 67 h 69"/>
                  <a:gd name="T62" fmla="*/ 53 w 68"/>
                  <a:gd name="T63" fmla="*/ 64 h 69"/>
                  <a:gd name="T64" fmla="*/ 58 w 68"/>
                  <a:gd name="T65" fmla="*/ 59 h 69"/>
                  <a:gd name="T66" fmla="*/ 63 w 68"/>
                  <a:gd name="T67" fmla="*/ 54 h 69"/>
                  <a:gd name="T68" fmla="*/ 66 w 68"/>
                  <a:gd name="T69" fmla="*/ 49 h 69"/>
                  <a:gd name="T70" fmla="*/ 68 w 68"/>
                  <a:gd name="T71" fmla="*/ 42 h 69"/>
                  <a:gd name="T72" fmla="*/ 68 w 68"/>
                  <a:gd name="T73" fmla="*/ 35 h 69"/>
                  <a:gd name="T74" fmla="*/ 68 w 68"/>
                  <a:gd name="T75" fmla="*/ 3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8" h="69">
                    <a:moveTo>
                      <a:pt x="68" y="35"/>
                    </a:moveTo>
                    <a:lnTo>
                      <a:pt x="68" y="35"/>
                    </a:lnTo>
                    <a:lnTo>
                      <a:pt x="68" y="28"/>
                    </a:lnTo>
                    <a:lnTo>
                      <a:pt x="66" y="21"/>
                    </a:lnTo>
                    <a:lnTo>
                      <a:pt x="63" y="15"/>
                    </a:lnTo>
                    <a:lnTo>
                      <a:pt x="58" y="10"/>
                    </a:lnTo>
                    <a:lnTo>
                      <a:pt x="53" y="6"/>
                    </a:lnTo>
                    <a:lnTo>
                      <a:pt x="47" y="3"/>
                    </a:lnTo>
                    <a:lnTo>
                      <a:pt x="41" y="1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7" y="1"/>
                    </a:lnTo>
                    <a:lnTo>
                      <a:pt x="20" y="3"/>
                    </a:lnTo>
                    <a:lnTo>
                      <a:pt x="14" y="6"/>
                    </a:lnTo>
                    <a:lnTo>
                      <a:pt x="9" y="10"/>
                    </a:lnTo>
                    <a:lnTo>
                      <a:pt x="5" y="15"/>
                    </a:lnTo>
                    <a:lnTo>
                      <a:pt x="2" y="21"/>
                    </a:lnTo>
                    <a:lnTo>
                      <a:pt x="0" y="28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0" y="42"/>
                    </a:lnTo>
                    <a:lnTo>
                      <a:pt x="2" y="49"/>
                    </a:lnTo>
                    <a:lnTo>
                      <a:pt x="5" y="54"/>
                    </a:lnTo>
                    <a:lnTo>
                      <a:pt x="9" y="59"/>
                    </a:lnTo>
                    <a:lnTo>
                      <a:pt x="14" y="64"/>
                    </a:lnTo>
                    <a:lnTo>
                      <a:pt x="20" y="67"/>
                    </a:lnTo>
                    <a:lnTo>
                      <a:pt x="27" y="69"/>
                    </a:lnTo>
                    <a:lnTo>
                      <a:pt x="34" y="69"/>
                    </a:lnTo>
                    <a:lnTo>
                      <a:pt x="34" y="69"/>
                    </a:lnTo>
                    <a:lnTo>
                      <a:pt x="41" y="69"/>
                    </a:lnTo>
                    <a:lnTo>
                      <a:pt x="47" y="67"/>
                    </a:lnTo>
                    <a:lnTo>
                      <a:pt x="53" y="64"/>
                    </a:lnTo>
                    <a:lnTo>
                      <a:pt x="58" y="59"/>
                    </a:lnTo>
                    <a:lnTo>
                      <a:pt x="63" y="54"/>
                    </a:lnTo>
                    <a:lnTo>
                      <a:pt x="66" y="49"/>
                    </a:lnTo>
                    <a:lnTo>
                      <a:pt x="68" y="42"/>
                    </a:lnTo>
                    <a:lnTo>
                      <a:pt x="68" y="35"/>
                    </a:lnTo>
                    <a:lnTo>
                      <a:pt x="68" y="3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95070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503" y="384047"/>
            <a:ext cx="5413248" cy="4572744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996696" y="1691640"/>
            <a:ext cx="45974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996696" y="2660904"/>
            <a:ext cx="459740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9" y="5340097"/>
            <a:ext cx="1515758" cy="1156968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601662" y="5892019"/>
            <a:ext cx="4152900" cy="603250"/>
            <a:chOff x="601662" y="5892019"/>
            <a:chExt cx="4152900" cy="603250"/>
          </a:xfrm>
        </p:grpSpPr>
        <p:sp>
          <p:nvSpPr>
            <p:cNvPr id="9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601662" y="5892019"/>
              <a:ext cx="4152900" cy="603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" name="Rectangle 9"/>
            <p:cNvSpPr>
              <a:spLocks noChangeArrowheads="1"/>
            </p:cNvSpPr>
            <p:nvPr userDrawn="1"/>
          </p:nvSpPr>
          <p:spPr bwMode="auto">
            <a:xfrm>
              <a:off x="609600" y="5892019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" name="Rectangle 10"/>
            <p:cNvSpPr>
              <a:spLocks noChangeArrowheads="1"/>
            </p:cNvSpPr>
            <p:nvPr userDrawn="1"/>
          </p:nvSpPr>
          <p:spPr bwMode="auto">
            <a:xfrm>
              <a:off x="776287" y="5892019"/>
              <a:ext cx="101600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946150" y="5892019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grpSp>
          <p:nvGrpSpPr>
            <p:cNvPr id="13" name="Group 12"/>
            <p:cNvGrpSpPr/>
            <p:nvPr userDrawn="1"/>
          </p:nvGrpSpPr>
          <p:grpSpPr>
            <a:xfrm>
              <a:off x="606425" y="6119032"/>
              <a:ext cx="4125913" cy="368300"/>
              <a:chOff x="606425" y="6119032"/>
              <a:chExt cx="4125913" cy="368300"/>
            </a:xfrm>
          </p:grpSpPr>
          <p:sp>
            <p:nvSpPr>
              <p:cNvPr id="14" name="Freeform 13"/>
              <p:cNvSpPr>
                <a:spLocks/>
              </p:cNvSpPr>
              <p:nvPr userDrawn="1"/>
            </p:nvSpPr>
            <p:spPr bwMode="auto">
              <a:xfrm>
                <a:off x="606425" y="6120619"/>
                <a:ext cx="104775" cy="122238"/>
              </a:xfrm>
              <a:custGeom>
                <a:avLst/>
                <a:gdLst>
                  <a:gd name="T0" fmla="*/ 120 w 264"/>
                  <a:gd name="T1" fmla="*/ 305 h 305"/>
                  <a:gd name="T2" fmla="*/ 264 w 264"/>
                  <a:gd name="T3" fmla="*/ 0 h 305"/>
                  <a:gd name="T4" fmla="*/ 212 w 264"/>
                  <a:gd name="T5" fmla="*/ 0 h 305"/>
                  <a:gd name="T6" fmla="*/ 170 w 264"/>
                  <a:gd name="T7" fmla="*/ 98 h 305"/>
                  <a:gd name="T8" fmla="*/ 170 w 264"/>
                  <a:gd name="T9" fmla="*/ 98 h 305"/>
                  <a:gd name="T10" fmla="*/ 153 w 264"/>
                  <a:gd name="T11" fmla="*/ 136 h 305"/>
                  <a:gd name="T12" fmla="*/ 140 w 264"/>
                  <a:gd name="T13" fmla="*/ 167 h 305"/>
                  <a:gd name="T14" fmla="*/ 140 w 264"/>
                  <a:gd name="T15" fmla="*/ 167 h 305"/>
                  <a:gd name="T16" fmla="*/ 126 w 264"/>
                  <a:gd name="T17" fmla="*/ 135 h 305"/>
                  <a:gd name="T18" fmla="*/ 106 w 264"/>
                  <a:gd name="T19" fmla="*/ 97 h 305"/>
                  <a:gd name="T20" fmla="*/ 56 w 264"/>
                  <a:gd name="T21" fmla="*/ 0 h 305"/>
                  <a:gd name="T22" fmla="*/ 0 w 264"/>
                  <a:gd name="T23" fmla="*/ 0 h 305"/>
                  <a:gd name="T24" fmla="*/ 114 w 264"/>
                  <a:gd name="T25" fmla="*/ 213 h 305"/>
                  <a:gd name="T26" fmla="*/ 68 w 264"/>
                  <a:gd name="T27" fmla="*/ 305 h 305"/>
                  <a:gd name="T28" fmla="*/ 120 w 264"/>
                  <a:gd name="T2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305">
                    <a:moveTo>
                      <a:pt x="120" y="305"/>
                    </a:moveTo>
                    <a:lnTo>
                      <a:pt x="264" y="0"/>
                    </a:lnTo>
                    <a:lnTo>
                      <a:pt x="212" y="0"/>
                    </a:lnTo>
                    <a:lnTo>
                      <a:pt x="170" y="98"/>
                    </a:lnTo>
                    <a:lnTo>
                      <a:pt x="170" y="98"/>
                    </a:lnTo>
                    <a:lnTo>
                      <a:pt x="153" y="136"/>
                    </a:lnTo>
                    <a:lnTo>
                      <a:pt x="140" y="167"/>
                    </a:lnTo>
                    <a:lnTo>
                      <a:pt x="140" y="167"/>
                    </a:lnTo>
                    <a:lnTo>
                      <a:pt x="126" y="135"/>
                    </a:lnTo>
                    <a:lnTo>
                      <a:pt x="106" y="97"/>
                    </a:lnTo>
                    <a:lnTo>
                      <a:pt x="56" y="0"/>
                    </a:lnTo>
                    <a:lnTo>
                      <a:pt x="0" y="0"/>
                    </a:lnTo>
                    <a:lnTo>
                      <a:pt x="114" y="213"/>
                    </a:lnTo>
                    <a:lnTo>
                      <a:pt x="68" y="305"/>
                    </a:lnTo>
                    <a:lnTo>
                      <a:pt x="120" y="30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15" name="Freeform 14"/>
              <p:cNvSpPr>
                <a:spLocks noEditPoints="1"/>
              </p:cNvSpPr>
              <p:nvPr userDrawn="1"/>
            </p:nvSpPr>
            <p:spPr bwMode="auto">
              <a:xfrm>
                <a:off x="768350" y="6150782"/>
                <a:ext cx="73025" cy="92075"/>
              </a:xfrm>
              <a:custGeom>
                <a:avLst/>
                <a:gdLst>
                  <a:gd name="T0" fmla="*/ 0 w 184"/>
                  <a:gd name="T1" fmla="*/ 229 h 229"/>
                  <a:gd name="T2" fmla="*/ 106 w 184"/>
                  <a:gd name="T3" fmla="*/ 229 h 229"/>
                  <a:gd name="T4" fmla="*/ 132 w 184"/>
                  <a:gd name="T5" fmla="*/ 227 h 229"/>
                  <a:gd name="T6" fmla="*/ 146 w 184"/>
                  <a:gd name="T7" fmla="*/ 222 h 229"/>
                  <a:gd name="T8" fmla="*/ 159 w 184"/>
                  <a:gd name="T9" fmla="*/ 215 h 229"/>
                  <a:gd name="T10" fmla="*/ 169 w 184"/>
                  <a:gd name="T11" fmla="*/ 207 h 229"/>
                  <a:gd name="T12" fmla="*/ 176 w 184"/>
                  <a:gd name="T13" fmla="*/ 196 h 229"/>
                  <a:gd name="T14" fmla="*/ 182 w 184"/>
                  <a:gd name="T15" fmla="*/ 182 h 229"/>
                  <a:gd name="T16" fmla="*/ 184 w 184"/>
                  <a:gd name="T17" fmla="*/ 167 h 229"/>
                  <a:gd name="T18" fmla="*/ 184 w 184"/>
                  <a:gd name="T19" fmla="*/ 159 h 229"/>
                  <a:gd name="T20" fmla="*/ 181 w 184"/>
                  <a:gd name="T21" fmla="*/ 138 h 229"/>
                  <a:gd name="T22" fmla="*/ 172 w 184"/>
                  <a:gd name="T23" fmla="*/ 122 h 229"/>
                  <a:gd name="T24" fmla="*/ 161 w 184"/>
                  <a:gd name="T25" fmla="*/ 112 h 229"/>
                  <a:gd name="T26" fmla="*/ 147 w 184"/>
                  <a:gd name="T27" fmla="*/ 106 h 229"/>
                  <a:gd name="T28" fmla="*/ 154 w 184"/>
                  <a:gd name="T29" fmla="*/ 102 h 229"/>
                  <a:gd name="T30" fmla="*/ 164 w 184"/>
                  <a:gd name="T31" fmla="*/ 94 h 229"/>
                  <a:gd name="T32" fmla="*/ 172 w 184"/>
                  <a:gd name="T33" fmla="*/ 82 h 229"/>
                  <a:gd name="T34" fmla="*/ 177 w 184"/>
                  <a:gd name="T35" fmla="*/ 68 h 229"/>
                  <a:gd name="T36" fmla="*/ 177 w 184"/>
                  <a:gd name="T37" fmla="*/ 60 h 229"/>
                  <a:gd name="T38" fmla="*/ 176 w 184"/>
                  <a:gd name="T39" fmla="*/ 46 h 229"/>
                  <a:gd name="T40" fmla="*/ 173 w 184"/>
                  <a:gd name="T41" fmla="*/ 34 h 229"/>
                  <a:gd name="T42" fmla="*/ 167 w 184"/>
                  <a:gd name="T43" fmla="*/ 24 h 229"/>
                  <a:gd name="T44" fmla="*/ 159 w 184"/>
                  <a:gd name="T45" fmla="*/ 15 h 229"/>
                  <a:gd name="T46" fmla="*/ 150 w 184"/>
                  <a:gd name="T47" fmla="*/ 9 h 229"/>
                  <a:gd name="T48" fmla="*/ 126 w 184"/>
                  <a:gd name="T49" fmla="*/ 1 h 229"/>
                  <a:gd name="T50" fmla="*/ 0 w 184"/>
                  <a:gd name="T51" fmla="*/ 0 h 229"/>
                  <a:gd name="T52" fmla="*/ 45 w 184"/>
                  <a:gd name="T53" fmla="*/ 37 h 229"/>
                  <a:gd name="T54" fmla="*/ 104 w 184"/>
                  <a:gd name="T55" fmla="*/ 37 h 229"/>
                  <a:gd name="T56" fmla="*/ 117 w 184"/>
                  <a:gd name="T57" fmla="*/ 39 h 229"/>
                  <a:gd name="T58" fmla="*/ 126 w 184"/>
                  <a:gd name="T59" fmla="*/ 45 h 229"/>
                  <a:gd name="T60" fmla="*/ 131 w 184"/>
                  <a:gd name="T61" fmla="*/ 53 h 229"/>
                  <a:gd name="T62" fmla="*/ 133 w 184"/>
                  <a:gd name="T63" fmla="*/ 64 h 229"/>
                  <a:gd name="T64" fmla="*/ 132 w 184"/>
                  <a:gd name="T65" fmla="*/ 69 h 229"/>
                  <a:gd name="T66" fmla="*/ 129 w 184"/>
                  <a:gd name="T67" fmla="*/ 78 h 229"/>
                  <a:gd name="T68" fmla="*/ 122 w 184"/>
                  <a:gd name="T69" fmla="*/ 85 h 229"/>
                  <a:gd name="T70" fmla="*/ 111 w 184"/>
                  <a:gd name="T71" fmla="*/ 89 h 229"/>
                  <a:gd name="T72" fmla="*/ 45 w 184"/>
                  <a:gd name="T73" fmla="*/ 90 h 229"/>
                  <a:gd name="T74" fmla="*/ 45 w 184"/>
                  <a:gd name="T75" fmla="*/ 127 h 229"/>
                  <a:gd name="T76" fmla="*/ 105 w 184"/>
                  <a:gd name="T77" fmla="*/ 127 h 229"/>
                  <a:gd name="T78" fmla="*/ 120 w 184"/>
                  <a:gd name="T79" fmla="*/ 129 h 229"/>
                  <a:gd name="T80" fmla="*/ 130 w 184"/>
                  <a:gd name="T81" fmla="*/ 136 h 229"/>
                  <a:gd name="T82" fmla="*/ 137 w 184"/>
                  <a:gd name="T83" fmla="*/ 146 h 229"/>
                  <a:gd name="T84" fmla="*/ 140 w 184"/>
                  <a:gd name="T85" fmla="*/ 160 h 229"/>
                  <a:gd name="T86" fmla="*/ 139 w 184"/>
                  <a:gd name="T87" fmla="*/ 167 h 229"/>
                  <a:gd name="T88" fmla="*/ 135 w 184"/>
                  <a:gd name="T89" fmla="*/ 178 h 229"/>
                  <a:gd name="T90" fmla="*/ 127 w 184"/>
                  <a:gd name="T91" fmla="*/ 187 h 229"/>
                  <a:gd name="T92" fmla="*/ 113 w 184"/>
                  <a:gd name="T93" fmla="*/ 191 h 229"/>
                  <a:gd name="T94" fmla="*/ 45 w 184"/>
                  <a:gd name="T95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4" h="229">
                    <a:moveTo>
                      <a:pt x="0" y="0"/>
                    </a:moveTo>
                    <a:lnTo>
                      <a:pt x="0" y="229"/>
                    </a:lnTo>
                    <a:lnTo>
                      <a:pt x="106" y="229"/>
                    </a:lnTo>
                    <a:lnTo>
                      <a:pt x="106" y="229"/>
                    </a:lnTo>
                    <a:lnTo>
                      <a:pt x="124" y="228"/>
                    </a:lnTo>
                    <a:lnTo>
                      <a:pt x="132" y="227"/>
                    </a:lnTo>
                    <a:lnTo>
                      <a:pt x="139" y="225"/>
                    </a:lnTo>
                    <a:lnTo>
                      <a:pt x="146" y="222"/>
                    </a:lnTo>
                    <a:lnTo>
                      <a:pt x="153" y="219"/>
                    </a:lnTo>
                    <a:lnTo>
                      <a:pt x="159" y="215"/>
                    </a:lnTo>
                    <a:lnTo>
                      <a:pt x="164" y="211"/>
                    </a:lnTo>
                    <a:lnTo>
                      <a:pt x="169" y="207"/>
                    </a:lnTo>
                    <a:lnTo>
                      <a:pt x="173" y="201"/>
                    </a:lnTo>
                    <a:lnTo>
                      <a:pt x="176" y="196"/>
                    </a:lnTo>
                    <a:lnTo>
                      <a:pt x="179" y="189"/>
                    </a:lnTo>
                    <a:lnTo>
                      <a:pt x="182" y="182"/>
                    </a:lnTo>
                    <a:lnTo>
                      <a:pt x="183" y="175"/>
                    </a:lnTo>
                    <a:lnTo>
                      <a:pt x="184" y="167"/>
                    </a:lnTo>
                    <a:lnTo>
                      <a:pt x="184" y="159"/>
                    </a:lnTo>
                    <a:lnTo>
                      <a:pt x="184" y="159"/>
                    </a:lnTo>
                    <a:lnTo>
                      <a:pt x="184" y="148"/>
                    </a:lnTo>
                    <a:lnTo>
                      <a:pt x="181" y="138"/>
                    </a:lnTo>
                    <a:lnTo>
                      <a:pt x="177" y="129"/>
                    </a:lnTo>
                    <a:lnTo>
                      <a:pt x="172" y="122"/>
                    </a:lnTo>
                    <a:lnTo>
                      <a:pt x="167" y="116"/>
                    </a:lnTo>
                    <a:lnTo>
                      <a:pt x="161" y="112"/>
                    </a:lnTo>
                    <a:lnTo>
                      <a:pt x="154" y="108"/>
                    </a:lnTo>
                    <a:lnTo>
                      <a:pt x="147" y="106"/>
                    </a:lnTo>
                    <a:lnTo>
                      <a:pt x="147" y="106"/>
                    </a:lnTo>
                    <a:lnTo>
                      <a:pt x="154" y="102"/>
                    </a:lnTo>
                    <a:lnTo>
                      <a:pt x="159" y="98"/>
                    </a:lnTo>
                    <a:lnTo>
                      <a:pt x="164" y="94"/>
                    </a:lnTo>
                    <a:lnTo>
                      <a:pt x="169" y="88"/>
                    </a:lnTo>
                    <a:lnTo>
                      <a:pt x="172" y="82"/>
                    </a:lnTo>
                    <a:lnTo>
                      <a:pt x="175" y="76"/>
                    </a:lnTo>
                    <a:lnTo>
                      <a:pt x="177" y="68"/>
                    </a:lnTo>
                    <a:lnTo>
                      <a:pt x="177" y="60"/>
                    </a:lnTo>
                    <a:lnTo>
                      <a:pt x="177" y="60"/>
                    </a:lnTo>
                    <a:lnTo>
                      <a:pt x="177" y="53"/>
                    </a:lnTo>
                    <a:lnTo>
                      <a:pt x="176" y="46"/>
                    </a:lnTo>
                    <a:lnTo>
                      <a:pt x="175" y="40"/>
                    </a:lnTo>
                    <a:lnTo>
                      <a:pt x="173" y="34"/>
                    </a:lnTo>
                    <a:lnTo>
                      <a:pt x="170" y="29"/>
                    </a:lnTo>
                    <a:lnTo>
                      <a:pt x="167" y="24"/>
                    </a:lnTo>
                    <a:lnTo>
                      <a:pt x="164" y="19"/>
                    </a:lnTo>
                    <a:lnTo>
                      <a:pt x="159" y="15"/>
                    </a:lnTo>
                    <a:lnTo>
                      <a:pt x="155" y="12"/>
                    </a:lnTo>
                    <a:lnTo>
                      <a:pt x="150" y="9"/>
                    </a:lnTo>
                    <a:lnTo>
                      <a:pt x="139" y="4"/>
                    </a:lnTo>
                    <a:lnTo>
                      <a:pt x="126" y="1"/>
                    </a:lnTo>
                    <a:lnTo>
                      <a:pt x="112" y="0"/>
                    </a:lnTo>
                    <a:lnTo>
                      <a:pt x="0" y="0"/>
                    </a:lnTo>
                    <a:close/>
                    <a:moveTo>
                      <a:pt x="45" y="90"/>
                    </a:moveTo>
                    <a:lnTo>
                      <a:pt x="45" y="37"/>
                    </a:lnTo>
                    <a:lnTo>
                      <a:pt x="104" y="37"/>
                    </a:lnTo>
                    <a:lnTo>
                      <a:pt x="104" y="37"/>
                    </a:lnTo>
                    <a:lnTo>
                      <a:pt x="111" y="38"/>
                    </a:lnTo>
                    <a:lnTo>
                      <a:pt x="117" y="39"/>
                    </a:lnTo>
                    <a:lnTo>
                      <a:pt x="122" y="42"/>
                    </a:lnTo>
                    <a:lnTo>
                      <a:pt x="126" y="45"/>
                    </a:lnTo>
                    <a:lnTo>
                      <a:pt x="129" y="49"/>
                    </a:lnTo>
                    <a:lnTo>
                      <a:pt x="131" y="53"/>
                    </a:lnTo>
                    <a:lnTo>
                      <a:pt x="132" y="58"/>
                    </a:lnTo>
                    <a:lnTo>
                      <a:pt x="133" y="64"/>
                    </a:lnTo>
                    <a:lnTo>
                      <a:pt x="133" y="64"/>
                    </a:lnTo>
                    <a:lnTo>
                      <a:pt x="132" y="69"/>
                    </a:lnTo>
                    <a:lnTo>
                      <a:pt x="131" y="74"/>
                    </a:lnTo>
                    <a:lnTo>
                      <a:pt x="129" y="78"/>
                    </a:lnTo>
                    <a:lnTo>
                      <a:pt x="126" y="82"/>
                    </a:lnTo>
                    <a:lnTo>
                      <a:pt x="122" y="85"/>
                    </a:lnTo>
                    <a:lnTo>
                      <a:pt x="117" y="88"/>
                    </a:lnTo>
                    <a:lnTo>
                      <a:pt x="111" y="89"/>
                    </a:lnTo>
                    <a:lnTo>
                      <a:pt x="104" y="90"/>
                    </a:lnTo>
                    <a:lnTo>
                      <a:pt x="45" y="90"/>
                    </a:lnTo>
                    <a:close/>
                    <a:moveTo>
                      <a:pt x="45" y="192"/>
                    </a:moveTo>
                    <a:lnTo>
                      <a:pt x="45" y="127"/>
                    </a:lnTo>
                    <a:lnTo>
                      <a:pt x="105" y="127"/>
                    </a:lnTo>
                    <a:lnTo>
                      <a:pt x="105" y="127"/>
                    </a:lnTo>
                    <a:lnTo>
                      <a:pt x="113" y="128"/>
                    </a:lnTo>
                    <a:lnTo>
                      <a:pt x="120" y="129"/>
                    </a:lnTo>
                    <a:lnTo>
                      <a:pt x="125" y="132"/>
                    </a:lnTo>
                    <a:lnTo>
                      <a:pt x="130" y="136"/>
                    </a:lnTo>
                    <a:lnTo>
                      <a:pt x="134" y="141"/>
                    </a:lnTo>
                    <a:lnTo>
                      <a:pt x="137" y="146"/>
                    </a:lnTo>
                    <a:lnTo>
                      <a:pt x="139" y="153"/>
                    </a:lnTo>
                    <a:lnTo>
                      <a:pt x="140" y="160"/>
                    </a:lnTo>
                    <a:lnTo>
                      <a:pt x="140" y="160"/>
                    </a:lnTo>
                    <a:lnTo>
                      <a:pt x="139" y="167"/>
                    </a:lnTo>
                    <a:lnTo>
                      <a:pt x="138" y="173"/>
                    </a:lnTo>
                    <a:lnTo>
                      <a:pt x="135" y="178"/>
                    </a:lnTo>
                    <a:lnTo>
                      <a:pt x="131" y="183"/>
                    </a:lnTo>
                    <a:lnTo>
                      <a:pt x="127" y="187"/>
                    </a:lnTo>
                    <a:lnTo>
                      <a:pt x="120" y="190"/>
                    </a:lnTo>
                    <a:lnTo>
                      <a:pt x="113" y="191"/>
                    </a:lnTo>
                    <a:lnTo>
                      <a:pt x="104" y="192"/>
                    </a:lnTo>
                    <a:lnTo>
                      <a:pt x="45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16" name="Freeform 15"/>
              <p:cNvSpPr>
                <a:spLocks noEditPoints="1"/>
              </p:cNvSpPr>
              <p:nvPr userDrawn="1"/>
            </p:nvSpPr>
            <p:spPr bwMode="auto">
              <a:xfrm>
                <a:off x="855662" y="6149194"/>
                <a:ext cx="73025" cy="95250"/>
              </a:xfrm>
              <a:custGeom>
                <a:avLst/>
                <a:gdLst>
                  <a:gd name="T0" fmla="*/ 187 w 187"/>
                  <a:gd name="T1" fmla="*/ 77 h 239"/>
                  <a:gd name="T2" fmla="*/ 186 w 187"/>
                  <a:gd name="T3" fmla="*/ 68 h 239"/>
                  <a:gd name="T4" fmla="*/ 183 w 187"/>
                  <a:gd name="T5" fmla="*/ 51 h 239"/>
                  <a:gd name="T6" fmla="*/ 177 w 187"/>
                  <a:gd name="T7" fmla="*/ 36 h 239"/>
                  <a:gd name="T8" fmla="*/ 168 w 187"/>
                  <a:gd name="T9" fmla="*/ 24 h 239"/>
                  <a:gd name="T10" fmla="*/ 157 w 187"/>
                  <a:gd name="T11" fmla="*/ 15 h 239"/>
                  <a:gd name="T12" fmla="*/ 143 w 187"/>
                  <a:gd name="T13" fmla="*/ 8 h 239"/>
                  <a:gd name="T14" fmla="*/ 128 w 187"/>
                  <a:gd name="T15" fmla="*/ 3 h 239"/>
                  <a:gd name="T16" fmla="*/ 110 w 187"/>
                  <a:gd name="T17" fmla="*/ 1 h 239"/>
                  <a:gd name="T18" fmla="*/ 100 w 187"/>
                  <a:gd name="T19" fmla="*/ 0 h 239"/>
                  <a:gd name="T20" fmla="*/ 77 w 187"/>
                  <a:gd name="T21" fmla="*/ 2 h 239"/>
                  <a:gd name="T22" fmla="*/ 57 w 187"/>
                  <a:gd name="T23" fmla="*/ 6 h 239"/>
                  <a:gd name="T24" fmla="*/ 38 w 187"/>
                  <a:gd name="T25" fmla="*/ 12 h 239"/>
                  <a:gd name="T26" fmla="*/ 21 w 187"/>
                  <a:gd name="T27" fmla="*/ 21 h 239"/>
                  <a:gd name="T28" fmla="*/ 39 w 187"/>
                  <a:gd name="T29" fmla="*/ 55 h 239"/>
                  <a:gd name="T30" fmla="*/ 67 w 187"/>
                  <a:gd name="T31" fmla="*/ 44 h 239"/>
                  <a:gd name="T32" fmla="*/ 99 w 187"/>
                  <a:gd name="T33" fmla="*/ 40 h 239"/>
                  <a:gd name="T34" fmla="*/ 109 w 187"/>
                  <a:gd name="T35" fmla="*/ 41 h 239"/>
                  <a:gd name="T36" fmla="*/ 125 w 187"/>
                  <a:gd name="T37" fmla="*/ 46 h 239"/>
                  <a:gd name="T38" fmla="*/ 136 w 187"/>
                  <a:gd name="T39" fmla="*/ 56 h 239"/>
                  <a:gd name="T40" fmla="*/ 142 w 187"/>
                  <a:gd name="T41" fmla="*/ 70 h 239"/>
                  <a:gd name="T42" fmla="*/ 143 w 187"/>
                  <a:gd name="T43" fmla="*/ 96 h 239"/>
                  <a:gd name="T44" fmla="*/ 134 w 187"/>
                  <a:gd name="T45" fmla="*/ 93 h 239"/>
                  <a:gd name="T46" fmla="*/ 107 w 187"/>
                  <a:gd name="T47" fmla="*/ 88 h 239"/>
                  <a:gd name="T48" fmla="*/ 91 w 187"/>
                  <a:gd name="T49" fmla="*/ 88 h 239"/>
                  <a:gd name="T50" fmla="*/ 63 w 187"/>
                  <a:gd name="T51" fmla="*/ 90 h 239"/>
                  <a:gd name="T52" fmla="*/ 47 w 187"/>
                  <a:gd name="T53" fmla="*/ 94 h 239"/>
                  <a:gd name="T54" fmla="*/ 32 w 187"/>
                  <a:gd name="T55" fmla="*/ 101 h 239"/>
                  <a:gd name="T56" fmla="*/ 20 w 187"/>
                  <a:gd name="T57" fmla="*/ 110 h 239"/>
                  <a:gd name="T58" fmla="*/ 10 w 187"/>
                  <a:gd name="T59" fmla="*/ 122 h 239"/>
                  <a:gd name="T60" fmla="*/ 4 w 187"/>
                  <a:gd name="T61" fmla="*/ 136 h 239"/>
                  <a:gd name="T62" fmla="*/ 0 w 187"/>
                  <a:gd name="T63" fmla="*/ 152 h 239"/>
                  <a:gd name="T64" fmla="*/ 0 w 187"/>
                  <a:gd name="T65" fmla="*/ 162 h 239"/>
                  <a:gd name="T66" fmla="*/ 1 w 187"/>
                  <a:gd name="T67" fmla="*/ 181 h 239"/>
                  <a:gd name="T68" fmla="*/ 7 w 187"/>
                  <a:gd name="T69" fmla="*/ 197 h 239"/>
                  <a:gd name="T70" fmla="*/ 15 w 187"/>
                  <a:gd name="T71" fmla="*/ 211 h 239"/>
                  <a:gd name="T72" fmla="*/ 25 w 187"/>
                  <a:gd name="T73" fmla="*/ 221 h 239"/>
                  <a:gd name="T74" fmla="*/ 38 w 187"/>
                  <a:gd name="T75" fmla="*/ 229 h 239"/>
                  <a:gd name="T76" fmla="*/ 51 w 187"/>
                  <a:gd name="T77" fmla="*/ 235 h 239"/>
                  <a:gd name="T78" fmla="*/ 79 w 187"/>
                  <a:gd name="T79" fmla="*/ 239 h 239"/>
                  <a:gd name="T80" fmla="*/ 90 w 187"/>
                  <a:gd name="T81" fmla="*/ 238 h 239"/>
                  <a:gd name="T82" fmla="*/ 109 w 187"/>
                  <a:gd name="T83" fmla="*/ 234 h 239"/>
                  <a:gd name="T84" fmla="*/ 116 w 187"/>
                  <a:gd name="T85" fmla="*/ 231 h 239"/>
                  <a:gd name="T86" fmla="*/ 135 w 187"/>
                  <a:gd name="T87" fmla="*/ 218 h 239"/>
                  <a:gd name="T88" fmla="*/ 143 w 187"/>
                  <a:gd name="T89" fmla="*/ 234 h 239"/>
                  <a:gd name="T90" fmla="*/ 143 w 187"/>
                  <a:gd name="T91" fmla="*/ 169 h 239"/>
                  <a:gd name="T92" fmla="*/ 138 w 187"/>
                  <a:gd name="T93" fmla="*/ 174 h 239"/>
                  <a:gd name="T94" fmla="*/ 127 w 187"/>
                  <a:gd name="T95" fmla="*/ 185 h 239"/>
                  <a:gd name="T96" fmla="*/ 113 w 187"/>
                  <a:gd name="T97" fmla="*/ 193 h 239"/>
                  <a:gd name="T98" fmla="*/ 95 w 187"/>
                  <a:gd name="T99" fmla="*/ 198 h 239"/>
                  <a:gd name="T100" fmla="*/ 86 w 187"/>
                  <a:gd name="T101" fmla="*/ 198 h 239"/>
                  <a:gd name="T102" fmla="*/ 68 w 187"/>
                  <a:gd name="T103" fmla="*/ 196 h 239"/>
                  <a:gd name="T104" fmla="*/ 55 w 187"/>
                  <a:gd name="T105" fmla="*/ 189 h 239"/>
                  <a:gd name="T106" fmla="*/ 50 w 187"/>
                  <a:gd name="T107" fmla="*/ 184 h 239"/>
                  <a:gd name="T108" fmla="*/ 43 w 187"/>
                  <a:gd name="T109" fmla="*/ 170 h 239"/>
                  <a:gd name="T110" fmla="*/ 42 w 187"/>
                  <a:gd name="T111" fmla="*/ 160 h 239"/>
                  <a:gd name="T112" fmla="*/ 46 w 187"/>
                  <a:gd name="T113" fmla="*/ 146 h 239"/>
                  <a:gd name="T114" fmla="*/ 55 w 187"/>
                  <a:gd name="T115" fmla="*/ 136 h 239"/>
                  <a:gd name="T116" fmla="*/ 70 w 187"/>
                  <a:gd name="T117" fmla="*/ 129 h 239"/>
                  <a:gd name="T118" fmla="*/ 89 w 187"/>
                  <a:gd name="T119" fmla="*/ 126 h 239"/>
                  <a:gd name="T120" fmla="*/ 106 w 187"/>
                  <a:gd name="T121" fmla="*/ 127 h 239"/>
                  <a:gd name="T122" fmla="*/ 120 w 187"/>
                  <a:gd name="T123" fmla="*/ 129 h 239"/>
                  <a:gd name="T124" fmla="*/ 143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4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6" y="68"/>
                    </a:lnTo>
                    <a:lnTo>
                      <a:pt x="185" y="59"/>
                    </a:lnTo>
                    <a:lnTo>
                      <a:pt x="183" y="51"/>
                    </a:lnTo>
                    <a:lnTo>
                      <a:pt x="181" y="43"/>
                    </a:lnTo>
                    <a:lnTo>
                      <a:pt x="177" y="36"/>
                    </a:lnTo>
                    <a:lnTo>
                      <a:pt x="173" y="30"/>
                    </a:lnTo>
                    <a:lnTo>
                      <a:pt x="168" y="24"/>
                    </a:lnTo>
                    <a:lnTo>
                      <a:pt x="163" y="19"/>
                    </a:lnTo>
                    <a:lnTo>
                      <a:pt x="157" y="15"/>
                    </a:lnTo>
                    <a:lnTo>
                      <a:pt x="150" y="11"/>
                    </a:lnTo>
                    <a:lnTo>
                      <a:pt x="143" y="8"/>
                    </a:lnTo>
                    <a:lnTo>
                      <a:pt x="136" y="5"/>
                    </a:lnTo>
                    <a:lnTo>
                      <a:pt x="128" y="3"/>
                    </a:lnTo>
                    <a:lnTo>
                      <a:pt x="119" y="2"/>
                    </a:lnTo>
                    <a:lnTo>
                      <a:pt x="110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8" y="1"/>
                    </a:lnTo>
                    <a:lnTo>
                      <a:pt x="77" y="2"/>
                    </a:lnTo>
                    <a:lnTo>
                      <a:pt x="67" y="3"/>
                    </a:lnTo>
                    <a:lnTo>
                      <a:pt x="57" y="6"/>
                    </a:lnTo>
                    <a:lnTo>
                      <a:pt x="47" y="8"/>
                    </a:lnTo>
                    <a:lnTo>
                      <a:pt x="38" y="12"/>
                    </a:lnTo>
                    <a:lnTo>
                      <a:pt x="30" y="16"/>
                    </a:lnTo>
                    <a:lnTo>
                      <a:pt x="21" y="21"/>
                    </a:lnTo>
                    <a:lnTo>
                      <a:pt x="39" y="55"/>
                    </a:lnTo>
                    <a:lnTo>
                      <a:pt x="39" y="55"/>
                    </a:lnTo>
                    <a:lnTo>
                      <a:pt x="52" y="48"/>
                    </a:lnTo>
                    <a:lnTo>
                      <a:pt x="67" y="44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9" y="41"/>
                    </a:lnTo>
                    <a:lnTo>
                      <a:pt x="118" y="43"/>
                    </a:lnTo>
                    <a:lnTo>
                      <a:pt x="125" y="46"/>
                    </a:lnTo>
                    <a:lnTo>
                      <a:pt x="132" y="51"/>
                    </a:lnTo>
                    <a:lnTo>
                      <a:pt x="136" y="56"/>
                    </a:lnTo>
                    <a:lnTo>
                      <a:pt x="140" y="63"/>
                    </a:lnTo>
                    <a:lnTo>
                      <a:pt x="142" y="70"/>
                    </a:lnTo>
                    <a:lnTo>
                      <a:pt x="143" y="79"/>
                    </a:lnTo>
                    <a:lnTo>
                      <a:pt x="143" y="96"/>
                    </a:lnTo>
                    <a:lnTo>
                      <a:pt x="143" y="96"/>
                    </a:lnTo>
                    <a:lnTo>
                      <a:pt x="134" y="93"/>
                    </a:lnTo>
                    <a:lnTo>
                      <a:pt x="122" y="90"/>
                    </a:lnTo>
                    <a:lnTo>
                      <a:pt x="107" y="88"/>
                    </a:lnTo>
                    <a:lnTo>
                      <a:pt x="91" y="88"/>
                    </a:lnTo>
                    <a:lnTo>
                      <a:pt x="91" y="88"/>
                    </a:lnTo>
                    <a:lnTo>
                      <a:pt x="72" y="89"/>
                    </a:lnTo>
                    <a:lnTo>
                      <a:pt x="63" y="90"/>
                    </a:lnTo>
                    <a:lnTo>
                      <a:pt x="55" y="92"/>
                    </a:lnTo>
                    <a:lnTo>
                      <a:pt x="47" y="94"/>
                    </a:lnTo>
                    <a:lnTo>
                      <a:pt x="39" y="98"/>
                    </a:lnTo>
                    <a:lnTo>
                      <a:pt x="32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6"/>
                    </a:lnTo>
                    <a:lnTo>
                      <a:pt x="10" y="122"/>
                    </a:lnTo>
                    <a:lnTo>
                      <a:pt x="7" y="129"/>
                    </a:lnTo>
                    <a:lnTo>
                      <a:pt x="4" y="136"/>
                    </a:lnTo>
                    <a:lnTo>
                      <a:pt x="1" y="144"/>
                    </a:lnTo>
                    <a:lnTo>
                      <a:pt x="0" y="152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1" y="181"/>
                    </a:lnTo>
                    <a:lnTo>
                      <a:pt x="4" y="190"/>
                    </a:lnTo>
                    <a:lnTo>
                      <a:pt x="7" y="197"/>
                    </a:lnTo>
                    <a:lnTo>
                      <a:pt x="11" y="204"/>
                    </a:lnTo>
                    <a:lnTo>
                      <a:pt x="15" y="211"/>
                    </a:lnTo>
                    <a:lnTo>
                      <a:pt x="20" y="216"/>
                    </a:lnTo>
                    <a:lnTo>
                      <a:pt x="25" y="221"/>
                    </a:lnTo>
                    <a:lnTo>
                      <a:pt x="31" y="226"/>
                    </a:lnTo>
                    <a:lnTo>
                      <a:pt x="38" y="229"/>
                    </a:lnTo>
                    <a:lnTo>
                      <a:pt x="44" y="232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8"/>
                    </a:lnTo>
                    <a:lnTo>
                      <a:pt x="100" y="236"/>
                    </a:lnTo>
                    <a:lnTo>
                      <a:pt x="109" y="234"/>
                    </a:lnTo>
                    <a:lnTo>
                      <a:pt x="116" y="231"/>
                    </a:lnTo>
                    <a:lnTo>
                      <a:pt x="116" y="231"/>
                    </a:lnTo>
                    <a:lnTo>
                      <a:pt x="128" y="223"/>
                    </a:lnTo>
                    <a:lnTo>
                      <a:pt x="135" y="218"/>
                    </a:lnTo>
                    <a:lnTo>
                      <a:pt x="143" y="211"/>
                    </a:lnTo>
                    <a:lnTo>
                      <a:pt x="143" y="234"/>
                    </a:lnTo>
                    <a:lnTo>
                      <a:pt x="187" y="234"/>
                    </a:lnTo>
                    <a:close/>
                    <a:moveTo>
                      <a:pt x="143" y="169"/>
                    </a:moveTo>
                    <a:lnTo>
                      <a:pt x="143" y="169"/>
                    </a:lnTo>
                    <a:lnTo>
                      <a:pt x="138" y="174"/>
                    </a:lnTo>
                    <a:lnTo>
                      <a:pt x="133" y="180"/>
                    </a:lnTo>
                    <a:lnTo>
                      <a:pt x="127" y="185"/>
                    </a:lnTo>
                    <a:lnTo>
                      <a:pt x="120" y="189"/>
                    </a:lnTo>
                    <a:lnTo>
                      <a:pt x="113" y="193"/>
                    </a:lnTo>
                    <a:lnTo>
                      <a:pt x="104" y="196"/>
                    </a:lnTo>
                    <a:lnTo>
                      <a:pt x="95" y="198"/>
                    </a:lnTo>
                    <a:lnTo>
                      <a:pt x="86" y="198"/>
                    </a:lnTo>
                    <a:lnTo>
                      <a:pt x="86" y="198"/>
                    </a:lnTo>
                    <a:lnTo>
                      <a:pt x="76" y="198"/>
                    </a:lnTo>
                    <a:lnTo>
                      <a:pt x="68" y="196"/>
                    </a:lnTo>
                    <a:lnTo>
                      <a:pt x="61" y="193"/>
                    </a:lnTo>
                    <a:lnTo>
                      <a:pt x="55" y="189"/>
                    </a:lnTo>
                    <a:lnTo>
                      <a:pt x="55" y="189"/>
                    </a:lnTo>
                    <a:lnTo>
                      <a:pt x="50" y="184"/>
                    </a:lnTo>
                    <a:lnTo>
                      <a:pt x="46" y="178"/>
                    </a:lnTo>
                    <a:lnTo>
                      <a:pt x="43" y="170"/>
                    </a:lnTo>
                    <a:lnTo>
                      <a:pt x="42" y="160"/>
                    </a:lnTo>
                    <a:lnTo>
                      <a:pt x="42" y="160"/>
                    </a:lnTo>
                    <a:lnTo>
                      <a:pt x="43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5" y="136"/>
                    </a:lnTo>
                    <a:lnTo>
                      <a:pt x="62" y="132"/>
                    </a:lnTo>
                    <a:lnTo>
                      <a:pt x="70" y="129"/>
                    </a:lnTo>
                    <a:lnTo>
                      <a:pt x="79" y="127"/>
                    </a:lnTo>
                    <a:lnTo>
                      <a:pt x="89" y="126"/>
                    </a:lnTo>
                    <a:lnTo>
                      <a:pt x="89" y="126"/>
                    </a:lnTo>
                    <a:lnTo>
                      <a:pt x="106" y="127"/>
                    </a:lnTo>
                    <a:lnTo>
                      <a:pt x="120" y="129"/>
                    </a:lnTo>
                    <a:lnTo>
                      <a:pt x="120" y="129"/>
                    </a:lnTo>
                    <a:lnTo>
                      <a:pt x="131" y="132"/>
                    </a:lnTo>
                    <a:lnTo>
                      <a:pt x="143" y="136"/>
                    </a:lnTo>
                    <a:lnTo>
                      <a:pt x="143" y="16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17" name="Freeform 16"/>
              <p:cNvSpPr>
                <a:spLocks/>
              </p:cNvSpPr>
              <p:nvPr userDrawn="1"/>
            </p:nvSpPr>
            <p:spPr bwMode="auto">
              <a:xfrm>
                <a:off x="947737" y="6149194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5 w 181"/>
                  <a:gd name="T3" fmla="*/ 22 h 239"/>
                  <a:gd name="T4" fmla="*/ 146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3 w 181"/>
                  <a:gd name="T19" fmla="*/ 40 h 239"/>
                  <a:gd name="T20" fmla="*/ 12 w 181"/>
                  <a:gd name="T21" fmla="*/ 59 h 239"/>
                  <a:gd name="T22" fmla="*/ 5 w 181"/>
                  <a:gd name="T23" fmla="*/ 81 h 239"/>
                  <a:gd name="T24" fmla="*/ 1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8 w 181"/>
                  <a:gd name="T31" fmla="*/ 169 h 239"/>
                  <a:gd name="T32" fmla="*/ 17 w 181"/>
                  <a:gd name="T33" fmla="*/ 189 h 239"/>
                  <a:gd name="T34" fmla="*/ 29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9 w 181"/>
                  <a:gd name="T41" fmla="*/ 237 h 239"/>
                  <a:gd name="T42" fmla="*/ 99 w 181"/>
                  <a:gd name="T43" fmla="*/ 239 h 239"/>
                  <a:gd name="T44" fmla="*/ 114 w 181"/>
                  <a:gd name="T45" fmla="*/ 238 h 239"/>
                  <a:gd name="T46" fmla="*/ 139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40 w 181"/>
                  <a:gd name="T55" fmla="*/ 180 h 239"/>
                  <a:gd name="T56" fmla="*/ 128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2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4 w 181"/>
                  <a:gd name="T79" fmla="*/ 74 h 239"/>
                  <a:gd name="T80" fmla="*/ 60 w 181"/>
                  <a:gd name="T81" fmla="*/ 64 h 239"/>
                  <a:gd name="T82" fmla="*/ 68 w 181"/>
                  <a:gd name="T83" fmla="*/ 55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7 w 181"/>
                  <a:gd name="T91" fmla="*/ 43 h 239"/>
                  <a:gd name="T92" fmla="*/ 121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5" y="22"/>
                    </a:lnTo>
                    <a:lnTo>
                      <a:pt x="155" y="16"/>
                    </a:lnTo>
                    <a:lnTo>
                      <a:pt x="146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3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5" y="81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8" y="169"/>
                    </a:lnTo>
                    <a:lnTo>
                      <a:pt x="12" y="179"/>
                    </a:lnTo>
                    <a:lnTo>
                      <a:pt x="17" y="189"/>
                    </a:lnTo>
                    <a:lnTo>
                      <a:pt x="22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9" y="237"/>
                    </a:lnTo>
                    <a:lnTo>
                      <a:pt x="89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4" y="238"/>
                    </a:lnTo>
                    <a:lnTo>
                      <a:pt x="127" y="235"/>
                    </a:lnTo>
                    <a:lnTo>
                      <a:pt x="139" y="231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7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40" y="180"/>
                    </a:lnTo>
                    <a:lnTo>
                      <a:pt x="134" y="185"/>
                    </a:lnTo>
                    <a:lnTo>
                      <a:pt x="128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4" y="196"/>
                    </a:lnTo>
                    <a:lnTo>
                      <a:pt x="88" y="195"/>
                    </a:lnTo>
                    <a:lnTo>
                      <a:pt x="82" y="193"/>
                    </a:lnTo>
                    <a:lnTo>
                      <a:pt x="77" y="190"/>
                    </a:lnTo>
                    <a:lnTo>
                      <a:pt x="72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60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9"/>
                    </a:lnTo>
                    <a:lnTo>
                      <a:pt x="60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7" y="43"/>
                    </a:lnTo>
                    <a:lnTo>
                      <a:pt x="114" y="45"/>
                    </a:lnTo>
                    <a:lnTo>
                      <a:pt x="121" y="47"/>
                    </a:lnTo>
                    <a:lnTo>
                      <a:pt x="128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5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19" name="Freeform 18"/>
              <p:cNvSpPr>
                <a:spLocks noEditPoints="1"/>
              </p:cNvSpPr>
              <p:nvPr userDrawn="1"/>
            </p:nvSpPr>
            <p:spPr bwMode="auto">
              <a:xfrm>
                <a:off x="1077912" y="6149194"/>
                <a:ext cx="77788" cy="95250"/>
              </a:xfrm>
              <a:custGeom>
                <a:avLst/>
                <a:gdLst>
                  <a:gd name="T0" fmla="*/ 197 w 197"/>
                  <a:gd name="T1" fmla="*/ 115 h 239"/>
                  <a:gd name="T2" fmla="*/ 196 w 197"/>
                  <a:gd name="T3" fmla="*/ 92 h 239"/>
                  <a:gd name="T4" fmla="*/ 192 w 197"/>
                  <a:gd name="T5" fmla="*/ 71 h 239"/>
                  <a:gd name="T6" fmla="*/ 184 w 197"/>
                  <a:gd name="T7" fmla="*/ 52 h 239"/>
                  <a:gd name="T8" fmla="*/ 174 w 197"/>
                  <a:gd name="T9" fmla="*/ 34 h 239"/>
                  <a:gd name="T10" fmla="*/ 160 w 197"/>
                  <a:gd name="T11" fmla="*/ 20 h 239"/>
                  <a:gd name="T12" fmla="*/ 144 w 197"/>
                  <a:gd name="T13" fmla="*/ 10 h 239"/>
                  <a:gd name="T14" fmla="*/ 124 w 197"/>
                  <a:gd name="T15" fmla="*/ 3 h 239"/>
                  <a:gd name="T16" fmla="*/ 101 w 197"/>
                  <a:gd name="T17" fmla="*/ 0 h 239"/>
                  <a:gd name="T18" fmla="*/ 90 w 197"/>
                  <a:gd name="T19" fmla="*/ 1 h 239"/>
                  <a:gd name="T20" fmla="*/ 70 w 197"/>
                  <a:gd name="T21" fmla="*/ 5 h 239"/>
                  <a:gd name="T22" fmla="*/ 52 w 197"/>
                  <a:gd name="T23" fmla="*/ 12 h 239"/>
                  <a:gd name="T24" fmla="*/ 35 w 197"/>
                  <a:gd name="T25" fmla="*/ 24 h 239"/>
                  <a:gd name="T26" fmla="*/ 21 w 197"/>
                  <a:gd name="T27" fmla="*/ 39 h 239"/>
                  <a:gd name="T28" fmla="*/ 11 w 197"/>
                  <a:gd name="T29" fmla="*/ 58 h 239"/>
                  <a:gd name="T30" fmla="*/ 4 w 197"/>
                  <a:gd name="T31" fmla="*/ 80 h 239"/>
                  <a:gd name="T32" fmla="*/ 0 w 197"/>
                  <a:gd name="T33" fmla="*/ 106 h 239"/>
                  <a:gd name="T34" fmla="*/ 0 w 197"/>
                  <a:gd name="T35" fmla="*/ 120 h 239"/>
                  <a:gd name="T36" fmla="*/ 2 w 197"/>
                  <a:gd name="T37" fmla="*/ 148 h 239"/>
                  <a:gd name="T38" fmla="*/ 9 w 197"/>
                  <a:gd name="T39" fmla="*/ 172 h 239"/>
                  <a:gd name="T40" fmla="*/ 18 w 197"/>
                  <a:gd name="T41" fmla="*/ 193 h 239"/>
                  <a:gd name="T42" fmla="*/ 30 w 197"/>
                  <a:gd name="T43" fmla="*/ 209 h 239"/>
                  <a:gd name="T44" fmla="*/ 36 w 197"/>
                  <a:gd name="T45" fmla="*/ 215 h 239"/>
                  <a:gd name="T46" fmla="*/ 52 w 197"/>
                  <a:gd name="T47" fmla="*/ 226 h 239"/>
                  <a:gd name="T48" fmla="*/ 69 w 197"/>
                  <a:gd name="T49" fmla="*/ 234 h 239"/>
                  <a:gd name="T50" fmla="*/ 89 w 197"/>
                  <a:gd name="T51" fmla="*/ 238 h 239"/>
                  <a:gd name="T52" fmla="*/ 100 w 197"/>
                  <a:gd name="T53" fmla="*/ 239 h 239"/>
                  <a:gd name="T54" fmla="*/ 125 w 197"/>
                  <a:gd name="T55" fmla="*/ 237 h 239"/>
                  <a:gd name="T56" fmla="*/ 146 w 197"/>
                  <a:gd name="T57" fmla="*/ 231 h 239"/>
                  <a:gd name="T58" fmla="*/ 154 w 197"/>
                  <a:gd name="T59" fmla="*/ 227 h 239"/>
                  <a:gd name="T60" fmla="*/ 170 w 197"/>
                  <a:gd name="T61" fmla="*/ 216 h 239"/>
                  <a:gd name="T62" fmla="*/ 152 w 197"/>
                  <a:gd name="T63" fmla="*/ 180 h 239"/>
                  <a:gd name="T64" fmla="*/ 140 w 197"/>
                  <a:gd name="T65" fmla="*/ 188 h 239"/>
                  <a:gd name="T66" fmla="*/ 129 w 197"/>
                  <a:gd name="T67" fmla="*/ 193 h 239"/>
                  <a:gd name="T68" fmla="*/ 117 w 197"/>
                  <a:gd name="T69" fmla="*/ 197 h 239"/>
                  <a:gd name="T70" fmla="*/ 102 w 197"/>
                  <a:gd name="T71" fmla="*/ 198 h 239"/>
                  <a:gd name="T72" fmla="*/ 92 w 197"/>
                  <a:gd name="T73" fmla="*/ 197 h 239"/>
                  <a:gd name="T74" fmla="*/ 73 w 197"/>
                  <a:gd name="T75" fmla="*/ 190 h 239"/>
                  <a:gd name="T76" fmla="*/ 58 w 197"/>
                  <a:gd name="T77" fmla="*/ 175 h 239"/>
                  <a:gd name="T78" fmla="*/ 48 w 197"/>
                  <a:gd name="T79" fmla="*/ 151 h 239"/>
                  <a:gd name="T80" fmla="*/ 196 w 197"/>
                  <a:gd name="T81" fmla="*/ 136 h 239"/>
                  <a:gd name="T82" fmla="*/ 197 w 197"/>
                  <a:gd name="T83" fmla="*/ 127 h 239"/>
                  <a:gd name="T84" fmla="*/ 197 w 197"/>
                  <a:gd name="T85" fmla="*/ 115 h 239"/>
                  <a:gd name="T86" fmla="*/ 45 w 197"/>
                  <a:gd name="T87" fmla="*/ 98 h 239"/>
                  <a:gd name="T88" fmla="*/ 51 w 197"/>
                  <a:gd name="T89" fmla="*/ 74 h 239"/>
                  <a:gd name="T90" fmla="*/ 62 w 197"/>
                  <a:gd name="T91" fmla="*/ 56 h 239"/>
                  <a:gd name="T92" fmla="*/ 77 w 197"/>
                  <a:gd name="T93" fmla="*/ 45 h 239"/>
                  <a:gd name="T94" fmla="*/ 98 w 197"/>
                  <a:gd name="T95" fmla="*/ 41 h 239"/>
                  <a:gd name="T96" fmla="*/ 105 w 197"/>
                  <a:gd name="T97" fmla="*/ 41 h 239"/>
                  <a:gd name="T98" fmla="*/ 117 w 197"/>
                  <a:gd name="T99" fmla="*/ 44 h 239"/>
                  <a:gd name="T100" fmla="*/ 127 w 197"/>
                  <a:gd name="T101" fmla="*/ 48 h 239"/>
                  <a:gd name="T102" fmla="*/ 138 w 197"/>
                  <a:gd name="T103" fmla="*/ 58 h 239"/>
                  <a:gd name="T104" fmla="*/ 148 w 197"/>
                  <a:gd name="T105" fmla="*/ 76 h 239"/>
                  <a:gd name="T106" fmla="*/ 152 w 197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7" h="239">
                    <a:moveTo>
                      <a:pt x="197" y="115"/>
                    </a:moveTo>
                    <a:lnTo>
                      <a:pt x="197" y="115"/>
                    </a:lnTo>
                    <a:lnTo>
                      <a:pt x="197" y="104"/>
                    </a:lnTo>
                    <a:lnTo>
                      <a:pt x="196" y="92"/>
                    </a:lnTo>
                    <a:lnTo>
                      <a:pt x="194" y="81"/>
                    </a:lnTo>
                    <a:lnTo>
                      <a:pt x="192" y="71"/>
                    </a:lnTo>
                    <a:lnTo>
                      <a:pt x="188" y="61"/>
                    </a:lnTo>
                    <a:lnTo>
                      <a:pt x="184" y="52"/>
                    </a:lnTo>
                    <a:lnTo>
                      <a:pt x="179" y="43"/>
                    </a:lnTo>
                    <a:lnTo>
                      <a:pt x="174" y="34"/>
                    </a:lnTo>
                    <a:lnTo>
                      <a:pt x="167" y="27"/>
                    </a:lnTo>
                    <a:lnTo>
                      <a:pt x="160" y="20"/>
                    </a:lnTo>
                    <a:lnTo>
                      <a:pt x="152" y="14"/>
                    </a:lnTo>
                    <a:lnTo>
                      <a:pt x="144" y="10"/>
                    </a:lnTo>
                    <a:lnTo>
                      <a:pt x="134" y="6"/>
                    </a:lnTo>
                    <a:lnTo>
                      <a:pt x="124" y="3"/>
                    </a:lnTo>
                    <a:lnTo>
                      <a:pt x="113" y="1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0" y="8"/>
                    </a:lnTo>
                    <a:lnTo>
                      <a:pt x="52" y="12"/>
                    </a:lnTo>
                    <a:lnTo>
                      <a:pt x="42" y="18"/>
                    </a:lnTo>
                    <a:lnTo>
                      <a:pt x="35" y="24"/>
                    </a:lnTo>
                    <a:lnTo>
                      <a:pt x="28" y="31"/>
                    </a:lnTo>
                    <a:lnTo>
                      <a:pt x="21" y="39"/>
                    </a:lnTo>
                    <a:lnTo>
                      <a:pt x="16" y="48"/>
                    </a:lnTo>
                    <a:lnTo>
                      <a:pt x="11" y="58"/>
                    </a:lnTo>
                    <a:lnTo>
                      <a:pt x="7" y="68"/>
                    </a:lnTo>
                    <a:lnTo>
                      <a:pt x="4" y="80"/>
                    </a:lnTo>
                    <a:lnTo>
                      <a:pt x="2" y="92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4"/>
                    </a:lnTo>
                    <a:lnTo>
                      <a:pt x="2" y="148"/>
                    </a:lnTo>
                    <a:lnTo>
                      <a:pt x="5" y="160"/>
                    </a:lnTo>
                    <a:lnTo>
                      <a:pt x="9" y="172"/>
                    </a:lnTo>
                    <a:lnTo>
                      <a:pt x="13" y="183"/>
                    </a:lnTo>
                    <a:lnTo>
                      <a:pt x="18" y="193"/>
                    </a:lnTo>
                    <a:lnTo>
                      <a:pt x="24" y="201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0"/>
                    </a:lnTo>
                    <a:lnTo>
                      <a:pt x="52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8" y="236"/>
                    </a:lnTo>
                    <a:lnTo>
                      <a:pt x="89" y="238"/>
                    </a:lnTo>
                    <a:lnTo>
                      <a:pt x="100" y="239"/>
                    </a:lnTo>
                    <a:lnTo>
                      <a:pt x="100" y="239"/>
                    </a:lnTo>
                    <a:lnTo>
                      <a:pt x="113" y="238"/>
                    </a:lnTo>
                    <a:lnTo>
                      <a:pt x="125" y="237"/>
                    </a:lnTo>
                    <a:lnTo>
                      <a:pt x="136" y="234"/>
                    </a:lnTo>
                    <a:lnTo>
                      <a:pt x="146" y="231"/>
                    </a:lnTo>
                    <a:lnTo>
                      <a:pt x="146" y="231"/>
                    </a:lnTo>
                    <a:lnTo>
                      <a:pt x="154" y="227"/>
                    </a:lnTo>
                    <a:lnTo>
                      <a:pt x="162" y="222"/>
                    </a:lnTo>
                    <a:lnTo>
                      <a:pt x="170" y="216"/>
                    </a:lnTo>
                    <a:lnTo>
                      <a:pt x="179" y="209"/>
                    </a:lnTo>
                    <a:lnTo>
                      <a:pt x="152" y="180"/>
                    </a:lnTo>
                    <a:lnTo>
                      <a:pt x="152" y="180"/>
                    </a:lnTo>
                    <a:lnTo>
                      <a:pt x="140" y="188"/>
                    </a:lnTo>
                    <a:lnTo>
                      <a:pt x="129" y="193"/>
                    </a:lnTo>
                    <a:lnTo>
                      <a:pt x="129" y="193"/>
                    </a:lnTo>
                    <a:lnTo>
                      <a:pt x="123" y="195"/>
                    </a:lnTo>
                    <a:lnTo>
                      <a:pt x="117" y="197"/>
                    </a:lnTo>
                    <a:lnTo>
                      <a:pt x="110" y="198"/>
                    </a:lnTo>
                    <a:lnTo>
                      <a:pt x="102" y="198"/>
                    </a:lnTo>
                    <a:lnTo>
                      <a:pt x="102" y="198"/>
                    </a:lnTo>
                    <a:lnTo>
                      <a:pt x="92" y="197"/>
                    </a:lnTo>
                    <a:lnTo>
                      <a:pt x="82" y="195"/>
                    </a:lnTo>
                    <a:lnTo>
                      <a:pt x="73" y="190"/>
                    </a:lnTo>
                    <a:lnTo>
                      <a:pt x="65" y="183"/>
                    </a:lnTo>
                    <a:lnTo>
                      <a:pt x="58" y="175"/>
                    </a:lnTo>
                    <a:lnTo>
                      <a:pt x="52" y="164"/>
                    </a:lnTo>
                    <a:lnTo>
                      <a:pt x="48" y="151"/>
                    </a:lnTo>
                    <a:lnTo>
                      <a:pt x="44" y="136"/>
                    </a:lnTo>
                    <a:lnTo>
                      <a:pt x="196" y="136"/>
                    </a:lnTo>
                    <a:lnTo>
                      <a:pt x="196" y="136"/>
                    </a:lnTo>
                    <a:lnTo>
                      <a:pt x="197" y="127"/>
                    </a:lnTo>
                    <a:lnTo>
                      <a:pt x="197" y="115"/>
                    </a:lnTo>
                    <a:lnTo>
                      <a:pt x="197" y="115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8" y="85"/>
                    </a:lnTo>
                    <a:lnTo>
                      <a:pt x="51" y="74"/>
                    </a:lnTo>
                    <a:lnTo>
                      <a:pt x="56" y="64"/>
                    </a:lnTo>
                    <a:lnTo>
                      <a:pt x="62" y="56"/>
                    </a:lnTo>
                    <a:lnTo>
                      <a:pt x="69" y="49"/>
                    </a:lnTo>
                    <a:lnTo>
                      <a:pt x="77" y="45"/>
                    </a:lnTo>
                    <a:lnTo>
                      <a:pt x="87" y="42"/>
                    </a:lnTo>
                    <a:lnTo>
                      <a:pt x="98" y="41"/>
                    </a:lnTo>
                    <a:lnTo>
                      <a:pt x="98" y="41"/>
                    </a:lnTo>
                    <a:lnTo>
                      <a:pt x="105" y="41"/>
                    </a:lnTo>
                    <a:lnTo>
                      <a:pt x="111" y="42"/>
                    </a:lnTo>
                    <a:lnTo>
                      <a:pt x="117" y="44"/>
                    </a:lnTo>
                    <a:lnTo>
                      <a:pt x="122" y="45"/>
                    </a:lnTo>
                    <a:lnTo>
                      <a:pt x="127" y="48"/>
                    </a:lnTo>
                    <a:lnTo>
                      <a:pt x="131" y="51"/>
                    </a:lnTo>
                    <a:lnTo>
                      <a:pt x="138" y="58"/>
                    </a:lnTo>
                    <a:lnTo>
                      <a:pt x="144" y="66"/>
                    </a:lnTo>
                    <a:lnTo>
                      <a:pt x="148" y="76"/>
                    </a:lnTo>
                    <a:lnTo>
                      <a:pt x="151" y="87"/>
                    </a:lnTo>
                    <a:lnTo>
                      <a:pt x="152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3" name="Freeform 22"/>
              <p:cNvSpPr>
                <a:spLocks/>
              </p:cNvSpPr>
              <p:nvPr userDrawn="1"/>
            </p:nvSpPr>
            <p:spPr bwMode="auto">
              <a:xfrm>
                <a:off x="1169987" y="6149194"/>
                <a:ext cx="73025" cy="95250"/>
              </a:xfrm>
              <a:custGeom>
                <a:avLst/>
                <a:gdLst>
                  <a:gd name="T0" fmla="*/ 181 w 181"/>
                  <a:gd name="T1" fmla="*/ 39 h 239"/>
                  <a:gd name="T2" fmla="*/ 165 w 181"/>
                  <a:gd name="T3" fmla="*/ 22 h 239"/>
                  <a:gd name="T4" fmla="*/ 145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3 w 181"/>
                  <a:gd name="T19" fmla="*/ 40 h 239"/>
                  <a:gd name="T20" fmla="*/ 12 w 181"/>
                  <a:gd name="T21" fmla="*/ 59 h 239"/>
                  <a:gd name="T22" fmla="*/ 5 w 181"/>
                  <a:gd name="T23" fmla="*/ 81 h 239"/>
                  <a:gd name="T24" fmla="*/ 1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8 w 181"/>
                  <a:gd name="T31" fmla="*/ 169 h 239"/>
                  <a:gd name="T32" fmla="*/ 17 w 181"/>
                  <a:gd name="T33" fmla="*/ 189 h 239"/>
                  <a:gd name="T34" fmla="*/ 29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9 w 181"/>
                  <a:gd name="T41" fmla="*/ 237 h 239"/>
                  <a:gd name="T42" fmla="*/ 99 w 181"/>
                  <a:gd name="T43" fmla="*/ 239 h 239"/>
                  <a:gd name="T44" fmla="*/ 114 w 181"/>
                  <a:gd name="T45" fmla="*/ 238 h 239"/>
                  <a:gd name="T46" fmla="*/ 138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40 w 181"/>
                  <a:gd name="T55" fmla="*/ 180 h 239"/>
                  <a:gd name="T56" fmla="*/ 128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2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4 w 181"/>
                  <a:gd name="T79" fmla="*/ 74 h 239"/>
                  <a:gd name="T80" fmla="*/ 60 w 181"/>
                  <a:gd name="T81" fmla="*/ 64 h 239"/>
                  <a:gd name="T82" fmla="*/ 68 w 181"/>
                  <a:gd name="T83" fmla="*/ 55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7 w 181"/>
                  <a:gd name="T91" fmla="*/ 43 h 239"/>
                  <a:gd name="T92" fmla="*/ 121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5" y="22"/>
                    </a:lnTo>
                    <a:lnTo>
                      <a:pt x="155" y="16"/>
                    </a:lnTo>
                    <a:lnTo>
                      <a:pt x="145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3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5" y="81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8" y="169"/>
                    </a:lnTo>
                    <a:lnTo>
                      <a:pt x="12" y="179"/>
                    </a:lnTo>
                    <a:lnTo>
                      <a:pt x="17" y="189"/>
                    </a:lnTo>
                    <a:lnTo>
                      <a:pt x="22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9" y="237"/>
                    </a:lnTo>
                    <a:lnTo>
                      <a:pt x="89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4" y="238"/>
                    </a:lnTo>
                    <a:lnTo>
                      <a:pt x="127" y="235"/>
                    </a:lnTo>
                    <a:lnTo>
                      <a:pt x="138" y="231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7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40" y="180"/>
                    </a:lnTo>
                    <a:lnTo>
                      <a:pt x="134" y="185"/>
                    </a:lnTo>
                    <a:lnTo>
                      <a:pt x="128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4" y="196"/>
                    </a:lnTo>
                    <a:lnTo>
                      <a:pt x="88" y="195"/>
                    </a:lnTo>
                    <a:lnTo>
                      <a:pt x="82" y="193"/>
                    </a:lnTo>
                    <a:lnTo>
                      <a:pt x="77" y="190"/>
                    </a:lnTo>
                    <a:lnTo>
                      <a:pt x="72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60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9"/>
                    </a:lnTo>
                    <a:lnTo>
                      <a:pt x="60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7" y="43"/>
                    </a:lnTo>
                    <a:lnTo>
                      <a:pt x="114" y="45"/>
                    </a:lnTo>
                    <a:lnTo>
                      <a:pt x="121" y="47"/>
                    </a:lnTo>
                    <a:lnTo>
                      <a:pt x="128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5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4" name="Freeform 23"/>
              <p:cNvSpPr>
                <a:spLocks/>
              </p:cNvSpPr>
              <p:nvPr userDrawn="1"/>
            </p:nvSpPr>
            <p:spPr bwMode="auto">
              <a:xfrm>
                <a:off x="1252537" y="6150782"/>
                <a:ext cx="73025" cy="92075"/>
              </a:xfrm>
              <a:custGeom>
                <a:avLst/>
                <a:gdLst>
                  <a:gd name="T0" fmla="*/ 185 w 185"/>
                  <a:gd name="T1" fmla="*/ 39 h 229"/>
                  <a:gd name="T2" fmla="*/ 185 w 185"/>
                  <a:gd name="T3" fmla="*/ 0 h 229"/>
                  <a:gd name="T4" fmla="*/ 0 w 185"/>
                  <a:gd name="T5" fmla="*/ 0 h 229"/>
                  <a:gd name="T6" fmla="*/ 0 w 185"/>
                  <a:gd name="T7" fmla="*/ 39 h 229"/>
                  <a:gd name="T8" fmla="*/ 70 w 185"/>
                  <a:gd name="T9" fmla="*/ 39 h 229"/>
                  <a:gd name="T10" fmla="*/ 70 w 185"/>
                  <a:gd name="T11" fmla="*/ 229 h 229"/>
                  <a:gd name="T12" fmla="*/ 116 w 185"/>
                  <a:gd name="T13" fmla="*/ 229 h 229"/>
                  <a:gd name="T14" fmla="*/ 116 w 185"/>
                  <a:gd name="T15" fmla="*/ 39 h 229"/>
                  <a:gd name="T16" fmla="*/ 185 w 185"/>
                  <a:gd name="T17" fmla="*/ 3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5" h="229">
                    <a:moveTo>
                      <a:pt x="185" y="39"/>
                    </a:moveTo>
                    <a:lnTo>
                      <a:pt x="185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70" y="39"/>
                    </a:lnTo>
                    <a:lnTo>
                      <a:pt x="70" y="229"/>
                    </a:lnTo>
                    <a:lnTo>
                      <a:pt x="116" y="229"/>
                    </a:lnTo>
                    <a:lnTo>
                      <a:pt x="116" y="39"/>
                    </a:lnTo>
                    <a:lnTo>
                      <a:pt x="185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5" name="Freeform 24"/>
              <p:cNvSpPr>
                <a:spLocks noEditPoints="1"/>
              </p:cNvSpPr>
              <p:nvPr userDrawn="1"/>
            </p:nvSpPr>
            <p:spPr bwMode="auto">
              <a:xfrm>
                <a:off x="1338262" y="6150782"/>
                <a:ext cx="74613" cy="92075"/>
              </a:xfrm>
              <a:custGeom>
                <a:avLst/>
                <a:gdLst>
                  <a:gd name="T0" fmla="*/ 44 w 184"/>
                  <a:gd name="T1" fmla="*/ 0 h 229"/>
                  <a:gd name="T2" fmla="*/ 0 w 184"/>
                  <a:gd name="T3" fmla="*/ 0 h 229"/>
                  <a:gd name="T4" fmla="*/ 0 w 184"/>
                  <a:gd name="T5" fmla="*/ 229 h 229"/>
                  <a:gd name="T6" fmla="*/ 105 w 184"/>
                  <a:gd name="T7" fmla="*/ 229 h 229"/>
                  <a:gd name="T8" fmla="*/ 105 w 184"/>
                  <a:gd name="T9" fmla="*/ 229 h 229"/>
                  <a:gd name="T10" fmla="*/ 114 w 184"/>
                  <a:gd name="T11" fmla="*/ 229 h 229"/>
                  <a:gd name="T12" fmla="*/ 122 w 184"/>
                  <a:gd name="T13" fmla="*/ 228 h 229"/>
                  <a:gd name="T14" fmla="*/ 129 w 184"/>
                  <a:gd name="T15" fmla="*/ 226 h 229"/>
                  <a:gd name="T16" fmla="*/ 137 w 184"/>
                  <a:gd name="T17" fmla="*/ 224 h 229"/>
                  <a:gd name="T18" fmla="*/ 144 w 184"/>
                  <a:gd name="T19" fmla="*/ 222 h 229"/>
                  <a:gd name="T20" fmla="*/ 150 w 184"/>
                  <a:gd name="T21" fmla="*/ 218 h 229"/>
                  <a:gd name="T22" fmla="*/ 156 w 184"/>
                  <a:gd name="T23" fmla="*/ 214 h 229"/>
                  <a:gd name="T24" fmla="*/ 162 w 184"/>
                  <a:gd name="T25" fmla="*/ 210 h 229"/>
                  <a:gd name="T26" fmla="*/ 167 w 184"/>
                  <a:gd name="T27" fmla="*/ 205 h 229"/>
                  <a:gd name="T28" fmla="*/ 171 w 184"/>
                  <a:gd name="T29" fmla="*/ 200 h 229"/>
                  <a:gd name="T30" fmla="*/ 175 w 184"/>
                  <a:gd name="T31" fmla="*/ 193 h 229"/>
                  <a:gd name="T32" fmla="*/ 178 w 184"/>
                  <a:gd name="T33" fmla="*/ 187 h 229"/>
                  <a:gd name="T34" fmla="*/ 180 w 184"/>
                  <a:gd name="T35" fmla="*/ 180 h 229"/>
                  <a:gd name="T36" fmla="*/ 182 w 184"/>
                  <a:gd name="T37" fmla="*/ 172 h 229"/>
                  <a:gd name="T38" fmla="*/ 183 w 184"/>
                  <a:gd name="T39" fmla="*/ 163 h 229"/>
                  <a:gd name="T40" fmla="*/ 184 w 184"/>
                  <a:gd name="T41" fmla="*/ 154 h 229"/>
                  <a:gd name="T42" fmla="*/ 184 w 184"/>
                  <a:gd name="T43" fmla="*/ 154 h 229"/>
                  <a:gd name="T44" fmla="*/ 183 w 184"/>
                  <a:gd name="T45" fmla="*/ 146 h 229"/>
                  <a:gd name="T46" fmla="*/ 182 w 184"/>
                  <a:gd name="T47" fmla="*/ 137 h 229"/>
                  <a:gd name="T48" fmla="*/ 180 w 184"/>
                  <a:gd name="T49" fmla="*/ 130 h 229"/>
                  <a:gd name="T50" fmla="*/ 178 w 184"/>
                  <a:gd name="T51" fmla="*/ 122 h 229"/>
                  <a:gd name="T52" fmla="*/ 175 w 184"/>
                  <a:gd name="T53" fmla="*/ 116 h 229"/>
                  <a:gd name="T54" fmla="*/ 171 w 184"/>
                  <a:gd name="T55" fmla="*/ 110 h 229"/>
                  <a:gd name="T56" fmla="*/ 167 w 184"/>
                  <a:gd name="T57" fmla="*/ 104 h 229"/>
                  <a:gd name="T58" fmla="*/ 162 w 184"/>
                  <a:gd name="T59" fmla="*/ 99 h 229"/>
                  <a:gd name="T60" fmla="*/ 157 w 184"/>
                  <a:gd name="T61" fmla="*/ 95 h 229"/>
                  <a:gd name="T62" fmla="*/ 151 w 184"/>
                  <a:gd name="T63" fmla="*/ 91 h 229"/>
                  <a:gd name="T64" fmla="*/ 145 w 184"/>
                  <a:gd name="T65" fmla="*/ 88 h 229"/>
                  <a:gd name="T66" fmla="*/ 138 w 184"/>
                  <a:gd name="T67" fmla="*/ 85 h 229"/>
                  <a:gd name="T68" fmla="*/ 131 w 184"/>
                  <a:gd name="T69" fmla="*/ 83 h 229"/>
                  <a:gd name="T70" fmla="*/ 123 w 184"/>
                  <a:gd name="T71" fmla="*/ 82 h 229"/>
                  <a:gd name="T72" fmla="*/ 116 w 184"/>
                  <a:gd name="T73" fmla="*/ 81 h 229"/>
                  <a:gd name="T74" fmla="*/ 108 w 184"/>
                  <a:gd name="T75" fmla="*/ 81 h 229"/>
                  <a:gd name="T76" fmla="*/ 44 w 184"/>
                  <a:gd name="T77" fmla="*/ 81 h 229"/>
                  <a:gd name="T78" fmla="*/ 44 w 184"/>
                  <a:gd name="T79" fmla="*/ 0 h 229"/>
                  <a:gd name="T80" fmla="*/ 44 w 184"/>
                  <a:gd name="T81" fmla="*/ 192 h 229"/>
                  <a:gd name="T82" fmla="*/ 44 w 184"/>
                  <a:gd name="T83" fmla="*/ 118 h 229"/>
                  <a:gd name="T84" fmla="*/ 102 w 184"/>
                  <a:gd name="T85" fmla="*/ 118 h 229"/>
                  <a:gd name="T86" fmla="*/ 102 w 184"/>
                  <a:gd name="T87" fmla="*/ 118 h 229"/>
                  <a:gd name="T88" fmla="*/ 110 w 184"/>
                  <a:gd name="T89" fmla="*/ 118 h 229"/>
                  <a:gd name="T90" fmla="*/ 117 w 184"/>
                  <a:gd name="T91" fmla="*/ 120 h 229"/>
                  <a:gd name="T92" fmla="*/ 123 w 184"/>
                  <a:gd name="T93" fmla="*/ 123 h 229"/>
                  <a:gd name="T94" fmla="*/ 129 w 184"/>
                  <a:gd name="T95" fmla="*/ 127 h 229"/>
                  <a:gd name="T96" fmla="*/ 133 w 184"/>
                  <a:gd name="T97" fmla="*/ 133 h 229"/>
                  <a:gd name="T98" fmla="*/ 136 w 184"/>
                  <a:gd name="T99" fmla="*/ 139 h 229"/>
                  <a:gd name="T100" fmla="*/ 138 w 184"/>
                  <a:gd name="T101" fmla="*/ 146 h 229"/>
                  <a:gd name="T102" fmla="*/ 139 w 184"/>
                  <a:gd name="T103" fmla="*/ 155 h 229"/>
                  <a:gd name="T104" fmla="*/ 139 w 184"/>
                  <a:gd name="T105" fmla="*/ 155 h 229"/>
                  <a:gd name="T106" fmla="*/ 138 w 184"/>
                  <a:gd name="T107" fmla="*/ 163 h 229"/>
                  <a:gd name="T108" fmla="*/ 136 w 184"/>
                  <a:gd name="T109" fmla="*/ 170 h 229"/>
                  <a:gd name="T110" fmla="*/ 133 w 184"/>
                  <a:gd name="T111" fmla="*/ 177 h 229"/>
                  <a:gd name="T112" fmla="*/ 129 w 184"/>
                  <a:gd name="T113" fmla="*/ 182 h 229"/>
                  <a:gd name="T114" fmla="*/ 124 w 184"/>
                  <a:gd name="T115" fmla="*/ 186 h 229"/>
                  <a:gd name="T116" fmla="*/ 118 w 184"/>
                  <a:gd name="T117" fmla="*/ 189 h 229"/>
                  <a:gd name="T118" fmla="*/ 110 w 184"/>
                  <a:gd name="T119" fmla="*/ 191 h 229"/>
                  <a:gd name="T120" fmla="*/ 102 w 184"/>
                  <a:gd name="T121" fmla="*/ 192 h 229"/>
                  <a:gd name="T122" fmla="*/ 44 w 184"/>
                  <a:gd name="T123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4" h="229">
                    <a:moveTo>
                      <a:pt x="44" y="0"/>
                    </a:moveTo>
                    <a:lnTo>
                      <a:pt x="0" y="0"/>
                    </a:lnTo>
                    <a:lnTo>
                      <a:pt x="0" y="229"/>
                    </a:lnTo>
                    <a:lnTo>
                      <a:pt x="105" y="229"/>
                    </a:lnTo>
                    <a:lnTo>
                      <a:pt x="105" y="229"/>
                    </a:lnTo>
                    <a:lnTo>
                      <a:pt x="114" y="229"/>
                    </a:lnTo>
                    <a:lnTo>
                      <a:pt x="122" y="228"/>
                    </a:lnTo>
                    <a:lnTo>
                      <a:pt x="129" y="226"/>
                    </a:lnTo>
                    <a:lnTo>
                      <a:pt x="137" y="224"/>
                    </a:lnTo>
                    <a:lnTo>
                      <a:pt x="144" y="222"/>
                    </a:lnTo>
                    <a:lnTo>
                      <a:pt x="150" y="218"/>
                    </a:lnTo>
                    <a:lnTo>
                      <a:pt x="156" y="214"/>
                    </a:lnTo>
                    <a:lnTo>
                      <a:pt x="162" y="210"/>
                    </a:lnTo>
                    <a:lnTo>
                      <a:pt x="167" y="205"/>
                    </a:lnTo>
                    <a:lnTo>
                      <a:pt x="171" y="200"/>
                    </a:lnTo>
                    <a:lnTo>
                      <a:pt x="175" y="193"/>
                    </a:lnTo>
                    <a:lnTo>
                      <a:pt x="178" y="187"/>
                    </a:lnTo>
                    <a:lnTo>
                      <a:pt x="180" y="180"/>
                    </a:lnTo>
                    <a:lnTo>
                      <a:pt x="182" y="172"/>
                    </a:lnTo>
                    <a:lnTo>
                      <a:pt x="183" y="163"/>
                    </a:lnTo>
                    <a:lnTo>
                      <a:pt x="184" y="154"/>
                    </a:lnTo>
                    <a:lnTo>
                      <a:pt x="184" y="154"/>
                    </a:lnTo>
                    <a:lnTo>
                      <a:pt x="183" y="146"/>
                    </a:lnTo>
                    <a:lnTo>
                      <a:pt x="182" y="137"/>
                    </a:lnTo>
                    <a:lnTo>
                      <a:pt x="180" y="130"/>
                    </a:lnTo>
                    <a:lnTo>
                      <a:pt x="178" y="122"/>
                    </a:lnTo>
                    <a:lnTo>
                      <a:pt x="175" y="116"/>
                    </a:lnTo>
                    <a:lnTo>
                      <a:pt x="171" y="110"/>
                    </a:lnTo>
                    <a:lnTo>
                      <a:pt x="167" y="104"/>
                    </a:lnTo>
                    <a:lnTo>
                      <a:pt x="162" y="99"/>
                    </a:lnTo>
                    <a:lnTo>
                      <a:pt x="157" y="95"/>
                    </a:lnTo>
                    <a:lnTo>
                      <a:pt x="151" y="91"/>
                    </a:lnTo>
                    <a:lnTo>
                      <a:pt x="145" y="88"/>
                    </a:lnTo>
                    <a:lnTo>
                      <a:pt x="138" y="85"/>
                    </a:lnTo>
                    <a:lnTo>
                      <a:pt x="131" y="83"/>
                    </a:lnTo>
                    <a:lnTo>
                      <a:pt x="123" y="82"/>
                    </a:lnTo>
                    <a:lnTo>
                      <a:pt x="116" y="81"/>
                    </a:lnTo>
                    <a:lnTo>
                      <a:pt x="108" y="81"/>
                    </a:lnTo>
                    <a:lnTo>
                      <a:pt x="44" y="81"/>
                    </a:lnTo>
                    <a:lnTo>
                      <a:pt x="44" y="0"/>
                    </a:lnTo>
                    <a:close/>
                    <a:moveTo>
                      <a:pt x="44" y="192"/>
                    </a:moveTo>
                    <a:lnTo>
                      <a:pt x="44" y="118"/>
                    </a:lnTo>
                    <a:lnTo>
                      <a:pt x="102" y="118"/>
                    </a:lnTo>
                    <a:lnTo>
                      <a:pt x="102" y="118"/>
                    </a:lnTo>
                    <a:lnTo>
                      <a:pt x="110" y="118"/>
                    </a:lnTo>
                    <a:lnTo>
                      <a:pt x="117" y="120"/>
                    </a:lnTo>
                    <a:lnTo>
                      <a:pt x="123" y="123"/>
                    </a:lnTo>
                    <a:lnTo>
                      <a:pt x="129" y="127"/>
                    </a:lnTo>
                    <a:lnTo>
                      <a:pt x="133" y="133"/>
                    </a:lnTo>
                    <a:lnTo>
                      <a:pt x="136" y="139"/>
                    </a:lnTo>
                    <a:lnTo>
                      <a:pt x="138" y="146"/>
                    </a:lnTo>
                    <a:lnTo>
                      <a:pt x="139" y="155"/>
                    </a:lnTo>
                    <a:lnTo>
                      <a:pt x="139" y="155"/>
                    </a:lnTo>
                    <a:lnTo>
                      <a:pt x="138" y="163"/>
                    </a:lnTo>
                    <a:lnTo>
                      <a:pt x="136" y="170"/>
                    </a:lnTo>
                    <a:lnTo>
                      <a:pt x="133" y="177"/>
                    </a:lnTo>
                    <a:lnTo>
                      <a:pt x="129" y="182"/>
                    </a:lnTo>
                    <a:lnTo>
                      <a:pt x="124" y="186"/>
                    </a:lnTo>
                    <a:lnTo>
                      <a:pt x="118" y="189"/>
                    </a:lnTo>
                    <a:lnTo>
                      <a:pt x="110" y="191"/>
                    </a:lnTo>
                    <a:lnTo>
                      <a:pt x="102" y="192"/>
                    </a:lnTo>
                    <a:lnTo>
                      <a:pt x="44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6" name="Freeform 25"/>
              <p:cNvSpPr>
                <a:spLocks noEditPoints="1"/>
              </p:cNvSpPr>
              <p:nvPr userDrawn="1"/>
            </p:nvSpPr>
            <p:spPr bwMode="auto">
              <a:xfrm>
                <a:off x="1474787" y="6150782"/>
                <a:ext cx="73025" cy="92075"/>
              </a:xfrm>
              <a:custGeom>
                <a:avLst/>
                <a:gdLst>
                  <a:gd name="T0" fmla="*/ 0 w 185"/>
                  <a:gd name="T1" fmla="*/ 229 h 229"/>
                  <a:gd name="T2" fmla="*/ 106 w 185"/>
                  <a:gd name="T3" fmla="*/ 229 h 229"/>
                  <a:gd name="T4" fmla="*/ 132 w 185"/>
                  <a:gd name="T5" fmla="*/ 227 h 229"/>
                  <a:gd name="T6" fmla="*/ 147 w 185"/>
                  <a:gd name="T7" fmla="*/ 222 h 229"/>
                  <a:gd name="T8" fmla="*/ 159 w 185"/>
                  <a:gd name="T9" fmla="*/ 215 h 229"/>
                  <a:gd name="T10" fmla="*/ 169 w 185"/>
                  <a:gd name="T11" fmla="*/ 207 h 229"/>
                  <a:gd name="T12" fmla="*/ 177 w 185"/>
                  <a:gd name="T13" fmla="*/ 196 h 229"/>
                  <a:gd name="T14" fmla="*/ 182 w 185"/>
                  <a:gd name="T15" fmla="*/ 182 h 229"/>
                  <a:gd name="T16" fmla="*/ 184 w 185"/>
                  <a:gd name="T17" fmla="*/ 167 h 229"/>
                  <a:gd name="T18" fmla="*/ 185 w 185"/>
                  <a:gd name="T19" fmla="*/ 159 h 229"/>
                  <a:gd name="T20" fmla="*/ 181 w 185"/>
                  <a:gd name="T21" fmla="*/ 138 h 229"/>
                  <a:gd name="T22" fmla="*/ 173 w 185"/>
                  <a:gd name="T23" fmla="*/ 122 h 229"/>
                  <a:gd name="T24" fmla="*/ 161 w 185"/>
                  <a:gd name="T25" fmla="*/ 112 h 229"/>
                  <a:gd name="T26" fmla="*/ 148 w 185"/>
                  <a:gd name="T27" fmla="*/ 106 h 229"/>
                  <a:gd name="T28" fmla="*/ 154 w 185"/>
                  <a:gd name="T29" fmla="*/ 102 h 229"/>
                  <a:gd name="T30" fmla="*/ 165 w 185"/>
                  <a:gd name="T31" fmla="*/ 94 h 229"/>
                  <a:gd name="T32" fmla="*/ 173 w 185"/>
                  <a:gd name="T33" fmla="*/ 82 h 229"/>
                  <a:gd name="T34" fmla="*/ 177 w 185"/>
                  <a:gd name="T35" fmla="*/ 68 h 229"/>
                  <a:gd name="T36" fmla="*/ 178 w 185"/>
                  <a:gd name="T37" fmla="*/ 60 h 229"/>
                  <a:gd name="T38" fmla="*/ 176 w 185"/>
                  <a:gd name="T39" fmla="*/ 46 h 229"/>
                  <a:gd name="T40" fmla="*/ 173 w 185"/>
                  <a:gd name="T41" fmla="*/ 34 h 229"/>
                  <a:gd name="T42" fmla="*/ 167 w 185"/>
                  <a:gd name="T43" fmla="*/ 24 h 229"/>
                  <a:gd name="T44" fmla="*/ 160 w 185"/>
                  <a:gd name="T45" fmla="*/ 15 h 229"/>
                  <a:gd name="T46" fmla="*/ 150 w 185"/>
                  <a:gd name="T47" fmla="*/ 9 h 229"/>
                  <a:gd name="T48" fmla="*/ 126 w 185"/>
                  <a:gd name="T49" fmla="*/ 1 h 229"/>
                  <a:gd name="T50" fmla="*/ 0 w 185"/>
                  <a:gd name="T51" fmla="*/ 0 h 229"/>
                  <a:gd name="T52" fmla="*/ 45 w 185"/>
                  <a:gd name="T53" fmla="*/ 37 h 229"/>
                  <a:gd name="T54" fmla="*/ 104 w 185"/>
                  <a:gd name="T55" fmla="*/ 37 h 229"/>
                  <a:gd name="T56" fmla="*/ 117 w 185"/>
                  <a:gd name="T57" fmla="*/ 39 h 229"/>
                  <a:gd name="T58" fmla="*/ 126 w 185"/>
                  <a:gd name="T59" fmla="*/ 45 h 229"/>
                  <a:gd name="T60" fmla="*/ 131 w 185"/>
                  <a:gd name="T61" fmla="*/ 53 h 229"/>
                  <a:gd name="T62" fmla="*/ 133 w 185"/>
                  <a:gd name="T63" fmla="*/ 64 h 229"/>
                  <a:gd name="T64" fmla="*/ 132 w 185"/>
                  <a:gd name="T65" fmla="*/ 69 h 229"/>
                  <a:gd name="T66" fmla="*/ 129 w 185"/>
                  <a:gd name="T67" fmla="*/ 78 h 229"/>
                  <a:gd name="T68" fmla="*/ 122 w 185"/>
                  <a:gd name="T69" fmla="*/ 85 h 229"/>
                  <a:gd name="T70" fmla="*/ 111 w 185"/>
                  <a:gd name="T71" fmla="*/ 89 h 229"/>
                  <a:gd name="T72" fmla="*/ 45 w 185"/>
                  <a:gd name="T73" fmla="*/ 90 h 229"/>
                  <a:gd name="T74" fmla="*/ 45 w 185"/>
                  <a:gd name="T75" fmla="*/ 127 h 229"/>
                  <a:gd name="T76" fmla="*/ 105 w 185"/>
                  <a:gd name="T77" fmla="*/ 127 h 229"/>
                  <a:gd name="T78" fmla="*/ 120 w 185"/>
                  <a:gd name="T79" fmla="*/ 129 h 229"/>
                  <a:gd name="T80" fmla="*/ 131 w 185"/>
                  <a:gd name="T81" fmla="*/ 136 h 229"/>
                  <a:gd name="T82" fmla="*/ 137 w 185"/>
                  <a:gd name="T83" fmla="*/ 146 h 229"/>
                  <a:gd name="T84" fmla="*/ 140 w 185"/>
                  <a:gd name="T85" fmla="*/ 160 h 229"/>
                  <a:gd name="T86" fmla="*/ 139 w 185"/>
                  <a:gd name="T87" fmla="*/ 167 h 229"/>
                  <a:gd name="T88" fmla="*/ 135 w 185"/>
                  <a:gd name="T89" fmla="*/ 178 h 229"/>
                  <a:gd name="T90" fmla="*/ 127 w 185"/>
                  <a:gd name="T91" fmla="*/ 187 h 229"/>
                  <a:gd name="T92" fmla="*/ 113 w 185"/>
                  <a:gd name="T93" fmla="*/ 191 h 229"/>
                  <a:gd name="T94" fmla="*/ 45 w 185"/>
                  <a:gd name="T95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5" h="229">
                    <a:moveTo>
                      <a:pt x="0" y="0"/>
                    </a:moveTo>
                    <a:lnTo>
                      <a:pt x="0" y="229"/>
                    </a:lnTo>
                    <a:lnTo>
                      <a:pt x="106" y="229"/>
                    </a:lnTo>
                    <a:lnTo>
                      <a:pt x="106" y="229"/>
                    </a:lnTo>
                    <a:lnTo>
                      <a:pt x="124" y="228"/>
                    </a:lnTo>
                    <a:lnTo>
                      <a:pt x="132" y="227"/>
                    </a:lnTo>
                    <a:lnTo>
                      <a:pt x="140" y="225"/>
                    </a:lnTo>
                    <a:lnTo>
                      <a:pt x="147" y="222"/>
                    </a:lnTo>
                    <a:lnTo>
                      <a:pt x="153" y="219"/>
                    </a:lnTo>
                    <a:lnTo>
                      <a:pt x="159" y="215"/>
                    </a:lnTo>
                    <a:lnTo>
                      <a:pt x="164" y="211"/>
                    </a:lnTo>
                    <a:lnTo>
                      <a:pt x="169" y="207"/>
                    </a:lnTo>
                    <a:lnTo>
                      <a:pt x="173" y="201"/>
                    </a:lnTo>
                    <a:lnTo>
                      <a:pt x="177" y="196"/>
                    </a:lnTo>
                    <a:lnTo>
                      <a:pt x="179" y="189"/>
                    </a:lnTo>
                    <a:lnTo>
                      <a:pt x="182" y="182"/>
                    </a:lnTo>
                    <a:lnTo>
                      <a:pt x="183" y="175"/>
                    </a:lnTo>
                    <a:lnTo>
                      <a:pt x="184" y="167"/>
                    </a:lnTo>
                    <a:lnTo>
                      <a:pt x="185" y="159"/>
                    </a:lnTo>
                    <a:lnTo>
                      <a:pt x="185" y="159"/>
                    </a:lnTo>
                    <a:lnTo>
                      <a:pt x="184" y="148"/>
                    </a:lnTo>
                    <a:lnTo>
                      <a:pt x="181" y="138"/>
                    </a:lnTo>
                    <a:lnTo>
                      <a:pt x="178" y="129"/>
                    </a:lnTo>
                    <a:lnTo>
                      <a:pt x="173" y="122"/>
                    </a:lnTo>
                    <a:lnTo>
                      <a:pt x="167" y="116"/>
                    </a:lnTo>
                    <a:lnTo>
                      <a:pt x="161" y="112"/>
                    </a:lnTo>
                    <a:lnTo>
                      <a:pt x="154" y="108"/>
                    </a:lnTo>
                    <a:lnTo>
                      <a:pt x="148" y="106"/>
                    </a:lnTo>
                    <a:lnTo>
                      <a:pt x="148" y="106"/>
                    </a:lnTo>
                    <a:lnTo>
                      <a:pt x="154" y="102"/>
                    </a:lnTo>
                    <a:lnTo>
                      <a:pt x="159" y="98"/>
                    </a:lnTo>
                    <a:lnTo>
                      <a:pt x="165" y="94"/>
                    </a:lnTo>
                    <a:lnTo>
                      <a:pt x="169" y="88"/>
                    </a:lnTo>
                    <a:lnTo>
                      <a:pt x="173" y="82"/>
                    </a:lnTo>
                    <a:lnTo>
                      <a:pt x="175" y="76"/>
                    </a:lnTo>
                    <a:lnTo>
                      <a:pt x="177" y="68"/>
                    </a:lnTo>
                    <a:lnTo>
                      <a:pt x="178" y="60"/>
                    </a:lnTo>
                    <a:lnTo>
                      <a:pt x="178" y="60"/>
                    </a:lnTo>
                    <a:lnTo>
                      <a:pt x="177" y="53"/>
                    </a:lnTo>
                    <a:lnTo>
                      <a:pt x="176" y="46"/>
                    </a:lnTo>
                    <a:lnTo>
                      <a:pt x="175" y="40"/>
                    </a:lnTo>
                    <a:lnTo>
                      <a:pt x="173" y="34"/>
                    </a:lnTo>
                    <a:lnTo>
                      <a:pt x="170" y="29"/>
                    </a:lnTo>
                    <a:lnTo>
                      <a:pt x="167" y="24"/>
                    </a:lnTo>
                    <a:lnTo>
                      <a:pt x="164" y="19"/>
                    </a:lnTo>
                    <a:lnTo>
                      <a:pt x="160" y="15"/>
                    </a:lnTo>
                    <a:lnTo>
                      <a:pt x="155" y="12"/>
                    </a:lnTo>
                    <a:lnTo>
                      <a:pt x="150" y="9"/>
                    </a:lnTo>
                    <a:lnTo>
                      <a:pt x="139" y="4"/>
                    </a:lnTo>
                    <a:lnTo>
                      <a:pt x="126" y="1"/>
                    </a:lnTo>
                    <a:lnTo>
                      <a:pt x="112" y="0"/>
                    </a:lnTo>
                    <a:lnTo>
                      <a:pt x="0" y="0"/>
                    </a:lnTo>
                    <a:close/>
                    <a:moveTo>
                      <a:pt x="45" y="90"/>
                    </a:moveTo>
                    <a:lnTo>
                      <a:pt x="45" y="37"/>
                    </a:lnTo>
                    <a:lnTo>
                      <a:pt x="104" y="37"/>
                    </a:lnTo>
                    <a:lnTo>
                      <a:pt x="104" y="37"/>
                    </a:lnTo>
                    <a:lnTo>
                      <a:pt x="112" y="38"/>
                    </a:lnTo>
                    <a:lnTo>
                      <a:pt x="117" y="39"/>
                    </a:lnTo>
                    <a:lnTo>
                      <a:pt x="122" y="42"/>
                    </a:lnTo>
                    <a:lnTo>
                      <a:pt x="126" y="45"/>
                    </a:lnTo>
                    <a:lnTo>
                      <a:pt x="129" y="49"/>
                    </a:lnTo>
                    <a:lnTo>
                      <a:pt x="131" y="53"/>
                    </a:lnTo>
                    <a:lnTo>
                      <a:pt x="132" y="58"/>
                    </a:lnTo>
                    <a:lnTo>
                      <a:pt x="133" y="64"/>
                    </a:lnTo>
                    <a:lnTo>
                      <a:pt x="133" y="64"/>
                    </a:lnTo>
                    <a:lnTo>
                      <a:pt x="132" y="69"/>
                    </a:lnTo>
                    <a:lnTo>
                      <a:pt x="131" y="74"/>
                    </a:lnTo>
                    <a:lnTo>
                      <a:pt x="129" y="78"/>
                    </a:lnTo>
                    <a:lnTo>
                      <a:pt x="126" y="82"/>
                    </a:lnTo>
                    <a:lnTo>
                      <a:pt x="122" y="85"/>
                    </a:lnTo>
                    <a:lnTo>
                      <a:pt x="117" y="88"/>
                    </a:lnTo>
                    <a:lnTo>
                      <a:pt x="111" y="89"/>
                    </a:lnTo>
                    <a:lnTo>
                      <a:pt x="104" y="90"/>
                    </a:lnTo>
                    <a:lnTo>
                      <a:pt x="45" y="90"/>
                    </a:lnTo>
                    <a:close/>
                    <a:moveTo>
                      <a:pt x="45" y="192"/>
                    </a:moveTo>
                    <a:lnTo>
                      <a:pt x="45" y="127"/>
                    </a:lnTo>
                    <a:lnTo>
                      <a:pt x="105" y="127"/>
                    </a:lnTo>
                    <a:lnTo>
                      <a:pt x="105" y="127"/>
                    </a:lnTo>
                    <a:lnTo>
                      <a:pt x="113" y="128"/>
                    </a:lnTo>
                    <a:lnTo>
                      <a:pt x="120" y="129"/>
                    </a:lnTo>
                    <a:lnTo>
                      <a:pt x="126" y="132"/>
                    </a:lnTo>
                    <a:lnTo>
                      <a:pt x="131" y="136"/>
                    </a:lnTo>
                    <a:lnTo>
                      <a:pt x="135" y="141"/>
                    </a:lnTo>
                    <a:lnTo>
                      <a:pt x="137" y="146"/>
                    </a:lnTo>
                    <a:lnTo>
                      <a:pt x="139" y="153"/>
                    </a:lnTo>
                    <a:lnTo>
                      <a:pt x="140" y="160"/>
                    </a:lnTo>
                    <a:lnTo>
                      <a:pt x="140" y="160"/>
                    </a:lnTo>
                    <a:lnTo>
                      <a:pt x="139" y="167"/>
                    </a:lnTo>
                    <a:lnTo>
                      <a:pt x="138" y="173"/>
                    </a:lnTo>
                    <a:lnTo>
                      <a:pt x="135" y="178"/>
                    </a:lnTo>
                    <a:lnTo>
                      <a:pt x="132" y="183"/>
                    </a:lnTo>
                    <a:lnTo>
                      <a:pt x="127" y="187"/>
                    </a:lnTo>
                    <a:lnTo>
                      <a:pt x="121" y="190"/>
                    </a:lnTo>
                    <a:lnTo>
                      <a:pt x="113" y="191"/>
                    </a:lnTo>
                    <a:lnTo>
                      <a:pt x="104" y="192"/>
                    </a:lnTo>
                    <a:lnTo>
                      <a:pt x="45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7" name="Freeform 26"/>
              <p:cNvSpPr>
                <a:spLocks noEditPoints="1"/>
              </p:cNvSpPr>
              <p:nvPr userDrawn="1"/>
            </p:nvSpPr>
            <p:spPr bwMode="auto">
              <a:xfrm>
                <a:off x="1560512" y="6149194"/>
                <a:ext cx="80963" cy="95250"/>
              </a:xfrm>
              <a:custGeom>
                <a:avLst/>
                <a:gdLst>
                  <a:gd name="T0" fmla="*/ 203 w 204"/>
                  <a:gd name="T1" fmla="*/ 105 h 239"/>
                  <a:gd name="T2" fmla="*/ 196 w 204"/>
                  <a:gd name="T3" fmla="*/ 70 h 239"/>
                  <a:gd name="T4" fmla="*/ 181 w 204"/>
                  <a:gd name="T5" fmla="*/ 41 h 239"/>
                  <a:gd name="T6" fmla="*/ 160 w 204"/>
                  <a:gd name="T7" fmla="*/ 19 h 239"/>
                  <a:gd name="T8" fmla="*/ 133 w 204"/>
                  <a:gd name="T9" fmla="*/ 5 h 239"/>
                  <a:gd name="T10" fmla="*/ 102 w 204"/>
                  <a:gd name="T11" fmla="*/ 0 h 239"/>
                  <a:gd name="T12" fmla="*/ 81 w 204"/>
                  <a:gd name="T13" fmla="*/ 2 h 239"/>
                  <a:gd name="T14" fmla="*/ 53 w 204"/>
                  <a:gd name="T15" fmla="*/ 13 h 239"/>
                  <a:gd name="T16" fmla="*/ 29 w 204"/>
                  <a:gd name="T17" fmla="*/ 32 h 239"/>
                  <a:gd name="T18" fmla="*/ 12 w 204"/>
                  <a:gd name="T19" fmla="*/ 59 h 239"/>
                  <a:gd name="T20" fmla="*/ 2 w 204"/>
                  <a:gd name="T21" fmla="*/ 93 h 239"/>
                  <a:gd name="T22" fmla="*/ 0 w 204"/>
                  <a:gd name="T23" fmla="*/ 120 h 239"/>
                  <a:gd name="T24" fmla="*/ 4 w 204"/>
                  <a:gd name="T25" fmla="*/ 157 h 239"/>
                  <a:gd name="T26" fmla="*/ 16 w 204"/>
                  <a:gd name="T27" fmla="*/ 189 h 239"/>
                  <a:gd name="T28" fmla="*/ 36 w 204"/>
                  <a:gd name="T29" fmla="*/ 214 h 239"/>
                  <a:gd name="T30" fmla="*/ 60 w 204"/>
                  <a:gd name="T31" fmla="*/ 230 h 239"/>
                  <a:gd name="T32" fmla="*/ 90 w 204"/>
                  <a:gd name="T33" fmla="*/ 238 h 239"/>
                  <a:gd name="T34" fmla="*/ 111 w 204"/>
                  <a:gd name="T35" fmla="*/ 238 h 239"/>
                  <a:gd name="T36" fmla="*/ 141 w 204"/>
                  <a:gd name="T37" fmla="*/ 231 h 239"/>
                  <a:gd name="T38" fmla="*/ 167 w 204"/>
                  <a:gd name="T39" fmla="*/ 214 h 239"/>
                  <a:gd name="T40" fmla="*/ 187 w 204"/>
                  <a:gd name="T41" fmla="*/ 190 h 239"/>
                  <a:gd name="T42" fmla="*/ 199 w 204"/>
                  <a:gd name="T43" fmla="*/ 158 h 239"/>
                  <a:gd name="T44" fmla="*/ 204 w 204"/>
                  <a:gd name="T45" fmla="*/ 119 h 239"/>
                  <a:gd name="T46" fmla="*/ 158 w 204"/>
                  <a:gd name="T47" fmla="*/ 120 h 239"/>
                  <a:gd name="T48" fmla="*/ 150 w 204"/>
                  <a:gd name="T49" fmla="*/ 162 h 239"/>
                  <a:gd name="T50" fmla="*/ 135 w 204"/>
                  <a:gd name="T51" fmla="*/ 183 h 239"/>
                  <a:gd name="T52" fmla="*/ 120 w 204"/>
                  <a:gd name="T53" fmla="*/ 193 h 239"/>
                  <a:gd name="T54" fmla="*/ 102 w 204"/>
                  <a:gd name="T55" fmla="*/ 196 h 239"/>
                  <a:gd name="T56" fmla="*/ 90 w 204"/>
                  <a:gd name="T57" fmla="*/ 195 h 239"/>
                  <a:gd name="T58" fmla="*/ 74 w 204"/>
                  <a:gd name="T59" fmla="*/ 188 h 239"/>
                  <a:gd name="T60" fmla="*/ 61 w 204"/>
                  <a:gd name="T61" fmla="*/ 176 h 239"/>
                  <a:gd name="T62" fmla="*/ 52 w 204"/>
                  <a:gd name="T63" fmla="*/ 159 h 239"/>
                  <a:gd name="T64" fmla="*/ 45 w 204"/>
                  <a:gd name="T65" fmla="*/ 119 h 239"/>
                  <a:gd name="T66" fmla="*/ 49 w 204"/>
                  <a:gd name="T67" fmla="*/ 88 h 239"/>
                  <a:gd name="T68" fmla="*/ 60 w 204"/>
                  <a:gd name="T69" fmla="*/ 64 h 239"/>
                  <a:gd name="T70" fmla="*/ 72 w 204"/>
                  <a:gd name="T71" fmla="*/ 51 h 239"/>
                  <a:gd name="T72" fmla="*/ 88 w 204"/>
                  <a:gd name="T73" fmla="*/ 44 h 239"/>
                  <a:gd name="T74" fmla="*/ 100 w 204"/>
                  <a:gd name="T75" fmla="*/ 43 h 239"/>
                  <a:gd name="T76" fmla="*/ 119 w 204"/>
                  <a:gd name="T77" fmla="*/ 46 h 239"/>
                  <a:gd name="T78" fmla="*/ 134 w 204"/>
                  <a:gd name="T79" fmla="*/ 55 h 239"/>
                  <a:gd name="T80" fmla="*/ 146 w 204"/>
                  <a:gd name="T81" fmla="*/ 69 h 239"/>
                  <a:gd name="T82" fmla="*/ 154 w 204"/>
                  <a:gd name="T83" fmla="*/ 88 h 239"/>
                  <a:gd name="T84" fmla="*/ 158 w 204"/>
                  <a:gd name="T85" fmla="*/ 12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4" h="239">
                    <a:moveTo>
                      <a:pt x="204" y="119"/>
                    </a:moveTo>
                    <a:lnTo>
                      <a:pt x="204" y="119"/>
                    </a:lnTo>
                    <a:lnTo>
                      <a:pt x="203" y="105"/>
                    </a:lnTo>
                    <a:lnTo>
                      <a:pt x="202" y="93"/>
                    </a:lnTo>
                    <a:lnTo>
                      <a:pt x="199" y="81"/>
                    </a:lnTo>
                    <a:lnTo>
                      <a:pt x="196" y="70"/>
                    </a:lnTo>
                    <a:lnTo>
                      <a:pt x="192" y="59"/>
                    </a:lnTo>
                    <a:lnTo>
                      <a:pt x="187" y="50"/>
                    </a:lnTo>
                    <a:lnTo>
                      <a:pt x="181" y="41"/>
                    </a:lnTo>
                    <a:lnTo>
                      <a:pt x="175" y="33"/>
                    </a:lnTo>
                    <a:lnTo>
                      <a:pt x="168" y="25"/>
                    </a:lnTo>
                    <a:lnTo>
                      <a:pt x="160" y="19"/>
                    </a:lnTo>
                    <a:lnTo>
                      <a:pt x="151" y="13"/>
                    </a:lnTo>
                    <a:lnTo>
                      <a:pt x="142" y="9"/>
                    </a:lnTo>
                    <a:lnTo>
                      <a:pt x="133" y="5"/>
                    </a:lnTo>
                    <a:lnTo>
                      <a:pt x="123" y="3"/>
                    </a:lnTo>
                    <a:lnTo>
                      <a:pt x="113" y="1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1" y="1"/>
                    </a:lnTo>
                    <a:lnTo>
                      <a:pt x="81" y="2"/>
                    </a:lnTo>
                    <a:lnTo>
                      <a:pt x="71" y="5"/>
                    </a:lnTo>
                    <a:lnTo>
                      <a:pt x="62" y="8"/>
                    </a:lnTo>
                    <a:lnTo>
                      <a:pt x="53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4" y="81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5"/>
                    </a:lnTo>
                    <a:lnTo>
                      <a:pt x="4" y="157"/>
                    </a:lnTo>
                    <a:lnTo>
                      <a:pt x="7" y="169"/>
                    </a:lnTo>
                    <a:lnTo>
                      <a:pt x="12" y="179"/>
                    </a:lnTo>
                    <a:lnTo>
                      <a:pt x="16" y="189"/>
                    </a:lnTo>
                    <a:lnTo>
                      <a:pt x="22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3" y="220"/>
                    </a:lnTo>
                    <a:lnTo>
                      <a:pt x="52" y="226"/>
                    </a:lnTo>
                    <a:lnTo>
                      <a:pt x="60" y="230"/>
                    </a:lnTo>
                    <a:lnTo>
                      <a:pt x="70" y="234"/>
                    </a:lnTo>
                    <a:lnTo>
                      <a:pt x="80" y="237"/>
                    </a:lnTo>
                    <a:lnTo>
                      <a:pt x="90" y="238"/>
                    </a:lnTo>
                    <a:lnTo>
                      <a:pt x="100" y="239"/>
                    </a:lnTo>
                    <a:lnTo>
                      <a:pt x="100" y="239"/>
                    </a:lnTo>
                    <a:lnTo>
                      <a:pt x="111" y="238"/>
                    </a:lnTo>
                    <a:lnTo>
                      <a:pt x="122" y="237"/>
                    </a:lnTo>
                    <a:lnTo>
                      <a:pt x="132" y="234"/>
                    </a:lnTo>
                    <a:lnTo>
                      <a:pt x="141" y="231"/>
                    </a:lnTo>
                    <a:lnTo>
                      <a:pt x="151" y="226"/>
                    </a:lnTo>
                    <a:lnTo>
                      <a:pt x="159" y="221"/>
                    </a:lnTo>
                    <a:lnTo>
                      <a:pt x="167" y="214"/>
                    </a:lnTo>
                    <a:lnTo>
                      <a:pt x="174" y="207"/>
                    </a:lnTo>
                    <a:lnTo>
                      <a:pt x="181" y="199"/>
                    </a:lnTo>
                    <a:lnTo>
                      <a:pt x="187" y="190"/>
                    </a:lnTo>
                    <a:lnTo>
                      <a:pt x="192" y="180"/>
                    </a:lnTo>
                    <a:lnTo>
                      <a:pt x="196" y="169"/>
                    </a:lnTo>
                    <a:lnTo>
                      <a:pt x="199" y="158"/>
                    </a:lnTo>
                    <a:lnTo>
                      <a:pt x="202" y="145"/>
                    </a:lnTo>
                    <a:lnTo>
                      <a:pt x="203" y="132"/>
                    </a:lnTo>
                    <a:lnTo>
                      <a:pt x="204" y="119"/>
                    </a:lnTo>
                    <a:lnTo>
                      <a:pt x="204" y="119"/>
                    </a:lnTo>
                    <a:close/>
                    <a:moveTo>
                      <a:pt x="158" y="120"/>
                    </a:moveTo>
                    <a:lnTo>
                      <a:pt x="158" y="120"/>
                    </a:lnTo>
                    <a:lnTo>
                      <a:pt x="157" y="135"/>
                    </a:lnTo>
                    <a:lnTo>
                      <a:pt x="154" y="149"/>
                    </a:lnTo>
                    <a:lnTo>
                      <a:pt x="150" y="162"/>
                    </a:lnTo>
                    <a:lnTo>
                      <a:pt x="143" y="174"/>
                    </a:lnTo>
                    <a:lnTo>
                      <a:pt x="139" y="179"/>
                    </a:lnTo>
                    <a:lnTo>
                      <a:pt x="135" y="183"/>
                    </a:lnTo>
                    <a:lnTo>
                      <a:pt x="130" y="187"/>
                    </a:lnTo>
                    <a:lnTo>
                      <a:pt x="125" y="190"/>
                    </a:lnTo>
                    <a:lnTo>
                      <a:pt x="120" y="193"/>
                    </a:lnTo>
                    <a:lnTo>
                      <a:pt x="114" y="195"/>
                    </a:lnTo>
                    <a:lnTo>
                      <a:pt x="108" y="196"/>
                    </a:lnTo>
                    <a:lnTo>
                      <a:pt x="102" y="196"/>
                    </a:lnTo>
                    <a:lnTo>
                      <a:pt x="102" y="196"/>
                    </a:lnTo>
                    <a:lnTo>
                      <a:pt x="96" y="196"/>
                    </a:lnTo>
                    <a:lnTo>
                      <a:pt x="90" y="195"/>
                    </a:lnTo>
                    <a:lnTo>
                      <a:pt x="84" y="193"/>
                    </a:lnTo>
                    <a:lnTo>
                      <a:pt x="79" y="191"/>
                    </a:lnTo>
                    <a:lnTo>
                      <a:pt x="74" y="188"/>
                    </a:lnTo>
                    <a:lnTo>
                      <a:pt x="69" y="185"/>
                    </a:lnTo>
                    <a:lnTo>
                      <a:pt x="65" y="181"/>
                    </a:lnTo>
                    <a:lnTo>
                      <a:pt x="61" y="176"/>
                    </a:lnTo>
                    <a:lnTo>
                      <a:pt x="57" y="171"/>
                    </a:lnTo>
                    <a:lnTo>
                      <a:pt x="54" y="165"/>
                    </a:lnTo>
                    <a:lnTo>
                      <a:pt x="52" y="159"/>
                    </a:lnTo>
                    <a:lnTo>
                      <a:pt x="49" y="152"/>
                    </a:lnTo>
                    <a:lnTo>
                      <a:pt x="46" y="136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8"/>
                    </a:lnTo>
                    <a:lnTo>
                      <a:pt x="54" y="75"/>
                    </a:lnTo>
                    <a:lnTo>
                      <a:pt x="56" y="69"/>
                    </a:lnTo>
                    <a:lnTo>
                      <a:pt x="60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8" y="44"/>
                    </a:lnTo>
                    <a:lnTo>
                      <a:pt x="94" y="43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107" y="43"/>
                    </a:lnTo>
                    <a:lnTo>
                      <a:pt x="113" y="44"/>
                    </a:lnTo>
                    <a:lnTo>
                      <a:pt x="119" y="46"/>
                    </a:lnTo>
                    <a:lnTo>
                      <a:pt x="124" y="49"/>
                    </a:lnTo>
                    <a:lnTo>
                      <a:pt x="130" y="51"/>
                    </a:lnTo>
                    <a:lnTo>
                      <a:pt x="134" y="55"/>
                    </a:lnTo>
                    <a:lnTo>
                      <a:pt x="139" y="59"/>
                    </a:lnTo>
                    <a:lnTo>
                      <a:pt x="143" y="64"/>
                    </a:lnTo>
                    <a:lnTo>
                      <a:pt x="146" y="69"/>
                    </a:lnTo>
                    <a:lnTo>
                      <a:pt x="150" y="75"/>
                    </a:lnTo>
                    <a:lnTo>
                      <a:pt x="152" y="81"/>
                    </a:lnTo>
                    <a:lnTo>
                      <a:pt x="154" y="88"/>
                    </a:lnTo>
                    <a:lnTo>
                      <a:pt x="157" y="103"/>
                    </a:lnTo>
                    <a:lnTo>
                      <a:pt x="158" y="120"/>
                    </a:lnTo>
                    <a:lnTo>
                      <a:pt x="158" y="12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8" name="Freeform 27"/>
              <p:cNvSpPr>
                <a:spLocks/>
              </p:cNvSpPr>
              <p:nvPr userDrawn="1"/>
            </p:nvSpPr>
            <p:spPr bwMode="auto">
              <a:xfrm>
                <a:off x="1660525" y="6150782"/>
                <a:ext cx="73025" cy="92075"/>
              </a:xfrm>
              <a:custGeom>
                <a:avLst/>
                <a:gdLst>
                  <a:gd name="T0" fmla="*/ 0 w 185"/>
                  <a:gd name="T1" fmla="*/ 0 h 229"/>
                  <a:gd name="T2" fmla="*/ 0 w 185"/>
                  <a:gd name="T3" fmla="*/ 229 h 229"/>
                  <a:gd name="T4" fmla="*/ 45 w 185"/>
                  <a:gd name="T5" fmla="*/ 229 h 229"/>
                  <a:gd name="T6" fmla="*/ 45 w 185"/>
                  <a:gd name="T7" fmla="*/ 39 h 229"/>
                  <a:gd name="T8" fmla="*/ 140 w 185"/>
                  <a:gd name="T9" fmla="*/ 39 h 229"/>
                  <a:gd name="T10" fmla="*/ 140 w 185"/>
                  <a:gd name="T11" fmla="*/ 229 h 229"/>
                  <a:gd name="T12" fmla="*/ 185 w 185"/>
                  <a:gd name="T13" fmla="*/ 229 h 229"/>
                  <a:gd name="T14" fmla="*/ 185 w 185"/>
                  <a:gd name="T15" fmla="*/ 0 h 229"/>
                  <a:gd name="T16" fmla="*/ 0 w 185"/>
                  <a:gd name="T17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5" h="229">
                    <a:moveTo>
                      <a:pt x="0" y="0"/>
                    </a:moveTo>
                    <a:lnTo>
                      <a:pt x="0" y="229"/>
                    </a:lnTo>
                    <a:lnTo>
                      <a:pt x="45" y="229"/>
                    </a:lnTo>
                    <a:lnTo>
                      <a:pt x="45" y="39"/>
                    </a:lnTo>
                    <a:lnTo>
                      <a:pt x="140" y="39"/>
                    </a:lnTo>
                    <a:lnTo>
                      <a:pt x="140" y="229"/>
                    </a:lnTo>
                    <a:lnTo>
                      <a:pt x="185" y="229"/>
                    </a:lnTo>
                    <a:lnTo>
                      <a:pt x="1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9" name="Freeform 28"/>
              <p:cNvSpPr>
                <a:spLocks noEditPoints="1"/>
              </p:cNvSpPr>
              <p:nvPr userDrawn="1"/>
            </p:nvSpPr>
            <p:spPr bwMode="auto">
              <a:xfrm>
                <a:off x="1755775" y="6149194"/>
                <a:ext cx="76200" cy="127000"/>
              </a:xfrm>
              <a:custGeom>
                <a:avLst/>
                <a:gdLst>
                  <a:gd name="T0" fmla="*/ 192 w 192"/>
                  <a:gd name="T1" fmla="*/ 123 h 319"/>
                  <a:gd name="T2" fmla="*/ 191 w 192"/>
                  <a:gd name="T3" fmla="*/ 93 h 319"/>
                  <a:gd name="T4" fmla="*/ 186 w 192"/>
                  <a:gd name="T5" fmla="*/ 67 h 319"/>
                  <a:gd name="T6" fmla="*/ 178 w 192"/>
                  <a:gd name="T7" fmla="*/ 46 h 319"/>
                  <a:gd name="T8" fmla="*/ 167 w 192"/>
                  <a:gd name="T9" fmla="*/ 29 h 319"/>
                  <a:gd name="T10" fmla="*/ 154 w 192"/>
                  <a:gd name="T11" fmla="*/ 16 h 319"/>
                  <a:gd name="T12" fmla="*/ 139 w 192"/>
                  <a:gd name="T13" fmla="*/ 7 h 319"/>
                  <a:gd name="T14" fmla="*/ 122 w 192"/>
                  <a:gd name="T15" fmla="*/ 2 h 319"/>
                  <a:gd name="T16" fmla="*/ 104 w 192"/>
                  <a:gd name="T17" fmla="*/ 0 h 319"/>
                  <a:gd name="T18" fmla="*/ 96 w 192"/>
                  <a:gd name="T19" fmla="*/ 1 h 319"/>
                  <a:gd name="T20" fmla="*/ 79 w 192"/>
                  <a:gd name="T21" fmla="*/ 5 h 319"/>
                  <a:gd name="T22" fmla="*/ 64 w 192"/>
                  <a:gd name="T23" fmla="*/ 12 h 319"/>
                  <a:gd name="T24" fmla="*/ 45 w 192"/>
                  <a:gd name="T25" fmla="*/ 27 h 319"/>
                  <a:gd name="T26" fmla="*/ 0 w 192"/>
                  <a:gd name="T27" fmla="*/ 5 h 319"/>
                  <a:gd name="T28" fmla="*/ 45 w 192"/>
                  <a:gd name="T29" fmla="*/ 295 h 319"/>
                  <a:gd name="T30" fmla="*/ 45 w 192"/>
                  <a:gd name="T31" fmla="*/ 213 h 319"/>
                  <a:gd name="T32" fmla="*/ 58 w 192"/>
                  <a:gd name="T33" fmla="*/ 224 h 319"/>
                  <a:gd name="T34" fmla="*/ 72 w 192"/>
                  <a:gd name="T35" fmla="*/ 232 h 319"/>
                  <a:gd name="T36" fmla="*/ 87 w 192"/>
                  <a:gd name="T37" fmla="*/ 237 h 319"/>
                  <a:gd name="T38" fmla="*/ 102 w 192"/>
                  <a:gd name="T39" fmla="*/ 239 h 319"/>
                  <a:gd name="T40" fmla="*/ 111 w 192"/>
                  <a:gd name="T41" fmla="*/ 238 h 319"/>
                  <a:gd name="T42" fmla="*/ 128 w 192"/>
                  <a:gd name="T43" fmla="*/ 235 h 319"/>
                  <a:gd name="T44" fmla="*/ 144 w 192"/>
                  <a:gd name="T45" fmla="*/ 228 h 319"/>
                  <a:gd name="T46" fmla="*/ 159 w 192"/>
                  <a:gd name="T47" fmla="*/ 217 h 319"/>
                  <a:gd name="T48" fmla="*/ 171 w 192"/>
                  <a:gd name="T49" fmla="*/ 203 h 319"/>
                  <a:gd name="T50" fmla="*/ 181 w 192"/>
                  <a:gd name="T51" fmla="*/ 185 h 319"/>
                  <a:gd name="T52" fmla="*/ 188 w 192"/>
                  <a:gd name="T53" fmla="*/ 163 h 319"/>
                  <a:gd name="T54" fmla="*/ 192 w 192"/>
                  <a:gd name="T55" fmla="*/ 138 h 319"/>
                  <a:gd name="T56" fmla="*/ 192 w 192"/>
                  <a:gd name="T57" fmla="*/ 123 h 319"/>
                  <a:gd name="T58" fmla="*/ 147 w 192"/>
                  <a:gd name="T59" fmla="*/ 125 h 319"/>
                  <a:gd name="T60" fmla="*/ 144 w 192"/>
                  <a:gd name="T61" fmla="*/ 156 h 319"/>
                  <a:gd name="T62" fmla="*/ 138 w 192"/>
                  <a:gd name="T63" fmla="*/ 174 h 319"/>
                  <a:gd name="T64" fmla="*/ 132 w 192"/>
                  <a:gd name="T65" fmla="*/ 183 h 319"/>
                  <a:gd name="T66" fmla="*/ 124 w 192"/>
                  <a:gd name="T67" fmla="*/ 190 h 319"/>
                  <a:gd name="T68" fmla="*/ 115 w 192"/>
                  <a:gd name="T69" fmla="*/ 195 h 319"/>
                  <a:gd name="T70" fmla="*/ 104 w 192"/>
                  <a:gd name="T71" fmla="*/ 197 h 319"/>
                  <a:gd name="T72" fmla="*/ 98 w 192"/>
                  <a:gd name="T73" fmla="*/ 197 h 319"/>
                  <a:gd name="T74" fmla="*/ 81 w 192"/>
                  <a:gd name="T75" fmla="*/ 195 h 319"/>
                  <a:gd name="T76" fmla="*/ 66 w 192"/>
                  <a:gd name="T77" fmla="*/ 187 h 319"/>
                  <a:gd name="T78" fmla="*/ 54 w 192"/>
                  <a:gd name="T79" fmla="*/ 178 h 319"/>
                  <a:gd name="T80" fmla="*/ 44 w 192"/>
                  <a:gd name="T81" fmla="*/ 167 h 319"/>
                  <a:gd name="T82" fmla="*/ 44 w 192"/>
                  <a:gd name="T83" fmla="*/ 71 h 319"/>
                  <a:gd name="T84" fmla="*/ 56 w 192"/>
                  <a:gd name="T85" fmla="*/ 59 h 319"/>
                  <a:gd name="T86" fmla="*/ 68 w 192"/>
                  <a:gd name="T87" fmla="*/ 50 h 319"/>
                  <a:gd name="T88" fmla="*/ 82 w 192"/>
                  <a:gd name="T89" fmla="*/ 44 h 319"/>
                  <a:gd name="T90" fmla="*/ 96 w 192"/>
                  <a:gd name="T91" fmla="*/ 42 h 319"/>
                  <a:gd name="T92" fmla="*/ 102 w 192"/>
                  <a:gd name="T93" fmla="*/ 42 h 319"/>
                  <a:gd name="T94" fmla="*/ 113 w 192"/>
                  <a:gd name="T95" fmla="*/ 45 h 319"/>
                  <a:gd name="T96" fmla="*/ 123 w 192"/>
                  <a:gd name="T97" fmla="*/ 49 h 319"/>
                  <a:gd name="T98" fmla="*/ 131 w 192"/>
                  <a:gd name="T99" fmla="*/ 57 h 319"/>
                  <a:gd name="T100" fmla="*/ 137 w 192"/>
                  <a:gd name="T101" fmla="*/ 67 h 319"/>
                  <a:gd name="T102" fmla="*/ 144 w 192"/>
                  <a:gd name="T103" fmla="*/ 88 h 319"/>
                  <a:gd name="T104" fmla="*/ 147 w 192"/>
                  <a:gd name="T105" fmla="*/ 125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2" h="319">
                    <a:moveTo>
                      <a:pt x="192" y="123"/>
                    </a:moveTo>
                    <a:lnTo>
                      <a:pt x="192" y="123"/>
                    </a:lnTo>
                    <a:lnTo>
                      <a:pt x="192" y="107"/>
                    </a:lnTo>
                    <a:lnTo>
                      <a:pt x="191" y="93"/>
                    </a:lnTo>
                    <a:lnTo>
                      <a:pt x="188" y="79"/>
                    </a:lnTo>
                    <a:lnTo>
                      <a:pt x="186" y="67"/>
                    </a:lnTo>
                    <a:lnTo>
                      <a:pt x="182" y="56"/>
                    </a:lnTo>
                    <a:lnTo>
                      <a:pt x="178" y="46"/>
                    </a:lnTo>
                    <a:lnTo>
                      <a:pt x="172" y="37"/>
                    </a:lnTo>
                    <a:lnTo>
                      <a:pt x="167" y="29"/>
                    </a:lnTo>
                    <a:lnTo>
                      <a:pt x="161" y="22"/>
                    </a:lnTo>
                    <a:lnTo>
                      <a:pt x="154" y="16"/>
                    </a:lnTo>
                    <a:lnTo>
                      <a:pt x="147" y="11"/>
                    </a:lnTo>
                    <a:lnTo>
                      <a:pt x="139" y="7"/>
                    </a:lnTo>
                    <a:lnTo>
                      <a:pt x="131" y="4"/>
                    </a:lnTo>
                    <a:lnTo>
                      <a:pt x="122" y="2"/>
                    </a:lnTo>
                    <a:lnTo>
                      <a:pt x="113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96" y="1"/>
                    </a:lnTo>
                    <a:lnTo>
                      <a:pt x="87" y="2"/>
                    </a:lnTo>
                    <a:lnTo>
                      <a:pt x="79" y="5"/>
                    </a:lnTo>
                    <a:lnTo>
                      <a:pt x="72" y="8"/>
                    </a:lnTo>
                    <a:lnTo>
                      <a:pt x="64" y="12"/>
                    </a:lnTo>
                    <a:lnTo>
                      <a:pt x="58" y="16"/>
                    </a:lnTo>
                    <a:lnTo>
                      <a:pt x="45" y="27"/>
                    </a:lnTo>
                    <a:lnTo>
                      <a:pt x="45" y="5"/>
                    </a:lnTo>
                    <a:lnTo>
                      <a:pt x="0" y="5"/>
                    </a:lnTo>
                    <a:lnTo>
                      <a:pt x="0" y="319"/>
                    </a:lnTo>
                    <a:lnTo>
                      <a:pt x="45" y="295"/>
                    </a:lnTo>
                    <a:lnTo>
                      <a:pt x="45" y="213"/>
                    </a:lnTo>
                    <a:lnTo>
                      <a:pt x="45" y="213"/>
                    </a:lnTo>
                    <a:lnTo>
                      <a:pt x="51" y="219"/>
                    </a:lnTo>
                    <a:lnTo>
                      <a:pt x="58" y="224"/>
                    </a:lnTo>
                    <a:lnTo>
                      <a:pt x="65" y="229"/>
                    </a:lnTo>
                    <a:lnTo>
                      <a:pt x="72" y="232"/>
                    </a:lnTo>
                    <a:lnTo>
                      <a:pt x="79" y="235"/>
                    </a:lnTo>
                    <a:lnTo>
                      <a:pt x="87" y="237"/>
                    </a:lnTo>
                    <a:lnTo>
                      <a:pt x="95" y="238"/>
                    </a:lnTo>
                    <a:lnTo>
                      <a:pt x="102" y="239"/>
                    </a:lnTo>
                    <a:lnTo>
                      <a:pt x="102" y="239"/>
                    </a:lnTo>
                    <a:lnTo>
                      <a:pt x="111" y="238"/>
                    </a:lnTo>
                    <a:lnTo>
                      <a:pt x="120" y="237"/>
                    </a:lnTo>
                    <a:lnTo>
                      <a:pt x="128" y="235"/>
                    </a:lnTo>
                    <a:lnTo>
                      <a:pt x="136" y="232"/>
                    </a:lnTo>
                    <a:lnTo>
                      <a:pt x="144" y="228"/>
                    </a:lnTo>
                    <a:lnTo>
                      <a:pt x="152" y="223"/>
                    </a:lnTo>
                    <a:lnTo>
                      <a:pt x="159" y="217"/>
                    </a:lnTo>
                    <a:lnTo>
                      <a:pt x="165" y="211"/>
                    </a:lnTo>
                    <a:lnTo>
                      <a:pt x="171" y="203"/>
                    </a:lnTo>
                    <a:lnTo>
                      <a:pt x="176" y="194"/>
                    </a:lnTo>
                    <a:lnTo>
                      <a:pt x="181" y="185"/>
                    </a:lnTo>
                    <a:lnTo>
                      <a:pt x="185" y="174"/>
                    </a:lnTo>
                    <a:lnTo>
                      <a:pt x="188" y="163"/>
                    </a:lnTo>
                    <a:lnTo>
                      <a:pt x="190" y="151"/>
                    </a:lnTo>
                    <a:lnTo>
                      <a:pt x="192" y="138"/>
                    </a:lnTo>
                    <a:lnTo>
                      <a:pt x="192" y="123"/>
                    </a:lnTo>
                    <a:lnTo>
                      <a:pt x="192" y="123"/>
                    </a:lnTo>
                    <a:close/>
                    <a:moveTo>
                      <a:pt x="147" y="125"/>
                    </a:moveTo>
                    <a:lnTo>
                      <a:pt x="147" y="125"/>
                    </a:lnTo>
                    <a:lnTo>
                      <a:pt x="147" y="142"/>
                    </a:lnTo>
                    <a:lnTo>
                      <a:pt x="144" y="156"/>
                    </a:lnTo>
                    <a:lnTo>
                      <a:pt x="140" y="169"/>
                    </a:lnTo>
                    <a:lnTo>
                      <a:pt x="138" y="174"/>
                    </a:lnTo>
                    <a:lnTo>
                      <a:pt x="135" y="179"/>
                    </a:lnTo>
                    <a:lnTo>
                      <a:pt x="132" y="183"/>
                    </a:lnTo>
                    <a:lnTo>
                      <a:pt x="128" y="187"/>
                    </a:lnTo>
                    <a:lnTo>
                      <a:pt x="124" y="190"/>
                    </a:lnTo>
                    <a:lnTo>
                      <a:pt x="119" y="193"/>
                    </a:lnTo>
                    <a:lnTo>
                      <a:pt x="115" y="195"/>
                    </a:lnTo>
                    <a:lnTo>
                      <a:pt x="109" y="196"/>
                    </a:lnTo>
                    <a:lnTo>
                      <a:pt x="104" y="197"/>
                    </a:lnTo>
                    <a:lnTo>
                      <a:pt x="98" y="197"/>
                    </a:lnTo>
                    <a:lnTo>
                      <a:pt x="98" y="197"/>
                    </a:lnTo>
                    <a:lnTo>
                      <a:pt x="89" y="197"/>
                    </a:lnTo>
                    <a:lnTo>
                      <a:pt x="81" y="195"/>
                    </a:lnTo>
                    <a:lnTo>
                      <a:pt x="74" y="191"/>
                    </a:lnTo>
                    <a:lnTo>
                      <a:pt x="66" y="187"/>
                    </a:lnTo>
                    <a:lnTo>
                      <a:pt x="60" y="183"/>
                    </a:lnTo>
                    <a:lnTo>
                      <a:pt x="54" y="178"/>
                    </a:lnTo>
                    <a:lnTo>
                      <a:pt x="48" y="173"/>
                    </a:lnTo>
                    <a:lnTo>
                      <a:pt x="44" y="167"/>
                    </a:lnTo>
                    <a:lnTo>
                      <a:pt x="44" y="71"/>
                    </a:lnTo>
                    <a:lnTo>
                      <a:pt x="44" y="71"/>
                    </a:lnTo>
                    <a:lnTo>
                      <a:pt x="50" y="64"/>
                    </a:lnTo>
                    <a:lnTo>
                      <a:pt x="56" y="59"/>
                    </a:lnTo>
                    <a:lnTo>
                      <a:pt x="62" y="54"/>
                    </a:lnTo>
                    <a:lnTo>
                      <a:pt x="68" y="50"/>
                    </a:lnTo>
                    <a:lnTo>
                      <a:pt x="75" y="46"/>
                    </a:lnTo>
                    <a:lnTo>
                      <a:pt x="82" y="44"/>
                    </a:lnTo>
                    <a:lnTo>
                      <a:pt x="89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2" y="42"/>
                    </a:lnTo>
                    <a:lnTo>
                      <a:pt x="108" y="43"/>
                    </a:lnTo>
                    <a:lnTo>
                      <a:pt x="113" y="45"/>
                    </a:lnTo>
                    <a:lnTo>
                      <a:pt x="118" y="47"/>
                    </a:lnTo>
                    <a:lnTo>
                      <a:pt x="123" y="49"/>
                    </a:lnTo>
                    <a:lnTo>
                      <a:pt x="127" y="53"/>
                    </a:lnTo>
                    <a:lnTo>
                      <a:pt x="131" y="57"/>
                    </a:lnTo>
                    <a:lnTo>
                      <a:pt x="134" y="62"/>
                    </a:lnTo>
                    <a:lnTo>
                      <a:pt x="137" y="67"/>
                    </a:lnTo>
                    <a:lnTo>
                      <a:pt x="140" y="73"/>
                    </a:lnTo>
                    <a:lnTo>
                      <a:pt x="144" y="88"/>
                    </a:lnTo>
                    <a:lnTo>
                      <a:pt x="147" y="105"/>
                    </a:lnTo>
                    <a:lnTo>
                      <a:pt x="147" y="125"/>
                    </a:lnTo>
                    <a:lnTo>
                      <a:pt x="147" y="12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auto">
              <a:xfrm>
                <a:off x="1846262" y="6149194"/>
                <a:ext cx="82550" cy="95250"/>
              </a:xfrm>
              <a:custGeom>
                <a:avLst/>
                <a:gdLst>
                  <a:gd name="T0" fmla="*/ 205 w 206"/>
                  <a:gd name="T1" fmla="*/ 105 h 239"/>
                  <a:gd name="T2" fmla="*/ 198 w 206"/>
                  <a:gd name="T3" fmla="*/ 70 h 239"/>
                  <a:gd name="T4" fmla="*/ 183 w 206"/>
                  <a:gd name="T5" fmla="*/ 41 h 239"/>
                  <a:gd name="T6" fmla="*/ 161 w 206"/>
                  <a:gd name="T7" fmla="*/ 19 h 239"/>
                  <a:gd name="T8" fmla="*/ 135 w 206"/>
                  <a:gd name="T9" fmla="*/ 5 h 239"/>
                  <a:gd name="T10" fmla="*/ 103 w 206"/>
                  <a:gd name="T11" fmla="*/ 0 h 239"/>
                  <a:gd name="T12" fmla="*/ 82 w 206"/>
                  <a:gd name="T13" fmla="*/ 2 h 239"/>
                  <a:gd name="T14" fmla="*/ 53 w 206"/>
                  <a:gd name="T15" fmla="*/ 13 h 239"/>
                  <a:gd name="T16" fmla="*/ 30 w 206"/>
                  <a:gd name="T17" fmla="*/ 32 h 239"/>
                  <a:gd name="T18" fmla="*/ 13 w 206"/>
                  <a:gd name="T19" fmla="*/ 59 h 239"/>
                  <a:gd name="T20" fmla="*/ 2 w 206"/>
                  <a:gd name="T21" fmla="*/ 93 h 239"/>
                  <a:gd name="T22" fmla="*/ 0 w 206"/>
                  <a:gd name="T23" fmla="*/ 120 h 239"/>
                  <a:gd name="T24" fmla="*/ 5 w 206"/>
                  <a:gd name="T25" fmla="*/ 157 h 239"/>
                  <a:gd name="T26" fmla="*/ 17 w 206"/>
                  <a:gd name="T27" fmla="*/ 189 h 239"/>
                  <a:gd name="T28" fmla="*/ 36 w 206"/>
                  <a:gd name="T29" fmla="*/ 214 h 239"/>
                  <a:gd name="T30" fmla="*/ 61 w 206"/>
                  <a:gd name="T31" fmla="*/ 230 h 239"/>
                  <a:gd name="T32" fmla="*/ 91 w 206"/>
                  <a:gd name="T33" fmla="*/ 238 h 239"/>
                  <a:gd name="T34" fmla="*/ 113 w 206"/>
                  <a:gd name="T35" fmla="*/ 238 h 239"/>
                  <a:gd name="T36" fmla="*/ 143 w 206"/>
                  <a:gd name="T37" fmla="*/ 231 h 239"/>
                  <a:gd name="T38" fmla="*/ 169 w 206"/>
                  <a:gd name="T39" fmla="*/ 214 h 239"/>
                  <a:gd name="T40" fmla="*/ 188 w 206"/>
                  <a:gd name="T41" fmla="*/ 190 h 239"/>
                  <a:gd name="T42" fmla="*/ 201 w 206"/>
                  <a:gd name="T43" fmla="*/ 158 h 239"/>
                  <a:gd name="T44" fmla="*/ 206 w 206"/>
                  <a:gd name="T45" fmla="*/ 119 h 239"/>
                  <a:gd name="T46" fmla="*/ 160 w 206"/>
                  <a:gd name="T47" fmla="*/ 120 h 239"/>
                  <a:gd name="T48" fmla="*/ 151 w 206"/>
                  <a:gd name="T49" fmla="*/ 162 h 239"/>
                  <a:gd name="T50" fmla="*/ 137 w 206"/>
                  <a:gd name="T51" fmla="*/ 183 h 239"/>
                  <a:gd name="T52" fmla="*/ 122 w 206"/>
                  <a:gd name="T53" fmla="*/ 193 h 239"/>
                  <a:gd name="T54" fmla="*/ 104 w 206"/>
                  <a:gd name="T55" fmla="*/ 196 h 239"/>
                  <a:gd name="T56" fmla="*/ 91 w 206"/>
                  <a:gd name="T57" fmla="*/ 195 h 239"/>
                  <a:gd name="T58" fmla="*/ 75 w 206"/>
                  <a:gd name="T59" fmla="*/ 188 h 239"/>
                  <a:gd name="T60" fmla="*/ 62 w 206"/>
                  <a:gd name="T61" fmla="*/ 176 h 239"/>
                  <a:gd name="T62" fmla="*/ 52 w 206"/>
                  <a:gd name="T63" fmla="*/ 159 h 239"/>
                  <a:gd name="T64" fmla="*/ 46 w 206"/>
                  <a:gd name="T65" fmla="*/ 119 h 239"/>
                  <a:gd name="T66" fmla="*/ 50 w 206"/>
                  <a:gd name="T67" fmla="*/ 88 h 239"/>
                  <a:gd name="T68" fmla="*/ 61 w 206"/>
                  <a:gd name="T69" fmla="*/ 64 h 239"/>
                  <a:gd name="T70" fmla="*/ 73 w 206"/>
                  <a:gd name="T71" fmla="*/ 51 h 239"/>
                  <a:gd name="T72" fmla="*/ 89 w 206"/>
                  <a:gd name="T73" fmla="*/ 44 h 239"/>
                  <a:gd name="T74" fmla="*/ 101 w 206"/>
                  <a:gd name="T75" fmla="*/ 43 h 239"/>
                  <a:gd name="T76" fmla="*/ 121 w 206"/>
                  <a:gd name="T77" fmla="*/ 46 h 239"/>
                  <a:gd name="T78" fmla="*/ 136 w 206"/>
                  <a:gd name="T79" fmla="*/ 55 h 239"/>
                  <a:gd name="T80" fmla="*/ 148 w 206"/>
                  <a:gd name="T81" fmla="*/ 69 h 239"/>
                  <a:gd name="T82" fmla="*/ 156 w 206"/>
                  <a:gd name="T83" fmla="*/ 88 h 239"/>
                  <a:gd name="T84" fmla="*/ 160 w 206"/>
                  <a:gd name="T85" fmla="*/ 12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6" h="239">
                    <a:moveTo>
                      <a:pt x="206" y="119"/>
                    </a:moveTo>
                    <a:lnTo>
                      <a:pt x="206" y="119"/>
                    </a:lnTo>
                    <a:lnTo>
                      <a:pt x="205" y="105"/>
                    </a:lnTo>
                    <a:lnTo>
                      <a:pt x="204" y="93"/>
                    </a:lnTo>
                    <a:lnTo>
                      <a:pt x="201" y="81"/>
                    </a:lnTo>
                    <a:lnTo>
                      <a:pt x="198" y="70"/>
                    </a:lnTo>
                    <a:lnTo>
                      <a:pt x="194" y="59"/>
                    </a:lnTo>
                    <a:lnTo>
                      <a:pt x="189" y="50"/>
                    </a:lnTo>
                    <a:lnTo>
                      <a:pt x="183" y="41"/>
                    </a:lnTo>
                    <a:lnTo>
                      <a:pt x="176" y="33"/>
                    </a:lnTo>
                    <a:lnTo>
                      <a:pt x="169" y="25"/>
                    </a:lnTo>
                    <a:lnTo>
                      <a:pt x="161" y="19"/>
                    </a:lnTo>
                    <a:lnTo>
                      <a:pt x="153" y="13"/>
                    </a:lnTo>
                    <a:lnTo>
                      <a:pt x="144" y="9"/>
                    </a:lnTo>
                    <a:lnTo>
                      <a:pt x="135" y="5"/>
                    </a:lnTo>
                    <a:lnTo>
                      <a:pt x="125" y="3"/>
                    </a:lnTo>
                    <a:lnTo>
                      <a:pt x="114" y="1"/>
                    </a:lnTo>
                    <a:lnTo>
                      <a:pt x="103" y="0"/>
                    </a:lnTo>
                    <a:lnTo>
                      <a:pt x="103" y="0"/>
                    </a:lnTo>
                    <a:lnTo>
                      <a:pt x="92" y="1"/>
                    </a:lnTo>
                    <a:lnTo>
                      <a:pt x="82" y="2"/>
                    </a:lnTo>
                    <a:lnTo>
                      <a:pt x="72" y="5"/>
                    </a:lnTo>
                    <a:lnTo>
                      <a:pt x="62" y="8"/>
                    </a:lnTo>
                    <a:lnTo>
                      <a:pt x="53" y="13"/>
                    </a:lnTo>
                    <a:lnTo>
                      <a:pt x="45" y="18"/>
                    </a:lnTo>
                    <a:lnTo>
                      <a:pt x="37" y="25"/>
                    </a:lnTo>
                    <a:lnTo>
                      <a:pt x="30" y="32"/>
                    </a:lnTo>
                    <a:lnTo>
                      <a:pt x="23" y="40"/>
                    </a:lnTo>
                    <a:lnTo>
                      <a:pt x="18" y="49"/>
                    </a:lnTo>
                    <a:lnTo>
                      <a:pt x="13" y="59"/>
                    </a:lnTo>
                    <a:lnTo>
                      <a:pt x="8" y="70"/>
                    </a:lnTo>
                    <a:lnTo>
                      <a:pt x="5" y="81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5"/>
                    </a:lnTo>
                    <a:lnTo>
                      <a:pt x="5" y="157"/>
                    </a:lnTo>
                    <a:lnTo>
                      <a:pt x="8" y="169"/>
                    </a:lnTo>
                    <a:lnTo>
                      <a:pt x="12" y="179"/>
                    </a:lnTo>
                    <a:lnTo>
                      <a:pt x="17" y="189"/>
                    </a:lnTo>
                    <a:lnTo>
                      <a:pt x="23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4" y="220"/>
                    </a:lnTo>
                    <a:lnTo>
                      <a:pt x="52" y="226"/>
                    </a:lnTo>
                    <a:lnTo>
                      <a:pt x="61" y="230"/>
                    </a:lnTo>
                    <a:lnTo>
                      <a:pt x="71" y="234"/>
                    </a:lnTo>
                    <a:lnTo>
                      <a:pt x="80" y="237"/>
                    </a:lnTo>
                    <a:lnTo>
                      <a:pt x="91" y="238"/>
                    </a:lnTo>
                    <a:lnTo>
                      <a:pt x="101" y="239"/>
                    </a:lnTo>
                    <a:lnTo>
                      <a:pt x="101" y="239"/>
                    </a:lnTo>
                    <a:lnTo>
                      <a:pt x="113" y="238"/>
                    </a:lnTo>
                    <a:lnTo>
                      <a:pt x="124" y="237"/>
                    </a:lnTo>
                    <a:lnTo>
                      <a:pt x="134" y="234"/>
                    </a:lnTo>
                    <a:lnTo>
                      <a:pt x="143" y="231"/>
                    </a:lnTo>
                    <a:lnTo>
                      <a:pt x="152" y="226"/>
                    </a:lnTo>
                    <a:lnTo>
                      <a:pt x="161" y="221"/>
                    </a:lnTo>
                    <a:lnTo>
                      <a:pt x="169" y="214"/>
                    </a:lnTo>
                    <a:lnTo>
                      <a:pt x="176" y="207"/>
                    </a:lnTo>
                    <a:lnTo>
                      <a:pt x="182" y="199"/>
                    </a:lnTo>
                    <a:lnTo>
                      <a:pt x="188" y="190"/>
                    </a:lnTo>
                    <a:lnTo>
                      <a:pt x="193" y="180"/>
                    </a:lnTo>
                    <a:lnTo>
                      <a:pt x="198" y="169"/>
                    </a:lnTo>
                    <a:lnTo>
                      <a:pt x="201" y="158"/>
                    </a:lnTo>
                    <a:lnTo>
                      <a:pt x="203" y="145"/>
                    </a:lnTo>
                    <a:lnTo>
                      <a:pt x="205" y="132"/>
                    </a:lnTo>
                    <a:lnTo>
                      <a:pt x="206" y="119"/>
                    </a:lnTo>
                    <a:lnTo>
                      <a:pt x="206" y="119"/>
                    </a:lnTo>
                    <a:close/>
                    <a:moveTo>
                      <a:pt x="160" y="120"/>
                    </a:moveTo>
                    <a:lnTo>
                      <a:pt x="160" y="120"/>
                    </a:lnTo>
                    <a:lnTo>
                      <a:pt x="159" y="135"/>
                    </a:lnTo>
                    <a:lnTo>
                      <a:pt x="156" y="149"/>
                    </a:lnTo>
                    <a:lnTo>
                      <a:pt x="151" y="162"/>
                    </a:lnTo>
                    <a:lnTo>
                      <a:pt x="145" y="174"/>
                    </a:lnTo>
                    <a:lnTo>
                      <a:pt x="141" y="179"/>
                    </a:lnTo>
                    <a:lnTo>
                      <a:pt x="137" y="183"/>
                    </a:lnTo>
                    <a:lnTo>
                      <a:pt x="132" y="187"/>
                    </a:lnTo>
                    <a:lnTo>
                      <a:pt x="127" y="190"/>
                    </a:lnTo>
                    <a:lnTo>
                      <a:pt x="122" y="193"/>
                    </a:lnTo>
                    <a:lnTo>
                      <a:pt x="116" y="195"/>
                    </a:lnTo>
                    <a:lnTo>
                      <a:pt x="110" y="196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97" y="196"/>
                    </a:lnTo>
                    <a:lnTo>
                      <a:pt x="91" y="195"/>
                    </a:lnTo>
                    <a:lnTo>
                      <a:pt x="85" y="193"/>
                    </a:lnTo>
                    <a:lnTo>
                      <a:pt x="80" y="191"/>
                    </a:lnTo>
                    <a:lnTo>
                      <a:pt x="75" y="188"/>
                    </a:lnTo>
                    <a:lnTo>
                      <a:pt x="70" y="185"/>
                    </a:lnTo>
                    <a:lnTo>
                      <a:pt x="66" y="181"/>
                    </a:lnTo>
                    <a:lnTo>
                      <a:pt x="62" y="176"/>
                    </a:lnTo>
                    <a:lnTo>
                      <a:pt x="58" y="171"/>
                    </a:lnTo>
                    <a:lnTo>
                      <a:pt x="55" y="165"/>
                    </a:lnTo>
                    <a:lnTo>
                      <a:pt x="52" y="159"/>
                    </a:lnTo>
                    <a:lnTo>
                      <a:pt x="50" y="152"/>
                    </a:lnTo>
                    <a:lnTo>
                      <a:pt x="47" y="136"/>
                    </a:lnTo>
                    <a:lnTo>
                      <a:pt x="46" y="119"/>
                    </a:lnTo>
                    <a:lnTo>
                      <a:pt x="46" y="119"/>
                    </a:lnTo>
                    <a:lnTo>
                      <a:pt x="47" y="102"/>
                    </a:lnTo>
                    <a:lnTo>
                      <a:pt x="50" y="88"/>
                    </a:lnTo>
                    <a:lnTo>
                      <a:pt x="54" y="75"/>
                    </a:lnTo>
                    <a:lnTo>
                      <a:pt x="57" y="69"/>
                    </a:lnTo>
                    <a:lnTo>
                      <a:pt x="61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3" y="51"/>
                    </a:lnTo>
                    <a:lnTo>
                      <a:pt x="78" y="48"/>
                    </a:lnTo>
                    <a:lnTo>
                      <a:pt x="83" y="46"/>
                    </a:lnTo>
                    <a:lnTo>
                      <a:pt x="89" y="44"/>
                    </a:lnTo>
                    <a:lnTo>
                      <a:pt x="95" y="43"/>
                    </a:lnTo>
                    <a:lnTo>
                      <a:pt x="101" y="43"/>
                    </a:lnTo>
                    <a:lnTo>
                      <a:pt x="101" y="43"/>
                    </a:lnTo>
                    <a:lnTo>
                      <a:pt x="108" y="43"/>
                    </a:lnTo>
                    <a:lnTo>
                      <a:pt x="115" y="44"/>
                    </a:lnTo>
                    <a:lnTo>
                      <a:pt x="121" y="46"/>
                    </a:lnTo>
                    <a:lnTo>
                      <a:pt x="126" y="49"/>
                    </a:lnTo>
                    <a:lnTo>
                      <a:pt x="131" y="51"/>
                    </a:lnTo>
                    <a:lnTo>
                      <a:pt x="136" y="55"/>
                    </a:lnTo>
                    <a:lnTo>
                      <a:pt x="141" y="59"/>
                    </a:lnTo>
                    <a:lnTo>
                      <a:pt x="145" y="64"/>
                    </a:lnTo>
                    <a:lnTo>
                      <a:pt x="148" y="69"/>
                    </a:lnTo>
                    <a:lnTo>
                      <a:pt x="151" y="75"/>
                    </a:lnTo>
                    <a:lnTo>
                      <a:pt x="154" y="81"/>
                    </a:lnTo>
                    <a:lnTo>
                      <a:pt x="156" y="88"/>
                    </a:lnTo>
                    <a:lnTo>
                      <a:pt x="159" y="103"/>
                    </a:lnTo>
                    <a:lnTo>
                      <a:pt x="160" y="120"/>
                    </a:lnTo>
                    <a:lnTo>
                      <a:pt x="160" y="12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1" name="Freeform 30"/>
              <p:cNvSpPr>
                <a:spLocks/>
              </p:cNvSpPr>
              <p:nvPr userDrawn="1"/>
            </p:nvSpPr>
            <p:spPr bwMode="auto">
              <a:xfrm>
                <a:off x="1943100" y="6149194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4 w 181"/>
                  <a:gd name="T3" fmla="*/ 22 h 239"/>
                  <a:gd name="T4" fmla="*/ 145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2 w 181"/>
                  <a:gd name="T19" fmla="*/ 40 h 239"/>
                  <a:gd name="T20" fmla="*/ 12 w 181"/>
                  <a:gd name="T21" fmla="*/ 59 h 239"/>
                  <a:gd name="T22" fmla="*/ 4 w 181"/>
                  <a:gd name="T23" fmla="*/ 81 h 239"/>
                  <a:gd name="T24" fmla="*/ 0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7 w 181"/>
                  <a:gd name="T31" fmla="*/ 169 h 239"/>
                  <a:gd name="T32" fmla="*/ 16 w 181"/>
                  <a:gd name="T33" fmla="*/ 189 h 239"/>
                  <a:gd name="T34" fmla="*/ 28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8 w 181"/>
                  <a:gd name="T41" fmla="*/ 237 h 239"/>
                  <a:gd name="T42" fmla="*/ 99 w 181"/>
                  <a:gd name="T43" fmla="*/ 239 h 239"/>
                  <a:gd name="T44" fmla="*/ 113 w 181"/>
                  <a:gd name="T45" fmla="*/ 238 h 239"/>
                  <a:gd name="T46" fmla="*/ 138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39 w 181"/>
                  <a:gd name="T55" fmla="*/ 180 h 239"/>
                  <a:gd name="T56" fmla="*/ 127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3 w 181"/>
                  <a:gd name="T63" fmla="*/ 196 h 239"/>
                  <a:gd name="T64" fmla="*/ 82 w 181"/>
                  <a:gd name="T65" fmla="*/ 193 h 239"/>
                  <a:gd name="T66" fmla="*/ 71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3 w 181"/>
                  <a:gd name="T79" fmla="*/ 74 h 239"/>
                  <a:gd name="T80" fmla="*/ 60 w 181"/>
                  <a:gd name="T81" fmla="*/ 64 h 239"/>
                  <a:gd name="T82" fmla="*/ 67 w 181"/>
                  <a:gd name="T83" fmla="*/ 55 h 239"/>
                  <a:gd name="T84" fmla="*/ 76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6 w 181"/>
                  <a:gd name="T91" fmla="*/ 43 h 239"/>
                  <a:gd name="T92" fmla="*/ 120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4" y="22"/>
                    </a:lnTo>
                    <a:lnTo>
                      <a:pt x="155" y="16"/>
                    </a:lnTo>
                    <a:lnTo>
                      <a:pt x="145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2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2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4" y="81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7" y="169"/>
                    </a:lnTo>
                    <a:lnTo>
                      <a:pt x="11" y="179"/>
                    </a:lnTo>
                    <a:lnTo>
                      <a:pt x="16" y="189"/>
                    </a:lnTo>
                    <a:lnTo>
                      <a:pt x="22" y="198"/>
                    </a:lnTo>
                    <a:lnTo>
                      <a:pt x="28" y="206"/>
                    </a:lnTo>
                    <a:lnTo>
                      <a:pt x="35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8" y="237"/>
                    </a:lnTo>
                    <a:lnTo>
                      <a:pt x="88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3" y="238"/>
                    </a:lnTo>
                    <a:lnTo>
                      <a:pt x="126" y="235"/>
                    </a:lnTo>
                    <a:lnTo>
                      <a:pt x="138" y="231"/>
                    </a:lnTo>
                    <a:lnTo>
                      <a:pt x="148" y="226"/>
                    </a:lnTo>
                    <a:lnTo>
                      <a:pt x="158" y="220"/>
                    </a:lnTo>
                    <a:lnTo>
                      <a:pt x="166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39" y="180"/>
                    </a:lnTo>
                    <a:lnTo>
                      <a:pt x="133" y="185"/>
                    </a:lnTo>
                    <a:lnTo>
                      <a:pt x="127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3" y="196"/>
                    </a:lnTo>
                    <a:lnTo>
                      <a:pt x="87" y="195"/>
                    </a:lnTo>
                    <a:lnTo>
                      <a:pt x="82" y="193"/>
                    </a:lnTo>
                    <a:lnTo>
                      <a:pt x="76" y="190"/>
                    </a:lnTo>
                    <a:lnTo>
                      <a:pt x="71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59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3" y="74"/>
                    </a:lnTo>
                    <a:lnTo>
                      <a:pt x="56" y="69"/>
                    </a:lnTo>
                    <a:lnTo>
                      <a:pt x="60" y="64"/>
                    </a:lnTo>
                    <a:lnTo>
                      <a:pt x="63" y="59"/>
                    </a:lnTo>
                    <a:lnTo>
                      <a:pt x="67" y="55"/>
                    </a:lnTo>
                    <a:lnTo>
                      <a:pt x="72" y="51"/>
                    </a:lnTo>
                    <a:lnTo>
                      <a:pt x="76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6" y="43"/>
                    </a:lnTo>
                    <a:lnTo>
                      <a:pt x="113" y="45"/>
                    </a:lnTo>
                    <a:lnTo>
                      <a:pt x="120" y="47"/>
                    </a:lnTo>
                    <a:lnTo>
                      <a:pt x="127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4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2" name="Freeform 31"/>
              <p:cNvSpPr>
                <a:spLocks noEditPoints="1"/>
              </p:cNvSpPr>
              <p:nvPr userDrawn="1"/>
            </p:nvSpPr>
            <p:spPr bwMode="auto">
              <a:xfrm>
                <a:off x="2027237" y="6119032"/>
                <a:ext cx="82550" cy="125413"/>
              </a:xfrm>
              <a:custGeom>
                <a:avLst/>
                <a:gdLst>
                  <a:gd name="T0" fmla="*/ 211 w 211"/>
                  <a:gd name="T1" fmla="*/ 81 h 315"/>
                  <a:gd name="T2" fmla="*/ 209 w 211"/>
                  <a:gd name="T3" fmla="*/ 62 h 315"/>
                  <a:gd name="T4" fmla="*/ 204 w 211"/>
                  <a:gd name="T5" fmla="*/ 46 h 315"/>
                  <a:gd name="T6" fmla="*/ 195 w 211"/>
                  <a:gd name="T7" fmla="*/ 32 h 315"/>
                  <a:gd name="T8" fmla="*/ 182 w 211"/>
                  <a:gd name="T9" fmla="*/ 21 h 315"/>
                  <a:gd name="T10" fmla="*/ 167 w 211"/>
                  <a:gd name="T11" fmla="*/ 12 h 315"/>
                  <a:gd name="T12" fmla="*/ 149 w 211"/>
                  <a:gd name="T13" fmla="*/ 5 h 315"/>
                  <a:gd name="T14" fmla="*/ 128 w 211"/>
                  <a:gd name="T15" fmla="*/ 1 h 315"/>
                  <a:gd name="T16" fmla="*/ 106 w 211"/>
                  <a:gd name="T17" fmla="*/ 0 h 315"/>
                  <a:gd name="T18" fmla="*/ 89 w 211"/>
                  <a:gd name="T19" fmla="*/ 1 h 315"/>
                  <a:gd name="T20" fmla="*/ 59 w 211"/>
                  <a:gd name="T21" fmla="*/ 8 h 315"/>
                  <a:gd name="T22" fmla="*/ 32 w 211"/>
                  <a:gd name="T23" fmla="*/ 20 h 315"/>
                  <a:gd name="T24" fmla="*/ 9 w 211"/>
                  <a:gd name="T25" fmla="*/ 36 h 315"/>
                  <a:gd name="T26" fmla="*/ 29 w 211"/>
                  <a:gd name="T27" fmla="*/ 79 h 315"/>
                  <a:gd name="T28" fmla="*/ 38 w 211"/>
                  <a:gd name="T29" fmla="*/ 71 h 315"/>
                  <a:gd name="T30" fmla="*/ 56 w 211"/>
                  <a:gd name="T31" fmla="*/ 58 h 315"/>
                  <a:gd name="T32" fmla="*/ 74 w 211"/>
                  <a:gd name="T33" fmla="*/ 50 h 315"/>
                  <a:gd name="T34" fmla="*/ 94 w 211"/>
                  <a:gd name="T35" fmla="*/ 46 h 315"/>
                  <a:gd name="T36" fmla="*/ 105 w 211"/>
                  <a:gd name="T37" fmla="*/ 45 h 315"/>
                  <a:gd name="T38" fmla="*/ 130 w 211"/>
                  <a:gd name="T39" fmla="*/ 48 h 315"/>
                  <a:gd name="T40" fmla="*/ 149 w 211"/>
                  <a:gd name="T41" fmla="*/ 55 h 315"/>
                  <a:gd name="T42" fmla="*/ 161 w 211"/>
                  <a:gd name="T43" fmla="*/ 67 h 315"/>
                  <a:gd name="T44" fmla="*/ 165 w 211"/>
                  <a:gd name="T45" fmla="*/ 84 h 315"/>
                  <a:gd name="T46" fmla="*/ 164 w 211"/>
                  <a:gd name="T47" fmla="*/ 91 h 315"/>
                  <a:gd name="T48" fmla="*/ 160 w 211"/>
                  <a:gd name="T49" fmla="*/ 103 h 315"/>
                  <a:gd name="T50" fmla="*/ 152 w 211"/>
                  <a:gd name="T51" fmla="*/ 113 h 315"/>
                  <a:gd name="T52" fmla="*/ 131 w 211"/>
                  <a:gd name="T53" fmla="*/ 127 h 315"/>
                  <a:gd name="T54" fmla="*/ 115 w 211"/>
                  <a:gd name="T55" fmla="*/ 137 h 315"/>
                  <a:gd name="T56" fmla="*/ 92 w 211"/>
                  <a:gd name="T57" fmla="*/ 155 h 315"/>
                  <a:gd name="T58" fmla="*/ 84 w 211"/>
                  <a:gd name="T59" fmla="*/ 165 h 315"/>
                  <a:gd name="T60" fmla="*/ 79 w 211"/>
                  <a:gd name="T61" fmla="*/ 177 h 315"/>
                  <a:gd name="T62" fmla="*/ 74 w 211"/>
                  <a:gd name="T63" fmla="*/ 204 h 315"/>
                  <a:gd name="T64" fmla="*/ 121 w 211"/>
                  <a:gd name="T65" fmla="*/ 222 h 315"/>
                  <a:gd name="T66" fmla="*/ 121 w 211"/>
                  <a:gd name="T67" fmla="*/ 211 h 315"/>
                  <a:gd name="T68" fmla="*/ 124 w 211"/>
                  <a:gd name="T69" fmla="*/ 193 h 315"/>
                  <a:gd name="T70" fmla="*/ 131 w 211"/>
                  <a:gd name="T71" fmla="*/ 180 h 315"/>
                  <a:gd name="T72" fmla="*/ 145 w 211"/>
                  <a:gd name="T73" fmla="*/ 168 h 315"/>
                  <a:gd name="T74" fmla="*/ 155 w 211"/>
                  <a:gd name="T75" fmla="*/ 163 h 315"/>
                  <a:gd name="T76" fmla="*/ 179 w 211"/>
                  <a:gd name="T77" fmla="*/ 147 h 315"/>
                  <a:gd name="T78" fmla="*/ 197 w 211"/>
                  <a:gd name="T79" fmla="*/ 130 h 315"/>
                  <a:gd name="T80" fmla="*/ 208 w 211"/>
                  <a:gd name="T81" fmla="*/ 109 h 315"/>
                  <a:gd name="T82" fmla="*/ 211 w 211"/>
                  <a:gd name="T83" fmla="*/ 81 h 315"/>
                  <a:gd name="T84" fmla="*/ 130 w 211"/>
                  <a:gd name="T85" fmla="*/ 282 h 315"/>
                  <a:gd name="T86" fmla="*/ 129 w 211"/>
                  <a:gd name="T87" fmla="*/ 276 h 315"/>
                  <a:gd name="T88" fmla="*/ 124 w 211"/>
                  <a:gd name="T89" fmla="*/ 264 h 315"/>
                  <a:gd name="T90" fmla="*/ 115 w 211"/>
                  <a:gd name="T91" fmla="*/ 255 h 315"/>
                  <a:gd name="T92" fmla="*/ 104 w 211"/>
                  <a:gd name="T93" fmla="*/ 250 h 315"/>
                  <a:gd name="T94" fmla="*/ 97 w 211"/>
                  <a:gd name="T95" fmla="*/ 249 h 315"/>
                  <a:gd name="T96" fmla="*/ 85 w 211"/>
                  <a:gd name="T97" fmla="*/ 252 h 315"/>
                  <a:gd name="T98" fmla="*/ 74 w 211"/>
                  <a:gd name="T99" fmla="*/ 259 h 315"/>
                  <a:gd name="T100" fmla="*/ 67 w 211"/>
                  <a:gd name="T101" fmla="*/ 269 h 315"/>
                  <a:gd name="T102" fmla="*/ 65 w 211"/>
                  <a:gd name="T103" fmla="*/ 282 h 315"/>
                  <a:gd name="T104" fmla="*/ 65 w 211"/>
                  <a:gd name="T105" fmla="*/ 289 h 315"/>
                  <a:gd name="T106" fmla="*/ 70 w 211"/>
                  <a:gd name="T107" fmla="*/ 301 h 315"/>
                  <a:gd name="T108" fmla="*/ 79 w 211"/>
                  <a:gd name="T109" fmla="*/ 309 h 315"/>
                  <a:gd name="T110" fmla="*/ 91 w 211"/>
                  <a:gd name="T111" fmla="*/ 314 h 315"/>
                  <a:gd name="T112" fmla="*/ 97 w 211"/>
                  <a:gd name="T113" fmla="*/ 315 h 315"/>
                  <a:gd name="T114" fmla="*/ 110 w 211"/>
                  <a:gd name="T115" fmla="*/ 312 h 315"/>
                  <a:gd name="T116" fmla="*/ 120 w 211"/>
                  <a:gd name="T117" fmla="*/ 305 h 315"/>
                  <a:gd name="T118" fmla="*/ 127 w 211"/>
                  <a:gd name="T119" fmla="*/ 295 h 315"/>
                  <a:gd name="T120" fmla="*/ 130 w 211"/>
                  <a:gd name="T121" fmla="*/ 28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11" h="315">
                    <a:moveTo>
                      <a:pt x="211" y="81"/>
                    </a:moveTo>
                    <a:lnTo>
                      <a:pt x="211" y="81"/>
                    </a:lnTo>
                    <a:lnTo>
                      <a:pt x="211" y="71"/>
                    </a:lnTo>
                    <a:lnTo>
                      <a:pt x="209" y="62"/>
                    </a:lnTo>
                    <a:lnTo>
                      <a:pt x="207" y="54"/>
                    </a:lnTo>
                    <a:lnTo>
                      <a:pt x="204" y="46"/>
                    </a:lnTo>
                    <a:lnTo>
                      <a:pt x="199" y="39"/>
                    </a:lnTo>
                    <a:lnTo>
                      <a:pt x="195" y="32"/>
                    </a:lnTo>
                    <a:lnTo>
                      <a:pt x="189" y="26"/>
                    </a:lnTo>
                    <a:lnTo>
                      <a:pt x="182" y="21"/>
                    </a:lnTo>
                    <a:lnTo>
                      <a:pt x="175" y="16"/>
                    </a:lnTo>
                    <a:lnTo>
                      <a:pt x="167" y="12"/>
                    </a:lnTo>
                    <a:lnTo>
                      <a:pt x="159" y="8"/>
                    </a:lnTo>
                    <a:lnTo>
                      <a:pt x="149" y="5"/>
                    </a:lnTo>
                    <a:lnTo>
                      <a:pt x="139" y="3"/>
                    </a:lnTo>
                    <a:lnTo>
                      <a:pt x="128" y="1"/>
                    </a:lnTo>
                    <a:lnTo>
                      <a:pt x="117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89" y="1"/>
                    </a:lnTo>
                    <a:lnTo>
                      <a:pt x="74" y="4"/>
                    </a:lnTo>
                    <a:lnTo>
                      <a:pt x="59" y="8"/>
                    </a:lnTo>
                    <a:lnTo>
                      <a:pt x="45" y="13"/>
                    </a:lnTo>
                    <a:lnTo>
                      <a:pt x="32" y="20"/>
                    </a:lnTo>
                    <a:lnTo>
                      <a:pt x="20" y="27"/>
                    </a:lnTo>
                    <a:lnTo>
                      <a:pt x="9" y="36"/>
                    </a:lnTo>
                    <a:lnTo>
                      <a:pt x="0" y="45"/>
                    </a:lnTo>
                    <a:lnTo>
                      <a:pt x="29" y="79"/>
                    </a:lnTo>
                    <a:lnTo>
                      <a:pt x="29" y="79"/>
                    </a:lnTo>
                    <a:lnTo>
                      <a:pt x="38" y="71"/>
                    </a:lnTo>
                    <a:lnTo>
                      <a:pt x="47" y="64"/>
                    </a:lnTo>
                    <a:lnTo>
                      <a:pt x="56" y="58"/>
                    </a:lnTo>
                    <a:lnTo>
                      <a:pt x="65" y="54"/>
                    </a:lnTo>
                    <a:lnTo>
                      <a:pt x="74" y="50"/>
                    </a:lnTo>
                    <a:lnTo>
                      <a:pt x="84" y="47"/>
                    </a:lnTo>
                    <a:lnTo>
                      <a:pt x="94" y="46"/>
                    </a:lnTo>
                    <a:lnTo>
                      <a:pt x="105" y="45"/>
                    </a:lnTo>
                    <a:lnTo>
                      <a:pt x="105" y="45"/>
                    </a:lnTo>
                    <a:lnTo>
                      <a:pt x="118" y="46"/>
                    </a:lnTo>
                    <a:lnTo>
                      <a:pt x="130" y="48"/>
                    </a:lnTo>
                    <a:lnTo>
                      <a:pt x="140" y="51"/>
                    </a:lnTo>
                    <a:lnTo>
                      <a:pt x="149" y="55"/>
                    </a:lnTo>
                    <a:lnTo>
                      <a:pt x="156" y="61"/>
                    </a:lnTo>
                    <a:lnTo>
                      <a:pt x="161" y="67"/>
                    </a:lnTo>
                    <a:lnTo>
                      <a:pt x="164" y="75"/>
                    </a:lnTo>
                    <a:lnTo>
                      <a:pt x="165" y="84"/>
                    </a:lnTo>
                    <a:lnTo>
                      <a:pt x="165" y="84"/>
                    </a:lnTo>
                    <a:lnTo>
                      <a:pt x="164" y="91"/>
                    </a:lnTo>
                    <a:lnTo>
                      <a:pt x="163" y="98"/>
                    </a:lnTo>
                    <a:lnTo>
                      <a:pt x="160" y="103"/>
                    </a:lnTo>
                    <a:lnTo>
                      <a:pt x="157" y="108"/>
                    </a:lnTo>
                    <a:lnTo>
                      <a:pt x="152" y="113"/>
                    </a:lnTo>
                    <a:lnTo>
                      <a:pt x="147" y="118"/>
                    </a:lnTo>
                    <a:lnTo>
                      <a:pt x="131" y="127"/>
                    </a:lnTo>
                    <a:lnTo>
                      <a:pt x="131" y="127"/>
                    </a:lnTo>
                    <a:lnTo>
                      <a:pt x="115" y="137"/>
                    </a:lnTo>
                    <a:lnTo>
                      <a:pt x="102" y="146"/>
                    </a:lnTo>
                    <a:lnTo>
                      <a:pt x="92" y="155"/>
                    </a:lnTo>
                    <a:lnTo>
                      <a:pt x="88" y="160"/>
                    </a:lnTo>
                    <a:lnTo>
                      <a:pt x="84" y="165"/>
                    </a:lnTo>
                    <a:lnTo>
                      <a:pt x="81" y="171"/>
                    </a:lnTo>
                    <a:lnTo>
                      <a:pt x="79" y="177"/>
                    </a:lnTo>
                    <a:lnTo>
                      <a:pt x="76" y="189"/>
                    </a:lnTo>
                    <a:lnTo>
                      <a:pt x="74" y="204"/>
                    </a:lnTo>
                    <a:lnTo>
                      <a:pt x="74" y="222"/>
                    </a:lnTo>
                    <a:lnTo>
                      <a:pt x="121" y="222"/>
                    </a:lnTo>
                    <a:lnTo>
                      <a:pt x="121" y="222"/>
                    </a:lnTo>
                    <a:lnTo>
                      <a:pt x="121" y="211"/>
                    </a:lnTo>
                    <a:lnTo>
                      <a:pt x="122" y="201"/>
                    </a:lnTo>
                    <a:lnTo>
                      <a:pt x="124" y="193"/>
                    </a:lnTo>
                    <a:lnTo>
                      <a:pt x="127" y="186"/>
                    </a:lnTo>
                    <a:lnTo>
                      <a:pt x="131" y="180"/>
                    </a:lnTo>
                    <a:lnTo>
                      <a:pt x="137" y="174"/>
                    </a:lnTo>
                    <a:lnTo>
                      <a:pt x="145" y="168"/>
                    </a:lnTo>
                    <a:lnTo>
                      <a:pt x="155" y="163"/>
                    </a:lnTo>
                    <a:lnTo>
                      <a:pt x="155" y="163"/>
                    </a:lnTo>
                    <a:lnTo>
                      <a:pt x="168" y="155"/>
                    </a:lnTo>
                    <a:lnTo>
                      <a:pt x="179" y="147"/>
                    </a:lnTo>
                    <a:lnTo>
                      <a:pt x="189" y="139"/>
                    </a:lnTo>
                    <a:lnTo>
                      <a:pt x="197" y="130"/>
                    </a:lnTo>
                    <a:lnTo>
                      <a:pt x="203" y="120"/>
                    </a:lnTo>
                    <a:lnTo>
                      <a:pt x="208" y="109"/>
                    </a:lnTo>
                    <a:lnTo>
                      <a:pt x="210" y="96"/>
                    </a:lnTo>
                    <a:lnTo>
                      <a:pt x="211" y="81"/>
                    </a:lnTo>
                    <a:lnTo>
                      <a:pt x="211" y="81"/>
                    </a:lnTo>
                    <a:close/>
                    <a:moveTo>
                      <a:pt x="130" y="282"/>
                    </a:moveTo>
                    <a:lnTo>
                      <a:pt x="130" y="282"/>
                    </a:lnTo>
                    <a:lnTo>
                      <a:pt x="129" y="276"/>
                    </a:lnTo>
                    <a:lnTo>
                      <a:pt x="127" y="269"/>
                    </a:lnTo>
                    <a:lnTo>
                      <a:pt x="124" y="264"/>
                    </a:lnTo>
                    <a:lnTo>
                      <a:pt x="120" y="259"/>
                    </a:lnTo>
                    <a:lnTo>
                      <a:pt x="115" y="255"/>
                    </a:lnTo>
                    <a:lnTo>
                      <a:pt x="110" y="252"/>
                    </a:lnTo>
                    <a:lnTo>
                      <a:pt x="104" y="250"/>
                    </a:lnTo>
                    <a:lnTo>
                      <a:pt x="97" y="249"/>
                    </a:lnTo>
                    <a:lnTo>
                      <a:pt x="97" y="249"/>
                    </a:lnTo>
                    <a:lnTo>
                      <a:pt x="91" y="250"/>
                    </a:lnTo>
                    <a:lnTo>
                      <a:pt x="85" y="252"/>
                    </a:lnTo>
                    <a:lnTo>
                      <a:pt x="79" y="255"/>
                    </a:lnTo>
                    <a:lnTo>
                      <a:pt x="74" y="259"/>
                    </a:lnTo>
                    <a:lnTo>
                      <a:pt x="70" y="264"/>
                    </a:lnTo>
                    <a:lnTo>
                      <a:pt x="67" y="269"/>
                    </a:lnTo>
                    <a:lnTo>
                      <a:pt x="65" y="276"/>
                    </a:lnTo>
                    <a:lnTo>
                      <a:pt x="65" y="282"/>
                    </a:lnTo>
                    <a:lnTo>
                      <a:pt x="65" y="282"/>
                    </a:lnTo>
                    <a:lnTo>
                      <a:pt x="65" y="289"/>
                    </a:lnTo>
                    <a:lnTo>
                      <a:pt x="67" y="295"/>
                    </a:lnTo>
                    <a:lnTo>
                      <a:pt x="70" y="301"/>
                    </a:lnTo>
                    <a:lnTo>
                      <a:pt x="74" y="305"/>
                    </a:lnTo>
                    <a:lnTo>
                      <a:pt x="79" y="309"/>
                    </a:lnTo>
                    <a:lnTo>
                      <a:pt x="85" y="312"/>
                    </a:lnTo>
                    <a:lnTo>
                      <a:pt x="91" y="314"/>
                    </a:lnTo>
                    <a:lnTo>
                      <a:pt x="97" y="315"/>
                    </a:lnTo>
                    <a:lnTo>
                      <a:pt x="97" y="315"/>
                    </a:lnTo>
                    <a:lnTo>
                      <a:pt x="104" y="314"/>
                    </a:lnTo>
                    <a:lnTo>
                      <a:pt x="110" y="312"/>
                    </a:lnTo>
                    <a:lnTo>
                      <a:pt x="115" y="309"/>
                    </a:lnTo>
                    <a:lnTo>
                      <a:pt x="120" y="305"/>
                    </a:lnTo>
                    <a:lnTo>
                      <a:pt x="124" y="301"/>
                    </a:lnTo>
                    <a:lnTo>
                      <a:pt x="127" y="295"/>
                    </a:lnTo>
                    <a:lnTo>
                      <a:pt x="129" y="289"/>
                    </a:lnTo>
                    <a:lnTo>
                      <a:pt x="130" y="282"/>
                    </a:lnTo>
                    <a:lnTo>
                      <a:pt x="130" y="28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3" name="Freeform 32"/>
              <p:cNvSpPr>
                <a:spLocks/>
              </p:cNvSpPr>
              <p:nvPr userDrawn="1"/>
            </p:nvSpPr>
            <p:spPr bwMode="auto">
              <a:xfrm>
                <a:off x="2163762" y="6120619"/>
                <a:ext cx="104775" cy="122238"/>
              </a:xfrm>
              <a:custGeom>
                <a:avLst/>
                <a:gdLst>
                  <a:gd name="T0" fmla="*/ 120 w 264"/>
                  <a:gd name="T1" fmla="*/ 305 h 305"/>
                  <a:gd name="T2" fmla="*/ 264 w 264"/>
                  <a:gd name="T3" fmla="*/ 0 h 305"/>
                  <a:gd name="T4" fmla="*/ 212 w 264"/>
                  <a:gd name="T5" fmla="*/ 0 h 305"/>
                  <a:gd name="T6" fmla="*/ 170 w 264"/>
                  <a:gd name="T7" fmla="*/ 98 h 305"/>
                  <a:gd name="T8" fmla="*/ 170 w 264"/>
                  <a:gd name="T9" fmla="*/ 98 h 305"/>
                  <a:gd name="T10" fmla="*/ 154 w 264"/>
                  <a:gd name="T11" fmla="*/ 136 h 305"/>
                  <a:gd name="T12" fmla="*/ 141 w 264"/>
                  <a:gd name="T13" fmla="*/ 167 h 305"/>
                  <a:gd name="T14" fmla="*/ 141 w 264"/>
                  <a:gd name="T15" fmla="*/ 167 h 305"/>
                  <a:gd name="T16" fmla="*/ 126 w 264"/>
                  <a:gd name="T17" fmla="*/ 135 h 305"/>
                  <a:gd name="T18" fmla="*/ 107 w 264"/>
                  <a:gd name="T19" fmla="*/ 97 h 305"/>
                  <a:gd name="T20" fmla="*/ 57 w 264"/>
                  <a:gd name="T21" fmla="*/ 0 h 305"/>
                  <a:gd name="T22" fmla="*/ 0 w 264"/>
                  <a:gd name="T23" fmla="*/ 0 h 305"/>
                  <a:gd name="T24" fmla="*/ 115 w 264"/>
                  <a:gd name="T25" fmla="*/ 213 h 305"/>
                  <a:gd name="T26" fmla="*/ 69 w 264"/>
                  <a:gd name="T27" fmla="*/ 305 h 305"/>
                  <a:gd name="T28" fmla="*/ 120 w 264"/>
                  <a:gd name="T2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305">
                    <a:moveTo>
                      <a:pt x="120" y="305"/>
                    </a:moveTo>
                    <a:lnTo>
                      <a:pt x="264" y="0"/>
                    </a:lnTo>
                    <a:lnTo>
                      <a:pt x="212" y="0"/>
                    </a:lnTo>
                    <a:lnTo>
                      <a:pt x="170" y="98"/>
                    </a:lnTo>
                    <a:lnTo>
                      <a:pt x="170" y="98"/>
                    </a:lnTo>
                    <a:lnTo>
                      <a:pt x="154" y="136"/>
                    </a:lnTo>
                    <a:lnTo>
                      <a:pt x="141" y="167"/>
                    </a:lnTo>
                    <a:lnTo>
                      <a:pt x="141" y="167"/>
                    </a:lnTo>
                    <a:lnTo>
                      <a:pt x="126" y="135"/>
                    </a:lnTo>
                    <a:lnTo>
                      <a:pt x="107" y="97"/>
                    </a:lnTo>
                    <a:lnTo>
                      <a:pt x="57" y="0"/>
                    </a:lnTo>
                    <a:lnTo>
                      <a:pt x="0" y="0"/>
                    </a:lnTo>
                    <a:lnTo>
                      <a:pt x="115" y="213"/>
                    </a:lnTo>
                    <a:lnTo>
                      <a:pt x="69" y="305"/>
                    </a:lnTo>
                    <a:lnTo>
                      <a:pt x="120" y="30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4" name="Freeform 33"/>
              <p:cNvSpPr>
                <a:spLocks/>
              </p:cNvSpPr>
              <p:nvPr userDrawn="1"/>
            </p:nvSpPr>
            <p:spPr bwMode="auto">
              <a:xfrm>
                <a:off x="2327275" y="6150782"/>
                <a:ext cx="73025" cy="92075"/>
              </a:xfrm>
              <a:custGeom>
                <a:avLst/>
                <a:gdLst>
                  <a:gd name="T0" fmla="*/ 139 w 184"/>
                  <a:gd name="T1" fmla="*/ 0 h 229"/>
                  <a:gd name="T2" fmla="*/ 139 w 184"/>
                  <a:gd name="T3" fmla="*/ 88 h 229"/>
                  <a:gd name="T4" fmla="*/ 45 w 184"/>
                  <a:gd name="T5" fmla="*/ 88 h 229"/>
                  <a:gd name="T6" fmla="*/ 45 w 184"/>
                  <a:gd name="T7" fmla="*/ 0 h 229"/>
                  <a:gd name="T8" fmla="*/ 0 w 184"/>
                  <a:gd name="T9" fmla="*/ 0 h 229"/>
                  <a:gd name="T10" fmla="*/ 0 w 184"/>
                  <a:gd name="T11" fmla="*/ 229 h 229"/>
                  <a:gd name="T12" fmla="*/ 45 w 184"/>
                  <a:gd name="T13" fmla="*/ 229 h 229"/>
                  <a:gd name="T14" fmla="*/ 45 w 184"/>
                  <a:gd name="T15" fmla="*/ 127 h 229"/>
                  <a:gd name="T16" fmla="*/ 139 w 184"/>
                  <a:gd name="T17" fmla="*/ 127 h 229"/>
                  <a:gd name="T18" fmla="*/ 139 w 184"/>
                  <a:gd name="T19" fmla="*/ 229 h 229"/>
                  <a:gd name="T20" fmla="*/ 184 w 184"/>
                  <a:gd name="T21" fmla="*/ 229 h 229"/>
                  <a:gd name="T22" fmla="*/ 184 w 184"/>
                  <a:gd name="T23" fmla="*/ 0 h 229"/>
                  <a:gd name="T24" fmla="*/ 139 w 184"/>
                  <a:gd name="T25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4" h="229">
                    <a:moveTo>
                      <a:pt x="139" y="0"/>
                    </a:moveTo>
                    <a:lnTo>
                      <a:pt x="139" y="88"/>
                    </a:lnTo>
                    <a:lnTo>
                      <a:pt x="45" y="88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29"/>
                    </a:lnTo>
                    <a:lnTo>
                      <a:pt x="45" y="229"/>
                    </a:lnTo>
                    <a:lnTo>
                      <a:pt x="45" y="127"/>
                    </a:lnTo>
                    <a:lnTo>
                      <a:pt x="139" y="127"/>
                    </a:lnTo>
                    <a:lnTo>
                      <a:pt x="139" y="229"/>
                    </a:lnTo>
                    <a:lnTo>
                      <a:pt x="184" y="229"/>
                    </a:lnTo>
                    <a:lnTo>
                      <a:pt x="184" y="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5" name="Freeform 34"/>
              <p:cNvSpPr>
                <a:spLocks noEditPoints="1"/>
              </p:cNvSpPr>
              <p:nvPr userDrawn="1"/>
            </p:nvSpPr>
            <p:spPr bwMode="auto">
              <a:xfrm>
                <a:off x="2419350" y="6149194"/>
                <a:ext cx="73025" cy="95250"/>
              </a:xfrm>
              <a:custGeom>
                <a:avLst/>
                <a:gdLst>
                  <a:gd name="T0" fmla="*/ 187 w 187"/>
                  <a:gd name="T1" fmla="*/ 77 h 239"/>
                  <a:gd name="T2" fmla="*/ 187 w 187"/>
                  <a:gd name="T3" fmla="*/ 68 h 239"/>
                  <a:gd name="T4" fmla="*/ 184 w 187"/>
                  <a:gd name="T5" fmla="*/ 51 h 239"/>
                  <a:gd name="T6" fmla="*/ 178 w 187"/>
                  <a:gd name="T7" fmla="*/ 36 h 239"/>
                  <a:gd name="T8" fmla="*/ 169 w 187"/>
                  <a:gd name="T9" fmla="*/ 24 h 239"/>
                  <a:gd name="T10" fmla="*/ 158 w 187"/>
                  <a:gd name="T11" fmla="*/ 15 h 239"/>
                  <a:gd name="T12" fmla="*/ 143 w 187"/>
                  <a:gd name="T13" fmla="*/ 8 h 239"/>
                  <a:gd name="T14" fmla="*/ 127 w 187"/>
                  <a:gd name="T15" fmla="*/ 3 h 239"/>
                  <a:gd name="T16" fmla="*/ 110 w 187"/>
                  <a:gd name="T17" fmla="*/ 1 h 239"/>
                  <a:gd name="T18" fmla="*/ 101 w 187"/>
                  <a:gd name="T19" fmla="*/ 0 h 239"/>
                  <a:gd name="T20" fmla="*/ 78 w 187"/>
                  <a:gd name="T21" fmla="*/ 2 h 239"/>
                  <a:gd name="T22" fmla="*/ 57 w 187"/>
                  <a:gd name="T23" fmla="*/ 6 h 239"/>
                  <a:gd name="T24" fmla="*/ 39 w 187"/>
                  <a:gd name="T25" fmla="*/ 12 h 239"/>
                  <a:gd name="T26" fmla="*/ 22 w 187"/>
                  <a:gd name="T27" fmla="*/ 21 h 239"/>
                  <a:gd name="T28" fmla="*/ 39 w 187"/>
                  <a:gd name="T29" fmla="*/ 55 h 239"/>
                  <a:gd name="T30" fmla="*/ 67 w 187"/>
                  <a:gd name="T31" fmla="*/ 44 h 239"/>
                  <a:gd name="T32" fmla="*/ 99 w 187"/>
                  <a:gd name="T33" fmla="*/ 40 h 239"/>
                  <a:gd name="T34" fmla="*/ 109 w 187"/>
                  <a:gd name="T35" fmla="*/ 41 h 239"/>
                  <a:gd name="T36" fmla="*/ 125 w 187"/>
                  <a:gd name="T37" fmla="*/ 46 h 239"/>
                  <a:gd name="T38" fmla="*/ 136 w 187"/>
                  <a:gd name="T39" fmla="*/ 56 h 239"/>
                  <a:gd name="T40" fmla="*/ 142 w 187"/>
                  <a:gd name="T41" fmla="*/ 70 h 239"/>
                  <a:gd name="T42" fmla="*/ 142 w 187"/>
                  <a:gd name="T43" fmla="*/ 96 h 239"/>
                  <a:gd name="T44" fmla="*/ 133 w 187"/>
                  <a:gd name="T45" fmla="*/ 93 h 239"/>
                  <a:gd name="T46" fmla="*/ 108 w 187"/>
                  <a:gd name="T47" fmla="*/ 88 h 239"/>
                  <a:gd name="T48" fmla="*/ 91 w 187"/>
                  <a:gd name="T49" fmla="*/ 88 h 239"/>
                  <a:gd name="T50" fmla="*/ 64 w 187"/>
                  <a:gd name="T51" fmla="*/ 90 h 239"/>
                  <a:gd name="T52" fmla="*/ 47 w 187"/>
                  <a:gd name="T53" fmla="*/ 94 h 239"/>
                  <a:gd name="T54" fmla="*/ 33 w 187"/>
                  <a:gd name="T55" fmla="*/ 101 h 239"/>
                  <a:gd name="T56" fmla="*/ 21 w 187"/>
                  <a:gd name="T57" fmla="*/ 110 h 239"/>
                  <a:gd name="T58" fmla="*/ 11 w 187"/>
                  <a:gd name="T59" fmla="*/ 122 h 239"/>
                  <a:gd name="T60" fmla="*/ 4 w 187"/>
                  <a:gd name="T61" fmla="*/ 136 h 239"/>
                  <a:gd name="T62" fmla="*/ 1 w 187"/>
                  <a:gd name="T63" fmla="*/ 152 h 239"/>
                  <a:gd name="T64" fmla="*/ 0 w 187"/>
                  <a:gd name="T65" fmla="*/ 162 h 239"/>
                  <a:gd name="T66" fmla="*/ 2 w 187"/>
                  <a:gd name="T67" fmla="*/ 181 h 239"/>
                  <a:gd name="T68" fmla="*/ 7 w 187"/>
                  <a:gd name="T69" fmla="*/ 197 h 239"/>
                  <a:gd name="T70" fmla="*/ 16 w 187"/>
                  <a:gd name="T71" fmla="*/ 211 h 239"/>
                  <a:gd name="T72" fmla="*/ 26 w 187"/>
                  <a:gd name="T73" fmla="*/ 221 h 239"/>
                  <a:gd name="T74" fmla="*/ 38 w 187"/>
                  <a:gd name="T75" fmla="*/ 229 h 239"/>
                  <a:gd name="T76" fmla="*/ 52 w 187"/>
                  <a:gd name="T77" fmla="*/ 235 h 239"/>
                  <a:gd name="T78" fmla="*/ 80 w 187"/>
                  <a:gd name="T79" fmla="*/ 239 h 239"/>
                  <a:gd name="T80" fmla="*/ 91 w 187"/>
                  <a:gd name="T81" fmla="*/ 238 h 239"/>
                  <a:gd name="T82" fmla="*/ 109 w 187"/>
                  <a:gd name="T83" fmla="*/ 234 h 239"/>
                  <a:gd name="T84" fmla="*/ 116 w 187"/>
                  <a:gd name="T85" fmla="*/ 231 h 239"/>
                  <a:gd name="T86" fmla="*/ 134 w 187"/>
                  <a:gd name="T87" fmla="*/ 218 h 239"/>
                  <a:gd name="T88" fmla="*/ 142 w 187"/>
                  <a:gd name="T89" fmla="*/ 234 h 239"/>
                  <a:gd name="T90" fmla="*/ 142 w 187"/>
                  <a:gd name="T91" fmla="*/ 169 h 239"/>
                  <a:gd name="T92" fmla="*/ 138 w 187"/>
                  <a:gd name="T93" fmla="*/ 174 h 239"/>
                  <a:gd name="T94" fmla="*/ 127 w 187"/>
                  <a:gd name="T95" fmla="*/ 185 h 239"/>
                  <a:gd name="T96" fmla="*/ 112 w 187"/>
                  <a:gd name="T97" fmla="*/ 193 h 239"/>
                  <a:gd name="T98" fmla="*/ 96 w 187"/>
                  <a:gd name="T99" fmla="*/ 198 h 239"/>
                  <a:gd name="T100" fmla="*/ 87 w 187"/>
                  <a:gd name="T101" fmla="*/ 198 h 239"/>
                  <a:gd name="T102" fmla="*/ 69 w 187"/>
                  <a:gd name="T103" fmla="*/ 196 h 239"/>
                  <a:gd name="T104" fmla="*/ 56 w 187"/>
                  <a:gd name="T105" fmla="*/ 189 h 239"/>
                  <a:gd name="T106" fmla="*/ 51 w 187"/>
                  <a:gd name="T107" fmla="*/ 184 h 239"/>
                  <a:gd name="T108" fmla="*/ 44 w 187"/>
                  <a:gd name="T109" fmla="*/ 170 h 239"/>
                  <a:gd name="T110" fmla="*/ 43 w 187"/>
                  <a:gd name="T111" fmla="*/ 160 h 239"/>
                  <a:gd name="T112" fmla="*/ 46 w 187"/>
                  <a:gd name="T113" fmla="*/ 146 h 239"/>
                  <a:gd name="T114" fmla="*/ 56 w 187"/>
                  <a:gd name="T115" fmla="*/ 136 h 239"/>
                  <a:gd name="T116" fmla="*/ 70 w 187"/>
                  <a:gd name="T117" fmla="*/ 129 h 239"/>
                  <a:gd name="T118" fmla="*/ 90 w 187"/>
                  <a:gd name="T119" fmla="*/ 126 h 239"/>
                  <a:gd name="T120" fmla="*/ 107 w 187"/>
                  <a:gd name="T121" fmla="*/ 127 h 239"/>
                  <a:gd name="T122" fmla="*/ 120 w 187"/>
                  <a:gd name="T123" fmla="*/ 129 h 239"/>
                  <a:gd name="T124" fmla="*/ 142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4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7" y="68"/>
                    </a:lnTo>
                    <a:lnTo>
                      <a:pt x="186" y="59"/>
                    </a:lnTo>
                    <a:lnTo>
                      <a:pt x="184" y="51"/>
                    </a:lnTo>
                    <a:lnTo>
                      <a:pt x="181" y="43"/>
                    </a:lnTo>
                    <a:lnTo>
                      <a:pt x="178" y="36"/>
                    </a:lnTo>
                    <a:lnTo>
                      <a:pt x="174" y="30"/>
                    </a:lnTo>
                    <a:lnTo>
                      <a:pt x="169" y="24"/>
                    </a:lnTo>
                    <a:lnTo>
                      <a:pt x="164" y="19"/>
                    </a:lnTo>
                    <a:lnTo>
                      <a:pt x="158" y="15"/>
                    </a:lnTo>
                    <a:lnTo>
                      <a:pt x="150" y="11"/>
                    </a:lnTo>
                    <a:lnTo>
                      <a:pt x="143" y="8"/>
                    </a:lnTo>
                    <a:lnTo>
                      <a:pt x="135" y="5"/>
                    </a:lnTo>
                    <a:lnTo>
                      <a:pt x="127" y="3"/>
                    </a:lnTo>
                    <a:lnTo>
                      <a:pt x="119" y="2"/>
                    </a:lnTo>
                    <a:lnTo>
                      <a:pt x="110" y="1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7" y="3"/>
                    </a:lnTo>
                    <a:lnTo>
                      <a:pt x="57" y="6"/>
                    </a:lnTo>
                    <a:lnTo>
                      <a:pt x="48" y="8"/>
                    </a:lnTo>
                    <a:lnTo>
                      <a:pt x="39" y="12"/>
                    </a:lnTo>
                    <a:lnTo>
                      <a:pt x="30" y="16"/>
                    </a:lnTo>
                    <a:lnTo>
                      <a:pt x="22" y="21"/>
                    </a:lnTo>
                    <a:lnTo>
                      <a:pt x="39" y="55"/>
                    </a:lnTo>
                    <a:lnTo>
                      <a:pt x="39" y="55"/>
                    </a:lnTo>
                    <a:lnTo>
                      <a:pt x="53" y="48"/>
                    </a:lnTo>
                    <a:lnTo>
                      <a:pt x="67" y="44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9" y="41"/>
                    </a:lnTo>
                    <a:lnTo>
                      <a:pt x="118" y="43"/>
                    </a:lnTo>
                    <a:lnTo>
                      <a:pt x="125" y="46"/>
                    </a:lnTo>
                    <a:lnTo>
                      <a:pt x="131" y="51"/>
                    </a:lnTo>
                    <a:lnTo>
                      <a:pt x="136" y="56"/>
                    </a:lnTo>
                    <a:lnTo>
                      <a:pt x="140" y="63"/>
                    </a:lnTo>
                    <a:lnTo>
                      <a:pt x="142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3" y="93"/>
                    </a:lnTo>
                    <a:lnTo>
                      <a:pt x="122" y="90"/>
                    </a:lnTo>
                    <a:lnTo>
                      <a:pt x="108" y="88"/>
                    </a:lnTo>
                    <a:lnTo>
                      <a:pt x="91" y="88"/>
                    </a:lnTo>
                    <a:lnTo>
                      <a:pt x="91" y="88"/>
                    </a:lnTo>
                    <a:lnTo>
                      <a:pt x="73" y="89"/>
                    </a:lnTo>
                    <a:lnTo>
                      <a:pt x="64" y="90"/>
                    </a:lnTo>
                    <a:lnTo>
                      <a:pt x="55" y="92"/>
                    </a:lnTo>
                    <a:lnTo>
                      <a:pt x="47" y="94"/>
                    </a:lnTo>
                    <a:lnTo>
                      <a:pt x="40" y="98"/>
                    </a:lnTo>
                    <a:lnTo>
                      <a:pt x="33" y="101"/>
                    </a:lnTo>
                    <a:lnTo>
                      <a:pt x="26" y="105"/>
                    </a:lnTo>
                    <a:lnTo>
                      <a:pt x="21" y="110"/>
                    </a:lnTo>
                    <a:lnTo>
                      <a:pt x="15" y="116"/>
                    </a:lnTo>
                    <a:lnTo>
                      <a:pt x="11" y="122"/>
                    </a:lnTo>
                    <a:lnTo>
                      <a:pt x="7" y="129"/>
                    </a:lnTo>
                    <a:lnTo>
                      <a:pt x="4" y="136"/>
                    </a:lnTo>
                    <a:lnTo>
                      <a:pt x="2" y="144"/>
                    </a:lnTo>
                    <a:lnTo>
                      <a:pt x="1" y="152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1" y="172"/>
                    </a:lnTo>
                    <a:lnTo>
                      <a:pt x="2" y="181"/>
                    </a:lnTo>
                    <a:lnTo>
                      <a:pt x="4" y="190"/>
                    </a:lnTo>
                    <a:lnTo>
                      <a:pt x="7" y="197"/>
                    </a:lnTo>
                    <a:lnTo>
                      <a:pt x="11" y="204"/>
                    </a:lnTo>
                    <a:lnTo>
                      <a:pt x="16" y="211"/>
                    </a:lnTo>
                    <a:lnTo>
                      <a:pt x="21" y="216"/>
                    </a:lnTo>
                    <a:lnTo>
                      <a:pt x="26" y="221"/>
                    </a:lnTo>
                    <a:lnTo>
                      <a:pt x="32" y="226"/>
                    </a:lnTo>
                    <a:lnTo>
                      <a:pt x="38" y="229"/>
                    </a:lnTo>
                    <a:lnTo>
                      <a:pt x="45" y="232"/>
                    </a:lnTo>
                    <a:lnTo>
                      <a:pt x="52" y="235"/>
                    </a:lnTo>
                    <a:lnTo>
                      <a:pt x="66" y="238"/>
                    </a:lnTo>
                    <a:lnTo>
                      <a:pt x="80" y="239"/>
                    </a:lnTo>
                    <a:lnTo>
                      <a:pt x="80" y="239"/>
                    </a:lnTo>
                    <a:lnTo>
                      <a:pt x="91" y="238"/>
                    </a:lnTo>
                    <a:lnTo>
                      <a:pt x="100" y="236"/>
                    </a:lnTo>
                    <a:lnTo>
                      <a:pt x="109" y="234"/>
                    </a:lnTo>
                    <a:lnTo>
                      <a:pt x="116" y="231"/>
                    </a:lnTo>
                    <a:lnTo>
                      <a:pt x="116" y="231"/>
                    </a:lnTo>
                    <a:lnTo>
                      <a:pt x="128" y="223"/>
                    </a:lnTo>
                    <a:lnTo>
                      <a:pt x="134" y="218"/>
                    </a:lnTo>
                    <a:lnTo>
                      <a:pt x="142" y="211"/>
                    </a:lnTo>
                    <a:lnTo>
                      <a:pt x="142" y="234"/>
                    </a:lnTo>
                    <a:lnTo>
                      <a:pt x="187" y="234"/>
                    </a:lnTo>
                    <a:close/>
                    <a:moveTo>
                      <a:pt x="142" y="169"/>
                    </a:moveTo>
                    <a:lnTo>
                      <a:pt x="142" y="169"/>
                    </a:lnTo>
                    <a:lnTo>
                      <a:pt x="138" y="174"/>
                    </a:lnTo>
                    <a:lnTo>
                      <a:pt x="133" y="180"/>
                    </a:lnTo>
                    <a:lnTo>
                      <a:pt x="127" y="185"/>
                    </a:lnTo>
                    <a:lnTo>
                      <a:pt x="120" y="189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6" y="198"/>
                    </a:lnTo>
                    <a:lnTo>
                      <a:pt x="87" y="198"/>
                    </a:lnTo>
                    <a:lnTo>
                      <a:pt x="87" y="198"/>
                    </a:lnTo>
                    <a:lnTo>
                      <a:pt x="77" y="198"/>
                    </a:lnTo>
                    <a:lnTo>
                      <a:pt x="69" y="196"/>
                    </a:lnTo>
                    <a:lnTo>
                      <a:pt x="62" y="193"/>
                    </a:lnTo>
                    <a:lnTo>
                      <a:pt x="56" y="189"/>
                    </a:lnTo>
                    <a:lnTo>
                      <a:pt x="56" y="189"/>
                    </a:lnTo>
                    <a:lnTo>
                      <a:pt x="51" y="184"/>
                    </a:lnTo>
                    <a:lnTo>
                      <a:pt x="47" y="178"/>
                    </a:lnTo>
                    <a:lnTo>
                      <a:pt x="44" y="170"/>
                    </a:lnTo>
                    <a:lnTo>
                      <a:pt x="43" y="160"/>
                    </a:lnTo>
                    <a:lnTo>
                      <a:pt x="43" y="160"/>
                    </a:lnTo>
                    <a:lnTo>
                      <a:pt x="44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6" y="136"/>
                    </a:lnTo>
                    <a:lnTo>
                      <a:pt x="62" y="132"/>
                    </a:lnTo>
                    <a:lnTo>
                      <a:pt x="70" y="129"/>
                    </a:lnTo>
                    <a:lnTo>
                      <a:pt x="80" y="127"/>
                    </a:lnTo>
                    <a:lnTo>
                      <a:pt x="90" y="126"/>
                    </a:lnTo>
                    <a:lnTo>
                      <a:pt x="90" y="126"/>
                    </a:lnTo>
                    <a:lnTo>
                      <a:pt x="107" y="127"/>
                    </a:lnTo>
                    <a:lnTo>
                      <a:pt x="120" y="129"/>
                    </a:lnTo>
                    <a:lnTo>
                      <a:pt x="120" y="129"/>
                    </a:lnTo>
                    <a:lnTo>
                      <a:pt x="131" y="132"/>
                    </a:lnTo>
                    <a:lnTo>
                      <a:pt x="142" y="136"/>
                    </a:lnTo>
                    <a:lnTo>
                      <a:pt x="142" y="16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6" name="Freeform 35"/>
              <p:cNvSpPr>
                <a:spLocks/>
              </p:cNvSpPr>
              <p:nvPr userDrawn="1"/>
            </p:nvSpPr>
            <p:spPr bwMode="auto">
              <a:xfrm>
                <a:off x="2511425" y="6149194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4 w 181"/>
                  <a:gd name="T3" fmla="*/ 22 h 239"/>
                  <a:gd name="T4" fmla="*/ 145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3 w 181"/>
                  <a:gd name="T19" fmla="*/ 40 h 239"/>
                  <a:gd name="T20" fmla="*/ 12 w 181"/>
                  <a:gd name="T21" fmla="*/ 59 h 239"/>
                  <a:gd name="T22" fmla="*/ 4 w 181"/>
                  <a:gd name="T23" fmla="*/ 81 h 239"/>
                  <a:gd name="T24" fmla="*/ 0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7 w 181"/>
                  <a:gd name="T31" fmla="*/ 169 h 239"/>
                  <a:gd name="T32" fmla="*/ 16 w 181"/>
                  <a:gd name="T33" fmla="*/ 189 h 239"/>
                  <a:gd name="T34" fmla="*/ 28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8 w 181"/>
                  <a:gd name="T41" fmla="*/ 237 h 239"/>
                  <a:gd name="T42" fmla="*/ 99 w 181"/>
                  <a:gd name="T43" fmla="*/ 239 h 239"/>
                  <a:gd name="T44" fmla="*/ 113 w 181"/>
                  <a:gd name="T45" fmla="*/ 238 h 239"/>
                  <a:gd name="T46" fmla="*/ 138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39 w 181"/>
                  <a:gd name="T55" fmla="*/ 180 h 239"/>
                  <a:gd name="T56" fmla="*/ 127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1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3 w 181"/>
                  <a:gd name="T79" fmla="*/ 74 h 239"/>
                  <a:gd name="T80" fmla="*/ 60 w 181"/>
                  <a:gd name="T81" fmla="*/ 64 h 239"/>
                  <a:gd name="T82" fmla="*/ 67 w 181"/>
                  <a:gd name="T83" fmla="*/ 55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6 w 181"/>
                  <a:gd name="T91" fmla="*/ 43 h 239"/>
                  <a:gd name="T92" fmla="*/ 120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4" y="22"/>
                    </a:lnTo>
                    <a:lnTo>
                      <a:pt x="155" y="16"/>
                    </a:lnTo>
                    <a:lnTo>
                      <a:pt x="145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2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4" y="81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7" y="169"/>
                    </a:lnTo>
                    <a:lnTo>
                      <a:pt x="11" y="179"/>
                    </a:lnTo>
                    <a:lnTo>
                      <a:pt x="16" y="189"/>
                    </a:lnTo>
                    <a:lnTo>
                      <a:pt x="22" y="198"/>
                    </a:lnTo>
                    <a:lnTo>
                      <a:pt x="28" y="206"/>
                    </a:lnTo>
                    <a:lnTo>
                      <a:pt x="35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8" y="237"/>
                    </a:lnTo>
                    <a:lnTo>
                      <a:pt x="88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3" y="238"/>
                    </a:lnTo>
                    <a:lnTo>
                      <a:pt x="126" y="235"/>
                    </a:lnTo>
                    <a:lnTo>
                      <a:pt x="138" y="231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6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39" y="180"/>
                    </a:lnTo>
                    <a:lnTo>
                      <a:pt x="133" y="185"/>
                    </a:lnTo>
                    <a:lnTo>
                      <a:pt x="127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4" y="196"/>
                    </a:lnTo>
                    <a:lnTo>
                      <a:pt x="87" y="195"/>
                    </a:lnTo>
                    <a:lnTo>
                      <a:pt x="82" y="193"/>
                    </a:lnTo>
                    <a:lnTo>
                      <a:pt x="76" y="190"/>
                    </a:lnTo>
                    <a:lnTo>
                      <a:pt x="71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59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3" y="74"/>
                    </a:lnTo>
                    <a:lnTo>
                      <a:pt x="56" y="69"/>
                    </a:lnTo>
                    <a:lnTo>
                      <a:pt x="60" y="64"/>
                    </a:lnTo>
                    <a:lnTo>
                      <a:pt x="63" y="59"/>
                    </a:lnTo>
                    <a:lnTo>
                      <a:pt x="67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6" y="43"/>
                    </a:lnTo>
                    <a:lnTo>
                      <a:pt x="113" y="45"/>
                    </a:lnTo>
                    <a:lnTo>
                      <a:pt x="120" y="47"/>
                    </a:lnTo>
                    <a:lnTo>
                      <a:pt x="127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5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auto">
              <a:xfrm>
                <a:off x="2641600" y="6149194"/>
                <a:ext cx="77788" cy="95250"/>
              </a:xfrm>
              <a:custGeom>
                <a:avLst/>
                <a:gdLst>
                  <a:gd name="T0" fmla="*/ 198 w 198"/>
                  <a:gd name="T1" fmla="*/ 115 h 239"/>
                  <a:gd name="T2" fmla="*/ 197 w 198"/>
                  <a:gd name="T3" fmla="*/ 92 h 239"/>
                  <a:gd name="T4" fmla="*/ 192 w 198"/>
                  <a:gd name="T5" fmla="*/ 71 h 239"/>
                  <a:gd name="T6" fmla="*/ 185 w 198"/>
                  <a:gd name="T7" fmla="*/ 52 h 239"/>
                  <a:gd name="T8" fmla="*/ 174 w 198"/>
                  <a:gd name="T9" fmla="*/ 34 h 239"/>
                  <a:gd name="T10" fmla="*/ 161 w 198"/>
                  <a:gd name="T11" fmla="*/ 20 h 239"/>
                  <a:gd name="T12" fmla="*/ 144 w 198"/>
                  <a:gd name="T13" fmla="*/ 10 h 239"/>
                  <a:gd name="T14" fmla="*/ 125 w 198"/>
                  <a:gd name="T15" fmla="*/ 3 h 239"/>
                  <a:gd name="T16" fmla="*/ 102 w 198"/>
                  <a:gd name="T17" fmla="*/ 0 h 239"/>
                  <a:gd name="T18" fmla="*/ 90 w 198"/>
                  <a:gd name="T19" fmla="*/ 1 h 239"/>
                  <a:gd name="T20" fmla="*/ 69 w 198"/>
                  <a:gd name="T21" fmla="*/ 5 h 239"/>
                  <a:gd name="T22" fmla="*/ 51 w 198"/>
                  <a:gd name="T23" fmla="*/ 12 h 239"/>
                  <a:gd name="T24" fmla="*/ 35 w 198"/>
                  <a:gd name="T25" fmla="*/ 24 h 239"/>
                  <a:gd name="T26" fmla="*/ 22 w 198"/>
                  <a:gd name="T27" fmla="*/ 39 h 239"/>
                  <a:gd name="T28" fmla="*/ 12 w 198"/>
                  <a:gd name="T29" fmla="*/ 58 h 239"/>
                  <a:gd name="T30" fmla="*/ 5 w 198"/>
                  <a:gd name="T31" fmla="*/ 80 h 239"/>
                  <a:gd name="T32" fmla="*/ 1 w 198"/>
                  <a:gd name="T33" fmla="*/ 106 h 239"/>
                  <a:gd name="T34" fmla="*/ 0 w 198"/>
                  <a:gd name="T35" fmla="*/ 120 h 239"/>
                  <a:gd name="T36" fmla="*/ 3 w 198"/>
                  <a:gd name="T37" fmla="*/ 148 h 239"/>
                  <a:gd name="T38" fmla="*/ 9 w 198"/>
                  <a:gd name="T39" fmla="*/ 172 h 239"/>
                  <a:gd name="T40" fmla="*/ 19 w 198"/>
                  <a:gd name="T41" fmla="*/ 193 h 239"/>
                  <a:gd name="T42" fmla="*/ 31 w 198"/>
                  <a:gd name="T43" fmla="*/ 209 h 239"/>
                  <a:gd name="T44" fmla="*/ 37 w 198"/>
                  <a:gd name="T45" fmla="*/ 215 h 239"/>
                  <a:gd name="T46" fmla="*/ 51 w 198"/>
                  <a:gd name="T47" fmla="*/ 226 h 239"/>
                  <a:gd name="T48" fmla="*/ 68 w 198"/>
                  <a:gd name="T49" fmla="*/ 234 h 239"/>
                  <a:gd name="T50" fmla="*/ 88 w 198"/>
                  <a:gd name="T51" fmla="*/ 238 h 239"/>
                  <a:gd name="T52" fmla="*/ 100 w 198"/>
                  <a:gd name="T53" fmla="*/ 239 h 239"/>
                  <a:gd name="T54" fmla="*/ 126 w 198"/>
                  <a:gd name="T55" fmla="*/ 237 h 239"/>
                  <a:gd name="T56" fmla="*/ 146 w 198"/>
                  <a:gd name="T57" fmla="*/ 231 h 239"/>
                  <a:gd name="T58" fmla="*/ 155 w 198"/>
                  <a:gd name="T59" fmla="*/ 227 h 239"/>
                  <a:gd name="T60" fmla="*/ 171 w 198"/>
                  <a:gd name="T61" fmla="*/ 216 h 239"/>
                  <a:gd name="T62" fmla="*/ 153 w 198"/>
                  <a:gd name="T63" fmla="*/ 180 h 239"/>
                  <a:gd name="T64" fmla="*/ 141 w 198"/>
                  <a:gd name="T65" fmla="*/ 188 h 239"/>
                  <a:gd name="T66" fmla="*/ 130 w 198"/>
                  <a:gd name="T67" fmla="*/ 193 h 239"/>
                  <a:gd name="T68" fmla="*/ 117 w 198"/>
                  <a:gd name="T69" fmla="*/ 197 h 239"/>
                  <a:gd name="T70" fmla="*/ 103 w 198"/>
                  <a:gd name="T71" fmla="*/ 198 h 239"/>
                  <a:gd name="T72" fmla="*/ 93 w 198"/>
                  <a:gd name="T73" fmla="*/ 197 h 239"/>
                  <a:gd name="T74" fmla="*/ 73 w 198"/>
                  <a:gd name="T75" fmla="*/ 190 h 239"/>
                  <a:gd name="T76" fmla="*/ 58 w 198"/>
                  <a:gd name="T77" fmla="*/ 175 h 239"/>
                  <a:gd name="T78" fmla="*/ 47 w 198"/>
                  <a:gd name="T79" fmla="*/ 151 h 239"/>
                  <a:gd name="T80" fmla="*/ 197 w 198"/>
                  <a:gd name="T81" fmla="*/ 136 h 239"/>
                  <a:gd name="T82" fmla="*/ 198 w 198"/>
                  <a:gd name="T83" fmla="*/ 127 h 239"/>
                  <a:gd name="T84" fmla="*/ 198 w 198"/>
                  <a:gd name="T85" fmla="*/ 115 h 239"/>
                  <a:gd name="T86" fmla="*/ 45 w 198"/>
                  <a:gd name="T87" fmla="*/ 98 h 239"/>
                  <a:gd name="T88" fmla="*/ 51 w 198"/>
                  <a:gd name="T89" fmla="*/ 74 h 239"/>
                  <a:gd name="T90" fmla="*/ 61 w 198"/>
                  <a:gd name="T91" fmla="*/ 56 h 239"/>
                  <a:gd name="T92" fmla="*/ 77 w 198"/>
                  <a:gd name="T93" fmla="*/ 45 h 239"/>
                  <a:gd name="T94" fmla="*/ 99 w 198"/>
                  <a:gd name="T95" fmla="*/ 41 h 239"/>
                  <a:gd name="T96" fmla="*/ 105 w 198"/>
                  <a:gd name="T97" fmla="*/ 41 h 239"/>
                  <a:gd name="T98" fmla="*/ 117 w 198"/>
                  <a:gd name="T99" fmla="*/ 44 h 239"/>
                  <a:gd name="T100" fmla="*/ 127 w 198"/>
                  <a:gd name="T101" fmla="*/ 48 h 239"/>
                  <a:gd name="T102" fmla="*/ 139 w 198"/>
                  <a:gd name="T103" fmla="*/ 58 h 239"/>
                  <a:gd name="T104" fmla="*/ 149 w 198"/>
                  <a:gd name="T105" fmla="*/ 76 h 239"/>
                  <a:gd name="T106" fmla="*/ 153 w 198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8" h="239">
                    <a:moveTo>
                      <a:pt x="198" y="115"/>
                    </a:moveTo>
                    <a:lnTo>
                      <a:pt x="198" y="115"/>
                    </a:lnTo>
                    <a:lnTo>
                      <a:pt x="198" y="104"/>
                    </a:lnTo>
                    <a:lnTo>
                      <a:pt x="197" y="92"/>
                    </a:lnTo>
                    <a:lnTo>
                      <a:pt x="195" y="81"/>
                    </a:lnTo>
                    <a:lnTo>
                      <a:pt x="192" y="71"/>
                    </a:lnTo>
                    <a:lnTo>
                      <a:pt x="189" y="61"/>
                    </a:lnTo>
                    <a:lnTo>
                      <a:pt x="185" y="52"/>
                    </a:lnTo>
                    <a:lnTo>
                      <a:pt x="180" y="43"/>
                    </a:lnTo>
                    <a:lnTo>
                      <a:pt x="174" y="34"/>
                    </a:lnTo>
                    <a:lnTo>
                      <a:pt x="168" y="27"/>
                    </a:lnTo>
                    <a:lnTo>
                      <a:pt x="161" y="20"/>
                    </a:lnTo>
                    <a:lnTo>
                      <a:pt x="153" y="14"/>
                    </a:lnTo>
                    <a:lnTo>
                      <a:pt x="144" y="10"/>
                    </a:lnTo>
                    <a:lnTo>
                      <a:pt x="135" y="6"/>
                    </a:lnTo>
                    <a:lnTo>
                      <a:pt x="125" y="3"/>
                    </a:lnTo>
                    <a:lnTo>
                      <a:pt x="114" y="1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0" y="1"/>
                    </a:lnTo>
                    <a:lnTo>
                      <a:pt x="79" y="2"/>
                    </a:lnTo>
                    <a:lnTo>
                      <a:pt x="69" y="5"/>
                    </a:lnTo>
                    <a:lnTo>
                      <a:pt x="60" y="8"/>
                    </a:lnTo>
                    <a:lnTo>
                      <a:pt x="51" y="12"/>
                    </a:lnTo>
                    <a:lnTo>
                      <a:pt x="43" y="18"/>
                    </a:lnTo>
                    <a:lnTo>
                      <a:pt x="35" y="24"/>
                    </a:lnTo>
                    <a:lnTo>
                      <a:pt x="28" y="31"/>
                    </a:lnTo>
                    <a:lnTo>
                      <a:pt x="22" y="39"/>
                    </a:lnTo>
                    <a:lnTo>
                      <a:pt x="17" y="48"/>
                    </a:lnTo>
                    <a:lnTo>
                      <a:pt x="12" y="58"/>
                    </a:lnTo>
                    <a:lnTo>
                      <a:pt x="8" y="68"/>
                    </a:lnTo>
                    <a:lnTo>
                      <a:pt x="5" y="80"/>
                    </a:lnTo>
                    <a:lnTo>
                      <a:pt x="2" y="92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4"/>
                    </a:lnTo>
                    <a:lnTo>
                      <a:pt x="3" y="148"/>
                    </a:lnTo>
                    <a:lnTo>
                      <a:pt x="5" y="160"/>
                    </a:lnTo>
                    <a:lnTo>
                      <a:pt x="9" y="172"/>
                    </a:lnTo>
                    <a:lnTo>
                      <a:pt x="14" y="183"/>
                    </a:lnTo>
                    <a:lnTo>
                      <a:pt x="19" y="193"/>
                    </a:lnTo>
                    <a:lnTo>
                      <a:pt x="25" y="201"/>
                    </a:lnTo>
                    <a:lnTo>
                      <a:pt x="31" y="209"/>
                    </a:lnTo>
                    <a:lnTo>
                      <a:pt x="31" y="209"/>
                    </a:lnTo>
                    <a:lnTo>
                      <a:pt x="37" y="215"/>
                    </a:lnTo>
                    <a:lnTo>
                      <a:pt x="44" y="220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8" y="236"/>
                    </a:lnTo>
                    <a:lnTo>
                      <a:pt x="88" y="238"/>
                    </a:lnTo>
                    <a:lnTo>
                      <a:pt x="100" y="239"/>
                    </a:lnTo>
                    <a:lnTo>
                      <a:pt x="100" y="239"/>
                    </a:lnTo>
                    <a:lnTo>
                      <a:pt x="114" y="238"/>
                    </a:lnTo>
                    <a:lnTo>
                      <a:pt x="126" y="237"/>
                    </a:lnTo>
                    <a:lnTo>
                      <a:pt x="137" y="234"/>
                    </a:lnTo>
                    <a:lnTo>
                      <a:pt x="146" y="231"/>
                    </a:lnTo>
                    <a:lnTo>
                      <a:pt x="146" y="231"/>
                    </a:lnTo>
                    <a:lnTo>
                      <a:pt x="155" y="227"/>
                    </a:lnTo>
                    <a:lnTo>
                      <a:pt x="163" y="222"/>
                    </a:lnTo>
                    <a:lnTo>
                      <a:pt x="171" y="216"/>
                    </a:lnTo>
                    <a:lnTo>
                      <a:pt x="179" y="209"/>
                    </a:lnTo>
                    <a:lnTo>
                      <a:pt x="153" y="180"/>
                    </a:lnTo>
                    <a:lnTo>
                      <a:pt x="153" y="180"/>
                    </a:lnTo>
                    <a:lnTo>
                      <a:pt x="141" y="188"/>
                    </a:lnTo>
                    <a:lnTo>
                      <a:pt x="130" y="193"/>
                    </a:lnTo>
                    <a:lnTo>
                      <a:pt x="130" y="193"/>
                    </a:lnTo>
                    <a:lnTo>
                      <a:pt x="124" y="195"/>
                    </a:lnTo>
                    <a:lnTo>
                      <a:pt x="117" y="197"/>
                    </a:lnTo>
                    <a:lnTo>
                      <a:pt x="110" y="198"/>
                    </a:lnTo>
                    <a:lnTo>
                      <a:pt x="103" y="198"/>
                    </a:lnTo>
                    <a:lnTo>
                      <a:pt x="103" y="198"/>
                    </a:lnTo>
                    <a:lnTo>
                      <a:pt x="93" y="197"/>
                    </a:lnTo>
                    <a:lnTo>
                      <a:pt x="82" y="195"/>
                    </a:lnTo>
                    <a:lnTo>
                      <a:pt x="73" y="190"/>
                    </a:lnTo>
                    <a:lnTo>
                      <a:pt x="65" y="183"/>
                    </a:lnTo>
                    <a:lnTo>
                      <a:pt x="58" y="175"/>
                    </a:lnTo>
                    <a:lnTo>
                      <a:pt x="52" y="164"/>
                    </a:lnTo>
                    <a:lnTo>
                      <a:pt x="47" y="151"/>
                    </a:lnTo>
                    <a:lnTo>
                      <a:pt x="45" y="136"/>
                    </a:lnTo>
                    <a:lnTo>
                      <a:pt x="197" y="136"/>
                    </a:lnTo>
                    <a:lnTo>
                      <a:pt x="197" y="136"/>
                    </a:lnTo>
                    <a:lnTo>
                      <a:pt x="198" y="127"/>
                    </a:lnTo>
                    <a:lnTo>
                      <a:pt x="198" y="115"/>
                    </a:lnTo>
                    <a:lnTo>
                      <a:pt x="198" y="115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1" y="74"/>
                    </a:lnTo>
                    <a:lnTo>
                      <a:pt x="56" y="64"/>
                    </a:lnTo>
                    <a:lnTo>
                      <a:pt x="61" y="56"/>
                    </a:lnTo>
                    <a:lnTo>
                      <a:pt x="69" y="49"/>
                    </a:lnTo>
                    <a:lnTo>
                      <a:pt x="77" y="45"/>
                    </a:lnTo>
                    <a:lnTo>
                      <a:pt x="87" y="42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105" y="41"/>
                    </a:lnTo>
                    <a:lnTo>
                      <a:pt x="112" y="42"/>
                    </a:lnTo>
                    <a:lnTo>
                      <a:pt x="117" y="44"/>
                    </a:lnTo>
                    <a:lnTo>
                      <a:pt x="122" y="45"/>
                    </a:lnTo>
                    <a:lnTo>
                      <a:pt x="127" y="48"/>
                    </a:lnTo>
                    <a:lnTo>
                      <a:pt x="132" y="51"/>
                    </a:lnTo>
                    <a:lnTo>
                      <a:pt x="139" y="58"/>
                    </a:lnTo>
                    <a:lnTo>
                      <a:pt x="144" y="66"/>
                    </a:lnTo>
                    <a:lnTo>
                      <a:pt x="149" y="76"/>
                    </a:lnTo>
                    <a:lnTo>
                      <a:pt x="151" y="87"/>
                    </a:lnTo>
                    <a:lnTo>
                      <a:pt x="153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8" name="Freeform 37"/>
              <p:cNvSpPr>
                <a:spLocks/>
              </p:cNvSpPr>
              <p:nvPr userDrawn="1"/>
            </p:nvSpPr>
            <p:spPr bwMode="auto">
              <a:xfrm>
                <a:off x="2735262" y="6149194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4 w 181"/>
                  <a:gd name="T3" fmla="*/ 22 h 239"/>
                  <a:gd name="T4" fmla="*/ 145 w 181"/>
                  <a:gd name="T5" fmla="*/ 10 h 239"/>
                  <a:gd name="T6" fmla="*/ 124 w 181"/>
                  <a:gd name="T7" fmla="*/ 3 h 239"/>
                  <a:gd name="T8" fmla="*/ 100 w 181"/>
                  <a:gd name="T9" fmla="*/ 0 h 239"/>
                  <a:gd name="T10" fmla="*/ 90 w 181"/>
                  <a:gd name="T11" fmla="*/ 1 h 239"/>
                  <a:gd name="T12" fmla="*/ 70 w 181"/>
                  <a:gd name="T13" fmla="*/ 5 h 239"/>
                  <a:gd name="T14" fmla="*/ 52 w 181"/>
                  <a:gd name="T15" fmla="*/ 13 h 239"/>
                  <a:gd name="T16" fmla="*/ 36 w 181"/>
                  <a:gd name="T17" fmla="*/ 25 h 239"/>
                  <a:gd name="T18" fmla="*/ 23 w 181"/>
                  <a:gd name="T19" fmla="*/ 40 h 239"/>
                  <a:gd name="T20" fmla="*/ 12 w 181"/>
                  <a:gd name="T21" fmla="*/ 59 h 239"/>
                  <a:gd name="T22" fmla="*/ 4 w 181"/>
                  <a:gd name="T23" fmla="*/ 81 h 239"/>
                  <a:gd name="T24" fmla="*/ 0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6 h 239"/>
                  <a:gd name="T30" fmla="*/ 7 w 181"/>
                  <a:gd name="T31" fmla="*/ 169 h 239"/>
                  <a:gd name="T32" fmla="*/ 16 w 181"/>
                  <a:gd name="T33" fmla="*/ 189 h 239"/>
                  <a:gd name="T34" fmla="*/ 28 w 181"/>
                  <a:gd name="T35" fmla="*/ 206 h 239"/>
                  <a:gd name="T36" fmla="*/ 43 w 181"/>
                  <a:gd name="T37" fmla="*/ 220 h 239"/>
                  <a:gd name="T38" fmla="*/ 60 w 181"/>
                  <a:gd name="T39" fmla="*/ 230 h 239"/>
                  <a:gd name="T40" fmla="*/ 78 w 181"/>
                  <a:gd name="T41" fmla="*/ 237 h 239"/>
                  <a:gd name="T42" fmla="*/ 99 w 181"/>
                  <a:gd name="T43" fmla="*/ 239 h 239"/>
                  <a:gd name="T44" fmla="*/ 113 w 181"/>
                  <a:gd name="T45" fmla="*/ 238 h 239"/>
                  <a:gd name="T46" fmla="*/ 138 w 181"/>
                  <a:gd name="T47" fmla="*/ 231 h 239"/>
                  <a:gd name="T48" fmla="*/ 158 w 181"/>
                  <a:gd name="T49" fmla="*/ 220 h 239"/>
                  <a:gd name="T50" fmla="*/ 174 w 181"/>
                  <a:gd name="T51" fmla="*/ 204 h 239"/>
                  <a:gd name="T52" fmla="*/ 152 w 181"/>
                  <a:gd name="T53" fmla="*/ 168 h 239"/>
                  <a:gd name="T54" fmla="*/ 139 w 181"/>
                  <a:gd name="T55" fmla="*/ 180 h 239"/>
                  <a:gd name="T56" fmla="*/ 127 w 181"/>
                  <a:gd name="T57" fmla="*/ 189 h 239"/>
                  <a:gd name="T58" fmla="*/ 115 w 181"/>
                  <a:gd name="T59" fmla="*/ 194 h 239"/>
                  <a:gd name="T60" fmla="*/ 100 w 181"/>
                  <a:gd name="T61" fmla="*/ 196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1 w 181"/>
                  <a:gd name="T67" fmla="*/ 187 h 239"/>
                  <a:gd name="T68" fmla="*/ 63 w 181"/>
                  <a:gd name="T69" fmla="*/ 179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9 h 239"/>
                  <a:gd name="T76" fmla="*/ 46 w 181"/>
                  <a:gd name="T77" fmla="*/ 102 h 239"/>
                  <a:gd name="T78" fmla="*/ 53 w 181"/>
                  <a:gd name="T79" fmla="*/ 74 h 239"/>
                  <a:gd name="T80" fmla="*/ 60 w 181"/>
                  <a:gd name="T81" fmla="*/ 64 h 239"/>
                  <a:gd name="T82" fmla="*/ 67 w 181"/>
                  <a:gd name="T83" fmla="*/ 55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6 w 181"/>
                  <a:gd name="T91" fmla="*/ 43 h 239"/>
                  <a:gd name="T92" fmla="*/ 120 w 181"/>
                  <a:gd name="T93" fmla="*/ 47 h 239"/>
                  <a:gd name="T94" fmla="*/ 134 w 181"/>
                  <a:gd name="T95" fmla="*/ 54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4" y="22"/>
                    </a:lnTo>
                    <a:lnTo>
                      <a:pt x="155" y="16"/>
                    </a:lnTo>
                    <a:lnTo>
                      <a:pt x="145" y="10"/>
                    </a:lnTo>
                    <a:lnTo>
                      <a:pt x="135" y="6"/>
                    </a:lnTo>
                    <a:lnTo>
                      <a:pt x="124" y="3"/>
                    </a:lnTo>
                    <a:lnTo>
                      <a:pt x="112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1"/>
                    </a:lnTo>
                    <a:lnTo>
                      <a:pt x="80" y="2"/>
                    </a:lnTo>
                    <a:lnTo>
                      <a:pt x="70" y="5"/>
                    </a:lnTo>
                    <a:lnTo>
                      <a:pt x="61" y="8"/>
                    </a:lnTo>
                    <a:lnTo>
                      <a:pt x="52" y="13"/>
                    </a:lnTo>
                    <a:lnTo>
                      <a:pt x="44" y="18"/>
                    </a:lnTo>
                    <a:lnTo>
                      <a:pt x="36" y="25"/>
                    </a:lnTo>
                    <a:lnTo>
                      <a:pt x="29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4" y="81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6"/>
                    </a:lnTo>
                    <a:lnTo>
                      <a:pt x="4" y="158"/>
                    </a:lnTo>
                    <a:lnTo>
                      <a:pt x="7" y="169"/>
                    </a:lnTo>
                    <a:lnTo>
                      <a:pt x="11" y="179"/>
                    </a:lnTo>
                    <a:lnTo>
                      <a:pt x="16" y="189"/>
                    </a:lnTo>
                    <a:lnTo>
                      <a:pt x="22" y="198"/>
                    </a:lnTo>
                    <a:lnTo>
                      <a:pt x="28" y="206"/>
                    </a:lnTo>
                    <a:lnTo>
                      <a:pt x="35" y="214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60" y="230"/>
                    </a:lnTo>
                    <a:lnTo>
                      <a:pt x="69" y="234"/>
                    </a:lnTo>
                    <a:lnTo>
                      <a:pt x="78" y="237"/>
                    </a:lnTo>
                    <a:lnTo>
                      <a:pt x="88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3" y="238"/>
                    </a:lnTo>
                    <a:lnTo>
                      <a:pt x="126" y="235"/>
                    </a:lnTo>
                    <a:lnTo>
                      <a:pt x="138" y="231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6" y="212"/>
                    </a:lnTo>
                    <a:lnTo>
                      <a:pt x="174" y="204"/>
                    </a:lnTo>
                    <a:lnTo>
                      <a:pt x="181" y="196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39" y="180"/>
                    </a:lnTo>
                    <a:lnTo>
                      <a:pt x="133" y="185"/>
                    </a:lnTo>
                    <a:lnTo>
                      <a:pt x="127" y="189"/>
                    </a:lnTo>
                    <a:lnTo>
                      <a:pt x="121" y="192"/>
                    </a:lnTo>
                    <a:lnTo>
                      <a:pt x="115" y="194"/>
                    </a:lnTo>
                    <a:lnTo>
                      <a:pt x="108" y="196"/>
                    </a:lnTo>
                    <a:lnTo>
                      <a:pt x="100" y="196"/>
                    </a:lnTo>
                    <a:lnTo>
                      <a:pt x="100" y="196"/>
                    </a:lnTo>
                    <a:lnTo>
                      <a:pt x="94" y="196"/>
                    </a:lnTo>
                    <a:lnTo>
                      <a:pt x="87" y="195"/>
                    </a:lnTo>
                    <a:lnTo>
                      <a:pt x="82" y="193"/>
                    </a:lnTo>
                    <a:lnTo>
                      <a:pt x="76" y="190"/>
                    </a:lnTo>
                    <a:lnTo>
                      <a:pt x="71" y="187"/>
                    </a:lnTo>
                    <a:lnTo>
                      <a:pt x="67" y="184"/>
                    </a:lnTo>
                    <a:lnTo>
                      <a:pt x="63" y="179"/>
                    </a:lnTo>
                    <a:lnTo>
                      <a:pt x="59" y="174"/>
                    </a:lnTo>
                    <a:lnTo>
                      <a:pt x="56" y="169"/>
                    </a:lnTo>
                    <a:lnTo>
                      <a:pt x="53" y="163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9"/>
                    </a:lnTo>
                    <a:lnTo>
                      <a:pt x="45" y="119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3" y="74"/>
                    </a:lnTo>
                    <a:lnTo>
                      <a:pt x="56" y="69"/>
                    </a:lnTo>
                    <a:lnTo>
                      <a:pt x="60" y="64"/>
                    </a:lnTo>
                    <a:lnTo>
                      <a:pt x="63" y="59"/>
                    </a:lnTo>
                    <a:lnTo>
                      <a:pt x="67" y="55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6" y="43"/>
                    </a:lnTo>
                    <a:lnTo>
                      <a:pt x="113" y="45"/>
                    </a:lnTo>
                    <a:lnTo>
                      <a:pt x="120" y="47"/>
                    </a:lnTo>
                    <a:lnTo>
                      <a:pt x="127" y="50"/>
                    </a:lnTo>
                    <a:lnTo>
                      <a:pt x="134" y="54"/>
                    </a:lnTo>
                    <a:lnTo>
                      <a:pt x="141" y="59"/>
                    </a:lnTo>
                    <a:lnTo>
                      <a:pt x="148" y="64"/>
                    </a:lnTo>
                    <a:lnTo>
                      <a:pt x="155" y="71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39" name="Freeform 38"/>
              <p:cNvSpPr>
                <a:spLocks/>
              </p:cNvSpPr>
              <p:nvPr userDrawn="1"/>
            </p:nvSpPr>
            <p:spPr bwMode="auto">
              <a:xfrm>
                <a:off x="2816225" y="6150782"/>
                <a:ext cx="73025" cy="92075"/>
              </a:xfrm>
              <a:custGeom>
                <a:avLst/>
                <a:gdLst>
                  <a:gd name="T0" fmla="*/ 185 w 185"/>
                  <a:gd name="T1" fmla="*/ 39 h 229"/>
                  <a:gd name="T2" fmla="*/ 185 w 185"/>
                  <a:gd name="T3" fmla="*/ 0 h 229"/>
                  <a:gd name="T4" fmla="*/ 0 w 185"/>
                  <a:gd name="T5" fmla="*/ 0 h 229"/>
                  <a:gd name="T6" fmla="*/ 0 w 185"/>
                  <a:gd name="T7" fmla="*/ 39 h 229"/>
                  <a:gd name="T8" fmla="*/ 69 w 185"/>
                  <a:gd name="T9" fmla="*/ 39 h 229"/>
                  <a:gd name="T10" fmla="*/ 69 w 185"/>
                  <a:gd name="T11" fmla="*/ 229 h 229"/>
                  <a:gd name="T12" fmla="*/ 114 w 185"/>
                  <a:gd name="T13" fmla="*/ 229 h 229"/>
                  <a:gd name="T14" fmla="*/ 114 w 185"/>
                  <a:gd name="T15" fmla="*/ 39 h 229"/>
                  <a:gd name="T16" fmla="*/ 185 w 185"/>
                  <a:gd name="T17" fmla="*/ 3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5" h="229">
                    <a:moveTo>
                      <a:pt x="185" y="39"/>
                    </a:moveTo>
                    <a:lnTo>
                      <a:pt x="185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69" y="39"/>
                    </a:lnTo>
                    <a:lnTo>
                      <a:pt x="69" y="229"/>
                    </a:lnTo>
                    <a:lnTo>
                      <a:pt x="114" y="229"/>
                    </a:lnTo>
                    <a:lnTo>
                      <a:pt x="114" y="39"/>
                    </a:lnTo>
                    <a:lnTo>
                      <a:pt x="185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0" name="Freeform 39"/>
              <p:cNvSpPr>
                <a:spLocks noEditPoints="1"/>
              </p:cNvSpPr>
              <p:nvPr userDrawn="1"/>
            </p:nvSpPr>
            <p:spPr bwMode="auto">
              <a:xfrm>
                <a:off x="2901950" y="6150782"/>
                <a:ext cx="74613" cy="92075"/>
              </a:xfrm>
              <a:custGeom>
                <a:avLst/>
                <a:gdLst>
                  <a:gd name="T0" fmla="*/ 45 w 184"/>
                  <a:gd name="T1" fmla="*/ 0 h 229"/>
                  <a:gd name="T2" fmla="*/ 0 w 184"/>
                  <a:gd name="T3" fmla="*/ 0 h 229"/>
                  <a:gd name="T4" fmla="*/ 0 w 184"/>
                  <a:gd name="T5" fmla="*/ 229 h 229"/>
                  <a:gd name="T6" fmla="*/ 106 w 184"/>
                  <a:gd name="T7" fmla="*/ 229 h 229"/>
                  <a:gd name="T8" fmla="*/ 106 w 184"/>
                  <a:gd name="T9" fmla="*/ 229 h 229"/>
                  <a:gd name="T10" fmla="*/ 114 w 184"/>
                  <a:gd name="T11" fmla="*/ 229 h 229"/>
                  <a:gd name="T12" fmla="*/ 122 w 184"/>
                  <a:gd name="T13" fmla="*/ 228 h 229"/>
                  <a:gd name="T14" fmla="*/ 130 w 184"/>
                  <a:gd name="T15" fmla="*/ 226 h 229"/>
                  <a:gd name="T16" fmla="*/ 137 w 184"/>
                  <a:gd name="T17" fmla="*/ 224 h 229"/>
                  <a:gd name="T18" fmla="*/ 144 w 184"/>
                  <a:gd name="T19" fmla="*/ 222 h 229"/>
                  <a:gd name="T20" fmla="*/ 151 w 184"/>
                  <a:gd name="T21" fmla="*/ 218 h 229"/>
                  <a:gd name="T22" fmla="*/ 157 w 184"/>
                  <a:gd name="T23" fmla="*/ 214 h 229"/>
                  <a:gd name="T24" fmla="*/ 162 w 184"/>
                  <a:gd name="T25" fmla="*/ 210 h 229"/>
                  <a:gd name="T26" fmla="*/ 167 w 184"/>
                  <a:gd name="T27" fmla="*/ 205 h 229"/>
                  <a:gd name="T28" fmla="*/ 172 w 184"/>
                  <a:gd name="T29" fmla="*/ 200 h 229"/>
                  <a:gd name="T30" fmla="*/ 175 w 184"/>
                  <a:gd name="T31" fmla="*/ 193 h 229"/>
                  <a:gd name="T32" fmla="*/ 178 w 184"/>
                  <a:gd name="T33" fmla="*/ 187 h 229"/>
                  <a:gd name="T34" fmla="*/ 181 w 184"/>
                  <a:gd name="T35" fmla="*/ 180 h 229"/>
                  <a:gd name="T36" fmla="*/ 183 w 184"/>
                  <a:gd name="T37" fmla="*/ 172 h 229"/>
                  <a:gd name="T38" fmla="*/ 184 w 184"/>
                  <a:gd name="T39" fmla="*/ 163 h 229"/>
                  <a:gd name="T40" fmla="*/ 184 w 184"/>
                  <a:gd name="T41" fmla="*/ 154 h 229"/>
                  <a:gd name="T42" fmla="*/ 184 w 184"/>
                  <a:gd name="T43" fmla="*/ 154 h 229"/>
                  <a:gd name="T44" fmla="*/ 184 w 184"/>
                  <a:gd name="T45" fmla="*/ 146 h 229"/>
                  <a:gd name="T46" fmla="*/ 183 w 184"/>
                  <a:gd name="T47" fmla="*/ 137 h 229"/>
                  <a:gd name="T48" fmla="*/ 181 w 184"/>
                  <a:gd name="T49" fmla="*/ 130 h 229"/>
                  <a:gd name="T50" fmla="*/ 178 w 184"/>
                  <a:gd name="T51" fmla="*/ 122 h 229"/>
                  <a:gd name="T52" fmla="*/ 175 w 184"/>
                  <a:gd name="T53" fmla="*/ 116 h 229"/>
                  <a:gd name="T54" fmla="*/ 172 w 184"/>
                  <a:gd name="T55" fmla="*/ 110 h 229"/>
                  <a:gd name="T56" fmla="*/ 167 w 184"/>
                  <a:gd name="T57" fmla="*/ 104 h 229"/>
                  <a:gd name="T58" fmla="*/ 163 w 184"/>
                  <a:gd name="T59" fmla="*/ 99 h 229"/>
                  <a:gd name="T60" fmla="*/ 157 w 184"/>
                  <a:gd name="T61" fmla="*/ 95 h 229"/>
                  <a:gd name="T62" fmla="*/ 151 w 184"/>
                  <a:gd name="T63" fmla="*/ 91 h 229"/>
                  <a:gd name="T64" fmla="*/ 145 w 184"/>
                  <a:gd name="T65" fmla="*/ 88 h 229"/>
                  <a:gd name="T66" fmla="*/ 139 w 184"/>
                  <a:gd name="T67" fmla="*/ 85 h 229"/>
                  <a:gd name="T68" fmla="*/ 132 w 184"/>
                  <a:gd name="T69" fmla="*/ 83 h 229"/>
                  <a:gd name="T70" fmla="*/ 124 w 184"/>
                  <a:gd name="T71" fmla="*/ 82 h 229"/>
                  <a:gd name="T72" fmla="*/ 116 w 184"/>
                  <a:gd name="T73" fmla="*/ 81 h 229"/>
                  <a:gd name="T74" fmla="*/ 108 w 184"/>
                  <a:gd name="T75" fmla="*/ 81 h 229"/>
                  <a:gd name="T76" fmla="*/ 45 w 184"/>
                  <a:gd name="T77" fmla="*/ 81 h 229"/>
                  <a:gd name="T78" fmla="*/ 45 w 184"/>
                  <a:gd name="T79" fmla="*/ 0 h 229"/>
                  <a:gd name="T80" fmla="*/ 45 w 184"/>
                  <a:gd name="T81" fmla="*/ 192 h 229"/>
                  <a:gd name="T82" fmla="*/ 45 w 184"/>
                  <a:gd name="T83" fmla="*/ 118 h 229"/>
                  <a:gd name="T84" fmla="*/ 102 w 184"/>
                  <a:gd name="T85" fmla="*/ 118 h 229"/>
                  <a:gd name="T86" fmla="*/ 102 w 184"/>
                  <a:gd name="T87" fmla="*/ 118 h 229"/>
                  <a:gd name="T88" fmla="*/ 110 w 184"/>
                  <a:gd name="T89" fmla="*/ 118 h 229"/>
                  <a:gd name="T90" fmla="*/ 118 w 184"/>
                  <a:gd name="T91" fmla="*/ 120 h 229"/>
                  <a:gd name="T92" fmla="*/ 124 w 184"/>
                  <a:gd name="T93" fmla="*/ 123 h 229"/>
                  <a:gd name="T94" fmla="*/ 129 w 184"/>
                  <a:gd name="T95" fmla="*/ 127 h 229"/>
                  <a:gd name="T96" fmla="*/ 134 w 184"/>
                  <a:gd name="T97" fmla="*/ 133 h 229"/>
                  <a:gd name="T98" fmla="*/ 137 w 184"/>
                  <a:gd name="T99" fmla="*/ 139 h 229"/>
                  <a:gd name="T100" fmla="*/ 139 w 184"/>
                  <a:gd name="T101" fmla="*/ 146 h 229"/>
                  <a:gd name="T102" fmla="*/ 139 w 184"/>
                  <a:gd name="T103" fmla="*/ 155 h 229"/>
                  <a:gd name="T104" fmla="*/ 139 w 184"/>
                  <a:gd name="T105" fmla="*/ 155 h 229"/>
                  <a:gd name="T106" fmla="*/ 139 w 184"/>
                  <a:gd name="T107" fmla="*/ 163 h 229"/>
                  <a:gd name="T108" fmla="*/ 137 w 184"/>
                  <a:gd name="T109" fmla="*/ 170 h 229"/>
                  <a:gd name="T110" fmla="*/ 134 w 184"/>
                  <a:gd name="T111" fmla="*/ 177 h 229"/>
                  <a:gd name="T112" fmla="*/ 130 w 184"/>
                  <a:gd name="T113" fmla="*/ 182 h 229"/>
                  <a:gd name="T114" fmla="*/ 125 w 184"/>
                  <a:gd name="T115" fmla="*/ 186 h 229"/>
                  <a:gd name="T116" fmla="*/ 119 w 184"/>
                  <a:gd name="T117" fmla="*/ 189 h 229"/>
                  <a:gd name="T118" fmla="*/ 111 w 184"/>
                  <a:gd name="T119" fmla="*/ 191 h 229"/>
                  <a:gd name="T120" fmla="*/ 102 w 184"/>
                  <a:gd name="T121" fmla="*/ 192 h 229"/>
                  <a:gd name="T122" fmla="*/ 45 w 184"/>
                  <a:gd name="T123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4" h="229">
                    <a:moveTo>
                      <a:pt x="45" y="0"/>
                    </a:moveTo>
                    <a:lnTo>
                      <a:pt x="0" y="0"/>
                    </a:lnTo>
                    <a:lnTo>
                      <a:pt x="0" y="229"/>
                    </a:lnTo>
                    <a:lnTo>
                      <a:pt x="106" y="229"/>
                    </a:lnTo>
                    <a:lnTo>
                      <a:pt x="106" y="229"/>
                    </a:lnTo>
                    <a:lnTo>
                      <a:pt x="114" y="229"/>
                    </a:lnTo>
                    <a:lnTo>
                      <a:pt x="122" y="228"/>
                    </a:lnTo>
                    <a:lnTo>
                      <a:pt x="130" y="226"/>
                    </a:lnTo>
                    <a:lnTo>
                      <a:pt x="137" y="224"/>
                    </a:lnTo>
                    <a:lnTo>
                      <a:pt x="144" y="222"/>
                    </a:lnTo>
                    <a:lnTo>
                      <a:pt x="151" y="218"/>
                    </a:lnTo>
                    <a:lnTo>
                      <a:pt x="157" y="214"/>
                    </a:lnTo>
                    <a:lnTo>
                      <a:pt x="162" y="210"/>
                    </a:lnTo>
                    <a:lnTo>
                      <a:pt x="167" y="205"/>
                    </a:lnTo>
                    <a:lnTo>
                      <a:pt x="172" y="200"/>
                    </a:lnTo>
                    <a:lnTo>
                      <a:pt x="175" y="193"/>
                    </a:lnTo>
                    <a:lnTo>
                      <a:pt x="178" y="187"/>
                    </a:lnTo>
                    <a:lnTo>
                      <a:pt x="181" y="180"/>
                    </a:lnTo>
                    <a:lnTo>
                      <a:pt x="183" y="172"/>
                    </a:lnTo>
                    <a:lnTo>
                      <a:pt x="184" y="163"/>
                    </a:lnTo>
                    <a:lnTo>
                      <a:pt x="184" y="154"/>
                    </a:lnTo>
                    <a:lnTo>
                      <a:pt x="184" y="154"/>
                    </a:lnTo>
                    <a:lnTo>
                      <a:pt x="184" y="146"/>
                    </a:lnTo>
                    <a:lnTo>
                      <a:pt x="183" y="137"/>
                    </a:lnTo>
                    <a:lnTo>
                      <a:pt x="181" y="130"/>
                    </a:lnTo>
                    <a:lnTo>
                      <a:pt x="178" y="122"/>
                    </a:lnTo>
                    <a:lnTo>
                      <a:pt x="175" y="116"/>
                    </a:lnTo>
                    <a:lnTo>
                      <a:pt x="172" y="110"/>
                    </a:lnTo>
                    <a:lnTo>
                      <a:pt x="167" y="104"/>
                    </a:lnTo>
                    <a:lnTo>
                      <a:pt x="163" y="99"/>
                    </a:lnTo>
                    <a:lnTo>
                      <a:pt x="157" y="95"/>
                    </a:lnTo>
                    <a:lnTo>
                      <a:pt x="151" y="91"/>
                    </a:lnTo>
                    <a:lnTo>
                      <a:pt x="145" y="88"/>
                    </a:lnTo>
                    <a:lnTo>
                      <a:pt x="139" y="85"/>
                    </a:lnTo>
                    <a:lnTo>
                      <a:pt x="132" y="83"/>
                    </a:lnTo>
                    <a:lnTo>
                      <a:pt x="124" y="82"/>
                    </a:lnTo>
                    <a:lnTo>
                      <a:pt x="116" y="81"/>
                    </a:lnTo>
                    <a:lnTo>
                      <a:pt x="108" y="81"/>
                    </a:lnTo>
                    <a:lnTo>
                      <a:pt x="45" y="81"/>
                    </a:lnTo>
                    <a:lnTo>
                      <a:pt x="45" y="0"/>
                    </a:lnTo>
                    <a:close/>
                    <a:moveTo>
                      <a:pt x="45" y="192"/>
                    </a:moveTo>
                    <a:lnTo>
                      <a:pt x="45" y="118"/>
                    </a:lnTo>
                    <a:lnTo>
                      <a:pt x="102" y="118"/>
                    </a:lnTo>
                    <a:lnTo>
                      <a:pt x="102" y="118"/>
                    </a:lnTo>
                    <a:lnTo>
                      <a:pt x="110" y="118"/>
                    </a:lnTo>
                    <a:lnTo>
                      <a:pt x="118" y="120"/>
                    </a:lnTo>
                    <a:lnTo>
                      <a:pt x="124" y="123"/>
                    </a:lnTo>
                    <a:lnTo>
                      <a:pt x="129" y="127"/>
                    </a:lnTo>
                    <a:lnTo>
                      <a:pt x="134" y="133"/>
                    </a:lnTo>
                    <a:lnTo>
                      <a:pt x="137" y="139"/>
                    </a:lnTo>
                    <a:lnTo>
                      <a:pt x="139" y="146"/>
                    </a:lnTo>
                    <a:lnTo>
                      <a:pt x="139" y="155"/>
                    </a:lnTo>
                    <a:lnTo>
                      <a:pt x="139" y="155"/>
                    </a:lnTo>
                    <a:lnTo>
                      <a:pt x="139" y="163"/>
                    </a:lnTo>
                    <a:lnTo>
                      <a:pt x="137" y="170"/>
                    </a:lnTo>
                    <a:lnTo>
                      <a:pt x="134" y="177"/>
                    </a:lnTo>
                    <a:lnTo>
                      <a:pt x="130" y="182"/>
                    </a:lnTo>
                    <a:lnTo>
                      <a:pt x="125" y="186"/>
                    </a:lnTo>
                    <a:lnTo>
                      <a:pt x="119" y="189"/>
                    </a:lnTo>
                    <a:lnTo>
                      <a:pt x="111" y="191"/>
                    </a:lnTo>
                    <a:lnTo>
                      <a:pt x="102" y="192"/>
                    </a:lnTo>
                    <a:lnTo>
                      <a:pt x="45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1" name="Freeform 40"/>
              <p:cNvSpPr>
                <a:spLocks noEditPoints="1"/>
              </p:cNvSpPr>
              <p:nvPr userDrawn="1"/>
            </p:nvSpPr>
            <p:spPr bwMode="auto">
              <a:xfrm>
                <a:off x="3033712" y="6149194"/>
                <a:ext cx="80963" cy="95250"/>
              </a:xfrm>
              <a:custGeom>
                <a:avLst/>
                <a:gdLst>
                  <a:gd name="T0" fmla="*/ 205 w 205"/>
                  <a:gd name="T1" fmla="*/ 105 h 239"/>
                  <a:gd name="T2" fmla="*/ 198 w 205"/>
                  <a:gd name="T3" fmla="*/ 70 h 239"/>
                  <a:gd name="T4" fmla="*/ 183 w 205"/>
                  <a:gd name="T5" fmla="*/ 41 h 239"/>
                  <a:gd name="T6" fmla="*/ 161 w 205"/>
                  <a:gd name="T7" fmla="*/ 19 h 239"/>
                  <a:gd name="T8" fmla="*/ 135 w 205"/>
                  <a:gd name="T9" fmla="*/ 5 h 239"/>
                  <a:gd name="T10" fmla="*/ 103 w 205"/>
                  <a:gd name="T11" fmla="*/ 0 h 239"/>
                  <a:gd name="T12" fmla="*/ 81 w 205"/>
                  <a:gd name="T13" fmla="*/ 2 h 239"/>
                  <a:gd name="T14" fmla="*/ 53 w 205"/>
                  <a:gd name="T15" fmla="*/ 13 h 239"/>
                  <a:gd name="T16" fmla="*/ 30 w 205"/>
                  <a:gd name="T17" fmla="*/ 32 h 239"/>
                  <a:gd name="T18" fmla="*/ 12 w 205"/>
                  <a:gd name="T19" fmla="*/ 59 h 239"/>
                  <a:gd name="T20" fmla="*/ 2 w 205"/>
                  <a:gd name="T21" fmla="*/ 93 h 239"/>
                  <a:gd name="T22" fmla="*/ 0 w 205"/>
                  <a:gd name="T23" fmla="*/ 120 h 239"/>
                  <a:gd name="T24" fmla="*/ 5 w 205"/>
                  <a:gd name="T25" fmla="*/ 157 h 239"/>
                  <a:gd name="T26" fmla="*/ 17 w 205"/>
                  <a:gd name="T27" fmla="*/ 189 h 239"/>
                  <a:gd name="T28" fmla="*/ 36 w 205"/>
                  <a:gd name="T29" fmla="*/ 214 h 239"/>
                  <a:gd name="T30" fmla="*/ 61 w 205"/>
                  <a:gd name="T31" fmla="*/ 230 h 239"/>
                  <a:gd name="T32" fmla="*/ 90 w 205"/>
                  <a:gd name="T33" fmla="*/ 238 h 239"/>
                  <a:gd name="T34" fmla="*/ 113 w 205"/>
                  <a:gd name="T35" fmla="*/ 238 h 239"/>
                  <a:gd name="T36" fmla="*/ 143 w 205"/>
                  <a:gd name="T37" fmla="*/ 231 h 239"/>
                  <a:gd name="T38" fmla="*/ 169 w 205"/>
                  <a:gd name="T39" fmla="*/ 214 h 239"/>
                  <a:gd name="T40" fmla="*/ 188 w 205"/>
                  <a:gd name="T41" fmla="*/ 190 h 239"/>
                  <a:gd name="T42" fmla="*/ 201 w 205"/>
                  <a:gd name="T43" fmla="*/ 158 h 239"/>
                  <a:gd name="T44" fmla="*/ 205 w 205"/>
                  <a:gd name="T45" fmla="*/ 119 h 239"/>
                  <a:gd name="T46" fmla="*/ 160 w 205"/>
                  <a:gd name="T47" fmla="*/ 120 h 239"/>
                  <a:gd name="T48" fmla="*/ 151 w 205"/>
                  <a:gd name="T49" fmla="*/ 162 h 239"/>
                  <a:gd name="T50" fmla="*/ 137 w 205"/>
                  <a:gd name="T51" fmla="*/ 183 h 239"/>
                  <a:gd name="T52" fmla="*/ 122 w 205"/>
                  <a:gd name="T53" fmla="*/ 193 h 239"/>
                  <a:gd name="T54" fmla="*/ 104 w 205"/>
                  <a:gd name="T55" fmla="*/ 196 h 239"/>
                  <a:gd name="T56" fmla="*/ 91 w 205"/>
                  <a:gd name="T57" fmla="*/ 195 h 239"/>
                  <a:gd name="T58" fmla="*/ 75 w 205"/>
                  <a:gd name="T59" fmla="*/ 188 h 239"/>
                  <a:gd name="T60" fmla="*/ 62 w 205"/>
                  <a:gd name="T61" fmla="*/ 176 h 239"/>
                  <a:gd name="T62" fmla="*/ 52 w 205"/>
                  <a:gd name="T63" fmla="*/ 159 h 239"/>
                  <a:gd name="T64" fmla="*/ 46 w 205"/>
                  <a:gd name="T65" fmla="*/ 119 h 239"/>
                  <a:gd name="T66" fmla="*/ 50 w 205"/>
                  <a:gd name="T67" fmla="*/ 88 h 239"/>
                  <a:gd name="T68" fmla="*/ 60 w 205"/>
                  <a:gd name="T69" fmla="*/ 64 h 239"/>
                  <a:gd name="T70" fmla="*/ 73 w 205"/>
                  <a:gd name="T71" fmla="*/ 51 h 239"/>
                  <a:gd name="T72" fmla="*/ 89 w 205"/>
                  <a:gd name="T73" fmla="*/ 44 h 239"/>
                  <a:gd name="T74" fmla="*/ 101 w 205"/>
                  <a:gd name="T75" fmla="*/ 43 h 239"/>
                  <a:gd name="T76" fmla="*/ 120 w 205"/>
                  <a:gd name="T77" fmla="*/ 46 h 239"/>
                  <a:gd name="T78" fmla="*/ 136 w 205"/>
                  <a:gd name="T79" fmla="*/ 55 h 239"/>
                  <a:gd name="T80" fmla="*/ 148 w 205"/>
                  <a:gd name="T81" fmla="*/ 69 h 239"/>
                  <a:gd name="T82" fmla="*/ 156 w 205"/>
                  <a:gd name="T83" fmla="*/ 88 h 239"/>
                  <a:gd name="T84" fmla="*/ 160 w 205"/>
                  <a:gd name="T85" fmla="*/ 12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5" h="239">
                    <a:moveTo>
                      <a:pt x="205" y="119"/>
                    </a:moveTo>
                    <a:lnTo>
                      <a:pt x="205" y="119"/>
                    </a:lnTo>
                    <a:lnTo>
                      <a:pt x="205" y="105"/>
                    </a:lnTo>
                    <a:lnTo>
                      <a:pt x="203" y="93"/>
                    </a:lnTo>
                    <a:lnTo>
                      <a:pt x="201" y="81"/>
                    </a:lnTo>
                    <a:lnTo>
                      <a:pt x="198" y="70"/>
                    </a:lnTo>
                    <a:lnTo>
                      <a:pt x="194" y="59"/>
                    </a:lnTo>
                    <a:lnTo>
                      <a:pt x="189" y="50"/>
                    </a:lnTo>
                    <a:lnTo>
                      <a:pt x="183" y="41"/>
                    </a:lnTo>
                    <a:lnTo>
                      <a:pt x="176" y="33"/>
                    </a:lnTo>
                    <a:lnTo>
                      <a:pt x="169" y="25"/>
                    </a:lnTo>
                    <a:lnTo>
                      <a:pt x="161" y="19"/>
                    </a:lnTo>
                    <a:lnTo>
                      <a:pt x="153" y="13"/>
                    </a:lnTo>
                    <a:lnTo>
                      <a:pt x="144" y="9"/>
                    </a:lnTo>
                    <a:lnTo>
                      <a:pt x="135" y="5"/>
                    </a:lnTo>
                    <a:lnTo>
                      <a:pt x="125" y="3"/>
                    </a:lnTo>
                    <a:lnTo>
                      <a:pt x="114" y="1"/>
                    </a:lnTo>
                    <a:lnTo>
                      <a:pt x="103" y="0"/>
                    </a:lnTo>
                    <a:lnTo>
                      <a:pt x="103" y="0"/>
                    </a:lnTo>
                    <a:lnTo>
                      <a:pt x="92" y="1"/>
                    </a:lnTo>
                    <a:lnTo>
                      <a:pt x="81" y="2"/>
                    </a:lnTo>
                    <a:lnTo>
                      <a:pt x="72" y="5"/>
                    </a:lnTo>
                    <a:lnTo>
                      <a:pt x="62" y="8"/>
                    </a:lnTo>
                    <a:lnTo>
                      <a:pt x="53" y="13"/>
                    </a:lnTo>
                    <a:lnTo>
                      <a:pt x="45" y="18"/>
                    </a:lnTo>
                    <a:lnTo>
                      <a:pt x="37" y="25"/>
                    </a:lnTo>
                    <a:lnTo>
                      <a:pt x="30" y="32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9"/>
                    </a:lnTo>
                    <a:lnTo>
                      <a:pt x="8" y="70"/>
                    </a:lnTo>
                    <a:lnTo>
                      <a:pt x="5" y="81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5"/>
                    </a:lnTo>
                    <a:lnTo>
                      <a:pt x="5" y="157"/>
                    </a:lnTo>
                    <a:lnTo>
                      <a:pt x="8" y="169"/>
                    </a:lnTo>
                    <a:lnTo>
                      <a:pt x="12" y="179"/>
                    </a:lnTo>
                    <a:lnTo>
                      <a:pt x="17" y="189"/>
                    </a:lnTo>
                    <a:lnTo>
                      <a:pt x="23" y="198"/>
                    </a:lnTo>
                    <a:lnTo>
                      <a:pt x="29" y="206"/>
                    </a:lnTo>
                    <a:lnTo>
                      <a:pt x="36" y="214"/>
                    </a:lnTo>
                    <a:lnTo>
                      <a:pt x="44" y="220"/>
                    </a:lnTo>
                    <a:lnTo>
                      <a:pt x="52" y="226"/>
                    </a:lnTo>
                    <a:lnTo>
                      <a:pt x="61" y="230"/>
                    </a:lnTo>
                    <a:lnTo>
                      <a:pt x="70" y="234"/>
                    </a:lnTo>
                    <a:lnTo>
                      <a:pt x="80" y="237"/>
                    </a:lnTo>
                    <a:lnTo>
                      <a:pt x="90" y="238"/>
                    </a:lnTo>
                    <a:lnTo>
                      <a:pt x="101" y="239"/>
                    </a:lnTo>
                    <a:lnTo>
                      <a:pt x="101" y="239"/>
                    </a:lnTo>
                    <a:lnTo>
                      <a:pt x="113" y="238"/>
                    </a:lnTo>
                    <a:lnTo>
                      <a:pt x="123" y="237"/>
                    </a:lnTo>
                    <a:lnTo>
                      <a:pt x="133" y="234"/>
                    </a:lnTo>
                    <a:lnTo>
                      <a:pt x="143" y="231"/>
                    </a:lnTo>
                    <a:lnTo>
                      <a:pt x="152" y="226"/>
                    </a:lnTo>
                    <a:lnTo>
                      <a:pt x="161" y="221"/>
                    </a:lnTo>
                    <a:lnTo>
                      <a:pt x="169" y="214"/>
                    </a:lnTo>
                    <a:lnTo>
                      <a:pt x="176" y="207"/>
                    </a:lnTo>
                    <a:lnTo>
                      <a:pt x="182" y="199"/>
                    </a:lnTo>
                    <a:lnTo>
                      <a:pt x="188" y="190"/>
                    </a:lnTo>
                    <a:lnTo>
                      <a:pt x="193" y="180"/>
                    </a:lnTo>
                    <a:lnTo>
                      <a:pt x="198" y="169"/>
                    </a:lnTo>
                    <a:lnTo>
                      <a:pt x="201" y="158"/>
                    </a:lnTo>
                    <a:lnTo>
                      <a:pt x="203" y="145"/>
                    </a:lnTo>
                    <a:lnTo>
                      <a:pt x="205" y="132"/>
                    </a:lnTo>
                    <a:lnTo>
                      <a:pt x="205" y="119"/>
                    </a:lnTo>
                    <a:lnTo>
                      <a:pt x="205" y="119"/>
                    </a:lnTo>
                    <a:close/>
                    <a:moveTo>
                      <a:pt x="160" y="120"/>
                    </a:moveTo>
                    <a:lnTo>
                      <a:pt x="160" y="120"/>
                    </a:lnTo>
                    <a:lnTo>
                      <a:pt x="159" y="135"/>
                    </a:lnTo>
                    <a:lnTo>
                      <a:pt x="156" y="149"/>
                    </a:lnTo>
                    <a:lnTo>
                      <a:pt x="151" y="162"/>
                    </a:lnTo>
                    <a:lnTo>
                      <a:pt x="145" y="174"/>
                    </a:lnTo>
                    <a:lnTo>
                      <a:pt x="141" y="179"/>
                    </a:lnTo>
                    <a:lnTo>
                      <a:pt x="137" y="183"/>
                    </a:lnTo>
                    <a:lnTo>
                      <a:pt x="132" y="187"/>
                    </a:lnTo>
                    <a:lnTo>
                      <a:pt x="127" y="190"/>
                    </a:lnTo>
                    <a:lnTo>
                      <a:pt x="122" y="193"/>
                    </a:lnTo>
                    <a:lnTo>
                      <a:pt x="116" y="195"/>
                    </a:lnTo>
                    <a:lnTo>
                      <a:pt x="110" y="196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97" y="196"/>
                    </a:lnTo>
                    <a:lnTo>
                      <a:pt x="91" y="195"/>
                    </a:lnTo>
                    <a:lnTo>
                      <a:pt x="85" y="193"/>
                    </a:lnTo>
                    <a:lnTo>
                      <a:pt x="80" y="191"/>
                    </a:lnTo>
                    <a:lnTo>
                      <a:pt x="75" y="188"/>
                    </a:lnTo>
                    <a:lnTo>
                      <a:pt x="70" y="185"/>
                    </a:lnTo>
                    <a:lnTo>
                      <a:pt x="65" y="181"/>
                    </a:lnTo>
                    <a:lnTo>
                      <a:pt x="62" y="176"/>
                    </a:lnTo>
                    <a:lnTo>
                      <a:pt x="58" y="171"/>
                    </a:lnTo>
                    <a:lnTo>
                      <a:pt x="55" y="165"/>
                    </a:lnTo>
                    <a:lnTo>
                      <a:pt x="52" y="159"/>
                    </a:lnTo>
                    <a:lnTo>
                      <a:pt x="50" y="152"/>
                    </a:lnTo>
                    <a:lnTo>
                      <a:pt x="47" y="136"/>
                    </a:lnTo>
                    <a:lnTo>
                      <a:pt x="46" y="119"/>
                    </a:lnTo>
                    <a:lnTo>
                      <a:pt x="46" y="119"/>
                    </a:lnTo>
                    <a:lnTo>
                      <a:pt x="47" y="102"/>
                    </a:lnTo>
                    <a:lnTo>
                      <a:pt x="50" y="88"/>
                    </a:lnTo>
                    <a:lnTo>
                      <a:pt x="54" y="75"/>
                    </a:lnTo>
                    <a:lnTo>
                      <a:pt x="57" y="69"/>
                    </a:lnTo>
                    <a:lnTo>
                      <a:pt x="60" y="64"/>
                    </a:lnTo>
                    <a:lnTo>
                      <a:pt x="64" y="59"/>
                    </a:lnTo>
                    <a:lnTo>
                      <a:pt x="68" y="55"/>
                    </a:lnTo>
                    <a:lnTo>
                      <a:pt x="73" y="51"/>
                    </a:lnTo>
                    <a:lnTo>
                      <a:pt x="78" y="48"/>
                    </a:lnTo>
                    <a:lnTo>
                      <a:pt x="83" y="46"/>
                    </a:lnTo>
                    <a:lnTo>
                      <a:pt x="89" y="44"/>
                    </a:lnTo>
                    <a:lnTo>
                      <a:pt x="94" y="43"/>
                    </a:lnTo>
                    <a:lnTo>
                      <a:pt x="101" y="43"/>
                    </a:lnTo>
                    <a:lnTo>
                      <a:pt x="101" y="43"/>
                    </a:lnTo>
                    <a:lnTo>
                      <a:pt x="108" y="43"/>
                    </a:lnTo>
                    <a:lnTo>
                      <a:pt x="115" y="44"/>
                    </a:lnTo>
                    <a:lnTo>
                      <a:pt x="120" y="46"/>
                    </a:lnTo>
                    <a:lnTo>
                      <a:pt x="126" y="49"/>
                    </a:lnTo>
                    <a:lnTo>
                      <a:pt x="131" y="51"/>
                    </a:lnTo>
                    <a:lnTo>
                      <a:pt x="136" y="55"/>
                    </a:lnTo>
                    <a:lnTo>
                      <a:pt x="140" y="59"/>
                    </a:lnTo>
                    <a:lnTo>
                      <a:pt x="144" y="64"/>
                    </a:lnTo>
                    <a:lnTo>
                      <a:pt x="148" y="69"/>
                    </a:lnTo>
                    <a:lnTo>
                      <a:pt x="151" y="75"/>
                    </a:lnTo>
                    <a:lnTo>
                      <a:pt x="154" y="81"/>
                    </a:lnTo>
                    <a:lnTo>
                      <a:pt x="156" y="88"/>
                    </a:lnTo>
                    <a:lnTo>
                      <a:pt x="159" y="103"/>
                    </a:lnTo>
                    <a:lnTo>
                      <a:pt x="160" y="120"/>
                    </a:lnTo>
                    <a:lnTo>
                      <a:pt x="160" y="12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2" name="Freeform 41"/>
              <p:cNvSpPr>
                <a:spLocks/>
              </p:cNvSpPr>
              <p:nvPr userDrawn="1"/>
            </p:nvSpPr>
            <p:spPr bwMode="auto">
              <a:xfrm>
                <a:off x="3124200" y="6150782"/>
                <a:ext cx="73025" cy="92075"/>
              </a:xfrm>
              <a:custGeom>
                <a:avLst/>
                <a:gdLst>
                  <a:gd name="T0" fmla="*/ 184 w 184"/>
                  <a:gd name="T1" fmla="*/ 39 h 229"/>
                  <a:gd name="T2" fmla="*/ 184 w 184"/>
                  <a:gd name="T3" fmla="*/ 0 h 229"/>
                  <a:gd name="T4" fmla="*/ 0 w 184"/>
                  <a:gd name="T5" fmla="*/ 0 h 229"/>
                  <a:gd name="T6" fmla="*/ 0 w 184"/>
                  <a:gd name="T7" fmla="*/ 39 h 229"/>
                  <a:gd name="T8" fmla="*/ 69 w 184"/>
                  <a:gd name="T9" fmla="*/ 39 h 229"/>
                  <a:gd name="T10" fmla="*/ 69 w 184"/>
                  <a:gd name="T11" fmla="*/ 229 h 229"/>
                  <a:gd name="T12" fmla="*/ 114 w 184"/>
                  <a:gd name="T13" fmla="*/ 229 h 229"/>
                  <a:gd name="T14" fmla="*/ 114 w 184"/>
                  <a:gd name="T15" fmla="*/ 39 h 229"/>
                  <a:gd name="T16" fmla="*/ 184 w 184"/>
                  <a:gd name="T17" fmla="*/ 3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229">
                    <a:moveTo>
                      <a:pt x="184" y="39"/>
                    </a:moveTo>
                    <a:lnTo>
                      <a:pt x="184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69" y="39"/>
                    </a:lnTo>
                    <a:lnTo>
                      <a:pt x="69" y="229"/>
                    </a:lnTo>
                    <a:lnTo>
                      <a:pt x="114" y="229"/>
                    </a:lnTo>
                    <a:lnTo>
                      <a:pt x="114" y="39"/>
                    </a:lnTo>
                    <a:lnTo>
                      <a:pt x="184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3" name="Freeform 42"/>
              <p:cNvSpPr>
                <a:spLocks noEditPoints="1"/>
              </p:cNvSpPr>
              <p:nvPr userDrawn="1"/>
            </p:nvSpPr>
            <p:spPr bwMode="auto">
              <a:xfrm>
                <a:off x="3209925" y="6150782"/>
                <a:ext cx="73025" cy="92075"/>
              </a:xfrm>
              <a:custGeom>
                <a:avLst/>
                <a:gdLst>
                  <a:gd name="T0" fmla="*/ 0 w 185"/>
                  <a:gd name="T1" fmla="*/ 229 h 229"/>
                  <a:gd name="T2" fmla="*/ 105 w 185"/>
                  <a:gd name="T3" fmla="*/ 229 h 229"/>
                  <a:gd name="T4" fmla="*/ 131 w 185"/>
                  <a:gd name="T5" fmla="*/ 227 h 229"/>
                  <a:gd name="T6" fmla="*/ 146 w 185"/>
                  <a:gd name="T7" fmla="*/ 222 h 229"/>
                  <a:gd name="T8" fmla="*/ 159 w 185"/>
                  <a:gd name="T9" fmla="*/ 215 h 229"/>
                  <a:gd name="T10" fmla="*/ 169 w 185"/>
                  <a:gd name="T11" fmla="*/ 207 h 229"/>
                  <a:gd name="T12" fmla="*/ 177 w 185"/>
                  <a:gd name="T13" fmla="*/ 196 h 229"/>
                  <a:gd name="T14" fmla="*/ 182 w 185"/>
                  <a:gd name="T15" fmla="*/ 182 h 229"/>
                  <a:gd name="T16" fmla="*/ 184 w 185"/>
                  <a:gd name="T17" fmla="*/ 167 h 229"/>
                  <a:gd name="T18" fmla="*/ 185 w 185"/>
                  <a:gd name="T19" fmla="*/ 159 h 229"/>
                  <a:gd name="T20" fmla="*/ 181 w 185"/>
                  <a:gd name="T21" fmla="*/ 138 h 229"/>
                  <a:gd name="T22" fmla="*/ 173 w 185"/>
                  <a:gd name="T23" fmla="*/ 122 h 229"/>
                  <a:gd name="T24" fmla="*/ 161 w 185"/>
                  <a:gd name="T25" fmla="*/ 112 h 229"/>
                  <a:gd name="T26" fmla="*/ 147 w 185"/>
                  <a:gd name="T27" fmla="*/ 106 h 229"/>
                  <a:gd name="T28" fmla="*/ 153 w 185"/>
                  <a:gd name="T29" fmla="*/ 102 h 229"/>
                  <a:gd name="T30" fmla="*/ 165 w 185"/>
                  <a:gd name="T31" fmla="*/ 94 h 229"/>
                  <a:gd name="T32" fmla="*/ 173 w 185"/>
                  <a:gd name="T33" fmla="*/ 82 h 229"/>
                  <a:gd name="T34" fmla="*/ 177 w 185"/>
                  <a:gd name="T35" fmla="*/ 68 h 229"/>
                  <a:gd name="T36" fmla="*/ 178 w 185"/>
                  <a:gd name="T37" fmla="*/ 60 h 229"/>
                  <a:gd name="T38" fmla="*/ 177 w 185"/>
                  <a:gd name="T39" fmla="*/ 46 h 229"/>
                  <a:gd name="T40" fmla="*/ 173 w 185"/>
                  <a:gd name="T41" fmla="*/ 34 h 229"/>
                  <a:gd name="T42" fmla="*/ 167 w 185"/>
                  <a:gd name="T43" fmla="*/ 24 h 229"/>
                  <a:gd name="T44" fmla="*/ 160 w 185"/>
                  <a:gd name="T45" fmla="*/ 15 h 229"/>
                  <a:gd name="T46" fmla="*/ 149 w 185"/>
                  <a:gd name="T47" fmla="*/ 9 h 229"/>
                  <a:gd name="T48" fmla="*/ 125 w 185"/>
                  <a:gd name="T49" fmla="*/ 1 h 229"/>
                  <a:gd name="T50" fmla="*/ 0 w 185"/>
                  <a:gd name="T51" fmla="*/ 0 h 229"/>
                  <a:gd name="T52" fmla="*/ 44 w 185"/>
                  <a:gd name="T53" fmla="*/ 37 h 229"/>
                  <a:gd name="T54" fmla="*/ 104 w 185"/>
                  <a:gd name="T55" fmla="*/ 37 h 229"/>
                  <a:gd name="T56" fmla="*/ 117 w 185"/>
                  <a:gd name="T57" fmla="*/ 39 h 229"/>
                  <a:gd name="T58" fmla="*/ 125 w 185"/>
                  <a:gd name="T59" fmla="*/ 45 h 229"/>
                  <a:gd name="T60" fmla="*/ 130 w 185"/>
                  <a:gd name="T61" fmla="*/ 53 h 229"/>
                  <a:gd name="T62" fmla="*/ 132 w 185"/>
                  <a:gd name="T63" fmla="*/ 64 h 229"/>
                  <a:gd name="T64" fmla="*/ 131 w 185"/>
                  <a:gd name="T65" fmla="*/ 69 h 229"/>
                  <a:gd name="T66" fmla="*/ 128 w 185"/>
                  <a:gd name="T67" fmla="*/ 78 h 229"/>
                  <a:gd name="T68" fmla="*/ 121 w 185"/>
                  <a:gd name="T69" fmla="*/ 85 h 229"/>
                  <a:gd name="T70" fmla="*/ 111 w 185"/>
                  <a:gd name="T71" fmla="*/ 89 h 229"/>
                  <a:gd name="T72" fmla="*/ 44 w 185"/>
                  <a:gd name="T73" fmla="*/ 90 h 229"/>
                  <a:gd name="T74" fmla="*/ 44 w 185"/>
                  <a:gd name="T75" fmla="*/ 127 h 229"/>
                  <a:gd name="T76" fmla="*/ 104 w 185"/>
                  <a:gd name="T77" fmla="*/ 127 h 229"/>
                  <a:gd name="T78" fmla="*/ 119 w 185"/>
                  <a:gd name="T79" fmla="*/ 129 h 229"/>
                  <a:gd name="T80" fmla="*/ 130 w 185"/>
                  <a:gd name="T81" fmla="*/ 136 h 229"/>
                  <a:gd name="T82" fmla="*/ 137 w 185"/>
                  <a:gd name="T83" fmla="*/ 146 h 229"/>
                  <a:gd name="T84" fmla="*/ 139 w 185"/>
                  <a:gd name="T85" fmla="*/ 160 h 229"/>
                  <a:gd name="T86" fmla="*/ 138 w 185"/>
                  <a:gd name="T87" fmla="*/ 167 h 229"/>
                  <a:gd name="T88" fmla="*/ 134 w 185"/>
                  <a:gd name="T89" fmla="*/ 178 h 229"/>
                  <a:gd name="T90" fmla="*/ 126 w 185"/>
                  <a:gd name="T91" fmla="*/ 187 h 229"/>
                  <a:gd name="T92" fmla="*/ 112 w 185"/>
                  <a:gd name="T93" fmla="*/ 191 h 229"/>
                  <a:gd name="T94" fmla="*/ 44 w 185"/>
                  <a:gd name="T95" fmla="*/ 192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5" h="229">
                    <a:moveTo>
                      <a:pt x="0" y="0"/>
                    </a:moveTo>
                    <a:lnTo>
                      <a:pt x="0" y="229"/>
                    </a:lnTo>
                    <a:lnTo>
                      <a:pt x="105" y="229"/>
                    </a:lnTo>
                    <a:lnTo>
                      <a:pt x="105" y="229"/>
                    </a:lnTo>
                    <a:lnTo>
                      <a:pt x="123" y="228"/>
                    </a:lnTo>
                    <a:lnTo>
                      <a:pt x="131" y="227"/>
                    </a:lnTo>
                    <a:lnTo>
                      <a:pt x="139" y="225"/>
                    </a:lnTo>
                    <a:lnTo>
                      <a:pt x="146" y="222"/>
                    </a:lnTo>
                    <a:lnTo>
                      <a:pt x="152" y="219"/>
                    </a:lnTo>
                    <a:lnTo>
                      <a:pt x="159" y="215"/>
                    </a:lnTo>
                    <a:lnTo>
                      <a:pt x="164" y="211"/>
                    </a:lnTo>
                    <a:lnTo>
                      <a:pt x="169" y="207"/>
                    </a:lnTo>
                    <a:lnTo>
                      <a:pt x="173" y="201"/>
                    </a:lnTo>
                    <a:lnTo>
                      <a:pt x="177" y="196"/>
                    </a:lnTo>
                    <a:lnTo>
                      <a:pt x="180" y="189"/>
                    </a:lnTo>
                    <a:lnTo>
                      <a:pt x="182" y="182"/>
                    </a:lnTo>
                    <a:lnTo>
                      <a:pt x="183" y="175"/>
                    </a:lnTo>
                    <a:lnTo>
                      <a:pt x="184" y="167"/>
                    </a:lnTo>
                    <a:lnTo>
                      <a:pt x="185" y="159"/>
                    </a:lnTo>
                    <a:lnTo>
                      <a:pt x="185" y="159"/>
                    </a:lnTo>
                    <a:lnTo>
                      <a:pt x="184" y="148"/>
                    </a:lnTo>
                    <a:lnTo>
                      <a:pt x="181" y="138"/>
                    </a:lnTo>
                    <a:lnTo>
                      <a:pt x="178" y="129"/>
                    </a:lnTo>
                    <a:lnTo>
                      <a:pt x="173" y="122"/>
                    </a:lnTo>
                    <a:lnTo>
                      <a:pt x="167" y="116"/>
                    </a:lnTo>
                    <a:lnTo>
                      <a:pt x="161" y="112"/>
                    </a:lnTo>
                    <a:lnTo>
                      <a:pt x="153" y="108"/>
                    </a:lnTo>
                    <a:lnTo>
                      <a:pt x="147" y="106"/>
                    </a:lnTo>
                    <a:lnTo>
                      <a:pt x="147" y="106"/>
                    </a:lnTo>
                    <a:lnTo>
                      <a:pt x="153" y="102"/>
                    </a:lnTo>
                    <a:lnTo>
                      <a:pt x="160" y="98"/>
                    </a:lnTo>
                    <a:lnTo>
                      <a:pt x="165" y="94"/>
                    </a:lnTo>
                    <a:lnTo>
                      <a:pt x="169" y="88"/>
                    </a:lnTo>
                    <a:lnTo>
                      <a:pt x="173" y="82"/>
                    </a:lnTo>
                    <a:lnTo>
                      <a:pt x="175" y="76"/>
                    </a:lnTo>
                    <a:lnTo>
                      <a:pt x="177" y="68"/>
                    </a:lnTo>
                    <a:lnTo>
                      <a:pt x="178" y="60"/>
                    </a:lnTo>
                    <a:lnTo>
                      <a:pt x="178" y="60"/>
                    </a:lnTo>
                    <a:lnTo>
                      <a:pt x="177" y="53"/>
                    </a:lnTo>
                    <a:lnTo>
                      <a:pt x="177" y="46"/>
                    </a:lnTo>
                    <a:lnTo>
                      <a:pt x="175" y="40"/>
                    </a:lnTo>
                    <a:lnTo>
                      <a:pt x="173" y="34"/>
                    </a:lnTo>
                    <a:lnTo>
                      <a:pt x="171" y="29"/>
                    </a:lnTo>
                    <a:lnTo>
                      <a:pt x="167" y="24"/>
                    </a:lnTo>
                    <a:lnTo>
                      <a:pt x="164" y="19"/>
                    </a:lnTo>
                    <a:lnTo>
                      <a:pt x="160" y="15"/>
                    </a:lnTo>
                    <a:lnTo>
                      <a:pt x="154" y="12"/>
                    </a:lnTo>
                    <a:lnTo>
                      <a:pt x="149" y="9"/>
                    </a:lnTo>
                    <a:lnTo>
                      <a:pt x="138" y="4"/>
                    </a:lnTo>
                    <a:lnTo>
                      <a:pt x="125" y="1"/>
                    </a:lnTo>
                    <a:lnTo>
                      <a:pt x="111" y="0"/>
                    </a:lnTo>
                    <a:lnTo>
                      <a:pt x="0" y="0"/>
                    </a:lnTo>
                    <a:close/>
                    <a:moveTo>
                      <a:pt x="44" y="90"/>
                    </a:moveTo>
                    <a:lnTo>
                      <a:pt x="44" y="37"/>
                    </a:lnTo>
                    <a:lnTo>
                      <a:pt x="104" y="37"/>
                    </a:lnTo>
                    <a:lnTo>
                      <a:pt x="104" y="37"/>
                    </a:lnTo>
                    <a:lnTo>
                      <a:pt x="111" y="38"/>
                    </a:lnTo>
                    <a:lnTo>
                      <a:pt x="117" y="39"/>
                    </a:lnTo>
                    <a:lnTo>
                      <a:pt x="122" y="42"/>
                    </a:lnTo>
                    <a:lnTo>
                      <a:pt x="125" y="45"/>
                    </a:lnTo>
                    <a:lnTo>
                      <a:pt x="128" y="49"/>
                    </a:lnTo>
                    <a:lnTo>
                      <a:pt x="130" y="53"/>
                    </a:lnTo>
                    <a:lnTo>
                      <a:pt x="132" y="58"/>
                    </a:lnTo>
                    <a:lnTo>
                      <a:pt x="132" y="64"/>
                    </a:lnTo>
                    <a:lnTo>
                      <a:pt x="132" y="64"/>
                    </a:lnTo>
                    <a:lnTo>
                      <a:pt x="131" y="69"/>
                    </a:lnTo>
                    <a:lnTo>
                      <a:pt x="130" y="74"/>
                    </a:lnTo>
                    <a:lnTo>
                      <a:pt x="128" y="78"/>
                    </a:lnTo>
                    <a:lnTo>
                      <a:pt x="125" y="82"/>
                    </a:lnTo>
                    <a:lnTo>
                      <a:pt x="121" y="85"/>
                    </a:lnTo>
                    <a:lnTo>
                      <a:pt x="116" y="88"/>
                    </a:lnTo>
                    <a:lnTo>
                      <a:pt x="111" y="89"/>
                    </a:lnTo>
                    <a:lnTo>
                      <a:pt x="104" y="90"/>
                    </a:lnTo>
                    <a:lnTo>
                      <a:pt x="44" y="90"/>
                    </a:lnTo>
                    <a:close/>
                    <a:moveTo>
                      <a:pt x="44" y="192"/>
                    </a:moveTo>
                    <a:lnTo>
                      <a:pt x="44" y="127"/>
                    </a:lnTo>
                    <a:lnTo>
                      <a:pt x="104" y="127"/>
                    </a:lnTo>
                    <a:lnTo>
                      <a:pt x="104" y="127"/>
                    </a:lnTo>
                    <a:lnTo>
                      <a:pt x="112" y="128"/>
                    </a:lnTo>
                    <a:lnTo>
                      <a:pt x="119" y="129"/>
                    </a:lnTo>
                    <a:lnTo>
                      <a:pt x="125" y="132"/>
                    </a:lnTo>
                    <a:lnTo>
                      <a:pt x="130" y="136"/>
                    </a:lnTo>
                    <a:lnTo>
                      <a:pt x="134" y="141"/>
                    </a:lnTo>
                    <a:lnTo>
                      <a:pt x="137" y="146"/>
                    </a:lnTo>
                    <a:lnTo>
                      <a:pt x="138" y="153"/>
                    </a:lnTo>
                    <a:lnTo>
                      <a:pt x="139" y="160"/>
                    </a:lnTo>
                    <a:lnTo>
                      <a:pt x="139" y="160"/>
                    </a:lnTo>
                    <a:lnTo>
                      <a:pt x="138" y="167"/>
                    </a:lnTo>
                    <a:lnTo>
                      <a:pt x="137" y="173"/>
                    </a:lnTo>
                    <a:lnTo>
                      <a:pt x="134" y="178"/>
                    </a:lnTo>
                    <a:lnTo>
                      <a:pt x="131" y="183"/>
                    </a:lnTo>
                    <a:lnTo>
                      <a:pt x="126" y="187"/>
                    </a:lnTo>
                    <a:lnTo>
                      <a:pt x="120" y="190"/>
                    </a:lnTo>
                    <a:lnTo>
                      <a:pt x="112" y="191"/>
                    </a:lnTo>
                    <a:lnTo>
                      <a:pt x="103" y="192"/>
                    </a:lnTo>
                    <a:lnTo>
                      <a:pt x="44" y="19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auto">
              <a:xfrm>
                <a:off x="3295650" y="6149194"/>
                <a:ext cx="79375" cy="95250"/>
              </a:xfrm>
              <a:custGeom>
                <a:avLst/>
                <a:gdLst>
                  <a:gd name="T0" fmla="*/ 197 w 197"/>
                  <a:gd name="T1" fmla="*/ 115 h 239"/>
                  <a:gd name="T2" fmla="*/ 195 w 197"/>
                  <a:gd name="T3" fmla="*/ 92 h 239"/>
                  <a:gd name="T4" fmla="*/ 191 w 197"/>
                  <a:gd name="T5" fmla="*/ 71 h 239"/>
                  <a:gd name="T6" fmla="*/ 183 w 197"/>
                  <a:gd name="T7" fmla="*/ 52 h 239"/>
                  <a:gd name="T8" fmla="*/ 173 w 197"/>
                  <a:gd name="T9" fmla="*/ 34 h 239"/>
                  <a:gd name="T10" fmla="*/ 159 w 197"/>
                  <a:gd name="T11" fmla="*/ 20 h 239"/>
                  <a:gd name="T12" fmla="*/ 143 w 197"/>
                  <a:gd name="T13" fmla="*/ 10 h 239"/>
                  <a:gd name="T14" fmla="*/ 123 w 197"/>
                  <a:gd name="T15" fmla="*/ 3 h 239"/>
                  <a:gd name="T16" fmla="*/ 100 w 197"/>
                  <a:gd name="T17" fmla="*/ 0 h 239"/>
                  <a:gd name="T18" fmla="*/ 89 w 197"/>
                  <a:gd name="T19" fmla="*/ 1 h 239"/>
                  <a:gd name="T20" fmla="*/ 69 w 197"/>
                  <a:gd name="T21" fmla="*/ 5 h 239"/>
                  <a:gd name="T22" fmla="*/ 51 w 197"/>
                  <a:gd name="T23" fmla="*/ 12 h 239"/>
                  <a:gd name="T24" fmla="*/ 35 w 197"/>
                  <a:gd name="T25" fmla="*/ 24 h 239"/>
                  <a:gd name="T26" fmla="*/ 22 w 197"/>
                  <a:gd name="T27" fmla="*/ 39 h 239"/>
                  <a:gd name="T28" fmla="*/ 11 w 197"/>
                  <a:gd name="T29" fmla="*/ 58 h 239"/>
                  <a:gd name="T30" fmla="*/ 4 w 197"/>
                  <a:gd name="T31" fmla="*/ 80 h 239"/>
                  <a:gd name="T32" fmla="*/ 0 w 197"/>
                  <a:gd name="T33" fmla="*/ 106 h 239"/>
                  <a:gd name="T34" fmla="*/ 0 w 197"/>
                  <a:gd name="T35" fmla="*/ 120 h 239"/>
                  <a:gd name="T36" fmla="*/ 2 w 197"/>
                  <a:gd name="T37" fmla="*/ 148 h 239"/>
                  <a:gd name="T38" fmla="*/ 9 w 197"/>
                  <a:gd name="T39" fmla="*/ 172 h 239"/>
                  <a:gd name="T40" fmla="*/ 18 w 197"/>
                  <a:gd name="T41" fmla="*/ 193 h 239"/>
                  <a:gd name="T42" fmla="*/ 30 w 197"/>
                  <a:gd name="T43" fmla="*/ 209 h 239"/>
                  <a:gd name="T44" fmla="*/ 36 w 197"/>
                  <a:gd name="T45" fmla="*/ 215 h 239"/>
                  <a:gd name="T46" fmla="*/ 51 w 197"/>
                  <a:gd name="T47" fmla="*/ 226 h 239"/>
                  <a:gd name="T48" fmla="*/ 68 w 197"/>
                  <a:gd name="T49" fmla="*/ 234 h 239"/>
                  <a:gd name="T50" fmla="*/ 88 w 197"/>
                  <a:gd name="T51" fmla="*/ 238 h 239"/>
                  <a:gd name="T52" fmla="*/ 99 w 197"/>
                  <a:gd name="T53" fmla="*/ 239 h 239"/>
                  <a:gd name="T54" fmla="*/ 124 w 197"/>
                  <a:gd name="T55" fmla="*/ 237 h 239"/>
                  <a:gd name="T56" fmla="*/ 145 w 197"/>
                  <a:gd name="T57" fmla="*/ 231 h 239"/>
                  <a:gd name="T58" fmla="*/ 153 w 197"/>
                  <a:gd name="T59" fmla="*/ 227 h 239"/>
                  <a:gd name="T60" fmla="*/ 170 w 197"/>
                  <a:gd name="T61" fmla="*/ 216 h 239"/>
                  <a:gd name="T62" fmla="*/ 151 w 197"/>
                  <a:gd name="T63" fmla="*/ 180 h 239"/>
                  <a:gd name="T64" fmla="*/ 139 w 197"/>
                  <a:gd name="T65" fmla="*/ 188 h 239"/>
                  <a:gd name="T66" fmla="*/ 128 w 197"/>
                  <a:gd name="T67" fmla="*/ 193 h 239"/>
                  <a:gd name="T68" fmla="*/ 116 w 197"/>
                  <a:gd name="T69" fmla="*/ 197 h 239"/>
                  <a:gd name="T70" fmla="*/ 101 w 197"/>
                  <a:gd name="T71" fmla="*/ 198 h 239"/>
                  <a:gd name="T72" fmla="*/ 91 w 197"/>
                  <a:gd name="T73" fmla="*/ 197 h 239"/>
                  <a:gd name="T74" fmla="*/ 72 w 197"/>
                  <a:gd name="T75" fmla="*/ 190 h 239"/>
                  <a:gd name="T76" fmla="*/ 57 w 197"/>
                  <a:gd name="T77" fmla="*/ 175 h 239"/>
                  <a:gd name="T78" fmla="*/ 47 w 197"/>
                  <a:gd name="T79" fmla="*/ 151 h 239"/>
                  <a:gd name="T80" fmla="*/ 195 w 197"/>
                  <a:gd name="T81" fmla="*/ 136 h 239"/>
                  <a:gd name="T82" fmla="*/ 196 w 197"/>
                  <a:gd name="T83" fmla="*/ 127 h 239"/>
                  <a:gd name="T84" fmla="*/ 197 w 197"/>
                  <a:gd name="T85" fmla="*/ 115 h 239"/>
                  <a:gd name="T86" fmla="*/ 45 w 197"/>
                  <a:gd name="T87" fmla="*/ 98 h 239"/>
                  <a:gd name="T88" fmla="*/ 50 w 197"/>
                  <a:gd name="T89" fmla="*/ 74 h 239"/>
                  <a:gd name="T90" fmla="*/ 61 w 197"/>
                  <a:gd name="T91" fmla="*/ 56 h 239"/>
                  <a:gd name="T92" fmla="*/ 76 w 197"/>
                  <a:gd name="T93" fmla="*/ 45 h 239"/>
                  <a:gd name="T94" fmla="*/ 97 w 197"/>
                  <a:gd name="T95" fmla="*/ 41 h 239"/>
                  <a:gd name="T96" fmla="*/ 104 w 197"/>
                  <a:gd name="T97" fmla="*/ 41 h 239"/>
                  <a:gd name="T98" fmla="*/ 116 w 197"/>
                  <a:gd name="T99" fmla="*/ 44 h 239"/>
                  <a:gd name="T100" fmla="*/ 126 w 197"/>
                  <a:gd name="T101" fmla="*/ 48 h 239"/>
                  <a:gd name="T102" fmla="*/ 137 w 197"/>
                  <a:gd name="T103" fmla="*/ 58 h 239"/>
                  <a:gd name="T104" fmla="*/ 147 w 197"/>
                  <a:gd name="T105" fmla="*/ 76 h 239"/>
                  <a:gd name="T106" fmla="*/ 151 w 197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7" h="239">
                    <a:moveTo>
                      <a:pt x="197" y="115"/>
                    </a:moveTo>
                    <a:lnTo>
                      <a:pt x="197" y="115"/>
                    </a:lnTo>
                    <a:lnTo>
                      <a:pt x="196" y="104"/>
                    </a:lnTo>
                    <a:lnTo>
                      <a:pt x="195" y="92"/>
                    </a:lnTo>
                    <a:lnTo>
                      <a:pt x="193" y="81"/>
                    </a:lnTo>
                    <a:lnTo>
                      <a:pt x="191" y="71"/>
                    </a:lnTo>
                    <a:lnTo>
                      <a:pt x="187" y="61"/>
                    </a:lnTo>
                    <a:lnTo>
                      <a:pt x="183" y="52"/>
                    </a:lnTo>
                    <a:lnTo>
                      <a:pt x="178" y="43"/>
                    </a:lnTo>
                    <a:lnTo>
                      <a:pt x="173" y="34"/>
                    </a:lnTo>
                    <a:lnTo>
                      <a:pt x="166" y="27"/>
                    </a:lnTo>
                    <a:lnTo>
                      <a:pt x="159" y="20"/>
                    </a:lnTo>
                    <a:lnTo>
                      <a:pt x="151" y="14"/>
                    </a:lnTo>
                    <a:lnTo>
                      <a:pt x="143" y="10"/>
                    </a:lnTo>
                    <a:lnTo>
                      <a:pt x="133" y="6"/>
                    </a:lnTo>
                    <a:lnTo>
                      <a:pt x="123" y="3"/>
                    </a:lnTo>
                    <a:lnTo>
                      <a:pt x="112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1"/>
                    </a:lnTo>
                    <a:lnTo>
                      <a:pt x="79" y="2"/>
                    </a:lnTo>
                    <a:lnTo>
                      <a:pt x="69" y="5"/>
                    </a:lnTo>
                    <a:lnTo>
                      <a:pt x="60" y="8"/>
                    </a:lnTo>
                    <a:lnTo>
                      <a:pt x="51" y="12"/>
                    </a:lnTo>
                    <a:lnTo>
                      <a:pt x="42" y="18"/>
                    </a:lnTo>
                    <a:lnTo>
                      <a:pt x="35" y="24"/>
                    </a:lnTo>
                    <a:lnTo>
                      <a:pt x="28" y="31"/>
                    </a:lnTo>
                    <a:lnTo>
                      <a:pt x="22" y="39"/>
                    </a:lnTo>
                    <a:lnTo>
                      <a:pt x="16" y="48"/>
                    </a:lnTo>
                    <a:lnTo>
                      <a:pt x="11" y="58"/>
                    </a:lnTo>
                    <a:lnTo>
                      <a:pt x="7" y="68"/>
                    </a:lnTo>
                    <a:lnTo>
                      <a:pt x="4" y="80"/>
                    </a:lnTo>
                    <a:lnTo>
                      <a:pt x="2" y="92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4"/>
                    </a:lnTo>
                    <a:lnTo>
                      <a:pt x="2" y="148"/>
                    </a:lnTo>
                    <a:lnTo>
                      <a:pt x="5" y="160"/>
                    </a:lnTo>
                    <a:lnTo>
                      <a:pt x="9" y="172"/>
                    </a:lnTo>
                    <a:lnTo>
                      <a:pt x="13" y="183"/>
                    </a:lnTo>
                    <a:lnTo>
                      <a:pt x="18" y="193"/>
                    </a:lnTo>
                    <a:lnTo>
                      <a:pt x="24" y="201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0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7" y="236"/>
                    </a:lnTo>
                    <a:lnTo>
                      <a:pt x="88" y="238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8"/>
                    </a:lnTo>
                    <a:lnTo>
                      <a:pt x="124" y="237"/>
                    </a:lnTo>
                    <a:lnTo>
                      <a:pt x="135" y="234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3" y="227"/>
                    </a:lnTo>
                    <a:lnTo>
                      <a:pt x="162" y="222"/>
                    </a:lnTo>
                    <a:lnTo>
                      <a:pt x="170" y="216"/>
                    </a:lnTo>
                    <a:lnTo>
                      <a:pt x="178" y="209"/>
                    </a:lnTo>
                    <a:lnTo>
                      <a:pt x="151" y="180"/>
                    </a:lnTo>
                    <a:lnTo>
                      <a:pt x="151" y="180"/>
                    </a:lnTo>
                    <a:lnTo>
                      <a:pt x="139" y="188"/>
                    </a:lnTo>
                    <a:lnTo>
                      <a:pt x="128" y="193"/>
                    </a:lnTo>
                    <a:lnTo>
                      <a:pt x="128" y="193"/>
                    </a:lnTo>
                    <a:lnTo>
                      <a:pt x="122" y="195"/>
                    </a:lnTo>
                    <a:lnTo>
                      <a:pt x="116" y="197"/>
                    </a:lnTo>
                    <a:lnTo>
                      <a:pt x="109" y="198"/>
                    </a:lnTo>
                    <a:lnTo>
                      <a:pt x="101" y="198"/>
                    </a:lnTo>
                    <a:lnTo>
                      <a:pt x="101" y="198"/>
                    </a:lnTo>
                    <a:lnTo>
                      <a:pt x="91" y="197"/>
                    </a:lnTo>
                    <a:lnTo>
                      <a:pt x="81" y="195"/>
                    </a:lnTo>
                    <a:lnTo>
                      <a:pt x="72" y="190"/>
                    </a:lnTo>
                    <a:lnTo>
                      <a:pt x="64" y="183"/>
                    </a:lnTo>
                    <a:lnTo>
                      <a:pt x="57" y="175"/>
                    </a:lnTo>
                    <a:lnTo>
                      <a:pt x="51" y="164"/>
                    </a:lnTo>
                    <a:lnTo>
                      <a:pt x="47" y="151"/>
                    </a:lnTo>
                    <a:lnTo>
                      <a:pt x="44" y="136"/>
                    </a:lnTo>
                    <a:lnTo>
                      <a:pt x="195" y="136"/>
                    </a:lnTo>
                    <a:lnTo>
                      <a:pt x="195" y="136"/>
                    </a:lnTo>
                    <a:lnTo>
                      <a:pt x="196" y="127"/>
                    </a:lnTo>
                    <a:lnTo>
                      <a:pt x="197" y="115"/>
                    </a:lnTo>
                    <a:lnTo>
                      <a:pt x="197" y="115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0" y="74"/>
                    </a:lnTo>
                    <a:lnTo>
                      <a:pt x="55" y="64"/>
                    </a:lnTo>
                    <a:lnTo>
                      <a:pt x="61" y="56"/>
                    </a:lnTo>
                    <a:lnTo>
                      <a:pt x="68" y="49"/>
                    </a:lnTo>
                    <a:lnTo>
                      <a:pt x="76" y="45"/>
                    </a:lnTo>
                    <a:lnTo>
                      <a:pt x="86" y="42"/>
                    </a:lnTo>
                    <a:lnTo>
                      <a:pt x="97" y="41"/>
                    </a:lnTo>
                    <a:lnTo>
                      <a:pt x="97" y="41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4"/>
                    </a:lnTo>
                    <a:lnTo>
                      <a:pt x="121" y="45"/>
                    </a:lnTo>
                    <a:lnTo>
                      <a:pt x="126" y="48"/>
                    </a:lnTo>
                    <a:lnTo>
                      <a:pt x="130" y="51"/>
                    </a:lnTo>
                    <a:lnTo>
                      <a:pt x="137" y="58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7"/>
                    </a:lnTo>
                    <a:lnTo>
                      <a:pt x="151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5" name="Freeform 44"/>
              <p:cNvSpPr>
                <a:spLocks/>
              </p:cNvSpPr>
              <p:nvPr userDrawn="1"/>
            </p:nvSpPr>
            <p:spPr bwMode="auto">
              <a:xfrm>
                <a:off x="3382962" y="6150782"/>
                <a:ext cx="73025" cy="92075"/>
              </a:xfrm>
              <a:custGeom>
                <a:avLst/>
                <a:gdLst>
                  <a:gd name="T0" fmla="*/ 184 w 184"/>
                  <a:gd name="T1" fmla="*/ 39 h 229"/>
                  <a:gd name="T2" fmla="*/ 184 w 184"/>
                  <a:gd name="T3" fmla="*/ 0 h 229"/>
                  <a:gd name="T4" fmla="*/ 0 w 184"/>
                  <a:gd name="T5" fmla="*/ 0 h 229"/>
                  <a:gd name="T6" fmla="*/ 0 w 184"/>
                  <a:gd name="T7" fmla="*/ 39 h 229"/>
                  <a:gd name="T8" fmla="*/ 70 w 184"/>
                  <a:gd name="T9" fmla="*/ 39 h 229"/>
                  <a:gd name="T10" fmla="*/ 70 w 184"/>
                  <a:gd name="T11" fmla="*/ 229 h 229"/>
                  <a:gd name="T12" fmla="*/ 114 w 184"/>
                  <a:gd name="T13" fmla="*/ 229 h 229"/>
                  <a:gd name="T14" fmla="*/ 114 w 184"/>
                  <a:gd name="T15" fmla="*/ 39 h 229"/>
                  <a:gd name="T16" fmla="*/ 184 w 184"/>
                  <a:gd name="T17" fmla="*/ 3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4" h="229">
                    <a:moveTo>
                      <a:pt x="184" y="39"/>
                    </a:moveTo>
                    <a:lnTo>
                      <a:pt x="184" y="0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70" y="39"/>
                    </a:lnTo>
                    <a:lnTo>
                      <a:pt x="70" y="229"/>
                    </a:lnTo>
                    <a:lnTo>
                      <a:pt x="114" y="229"/>
                    </a:lnTo>
                    <a:lnTo>
                      <a:pt x="114" y="39"/>
                    </a:lnTo>
                    <a:lnTo>
                      <a:pt x="184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6" name="Freeform 45"/>
              <p:cNvSpPr>
                <a:spLocks/>
              </p:cNvSpPr>
              <p:nvPr userDrawn="1"/>
            </p:nvSpPr>
            <p:spPr bwMode="auto">
              <a:xfrm>
                <a:off x="3470275" y="6217457"/>
                <a:ext cx="26988" cy="26988"/>
              </a:xfrm>
              <a:custGeom>
                <a:avLst/>
                <a:gdLst>
                  <a:gd name="T0" fmla="*/ 69 w 69"/>
                  <a:gd name="T1" fmla="*/ 34 h 69"/>
                  <a:gd name="T2" fmla="*/ 69 w 69"/>
                  <a:gd name="T3" fmla="*/ 34 h 69"/>
                  <a:gd name="T4" fmla="*/ 69 w 69"/>
                  <a:gd name="T5" fmla="*/ 27 h 69"/>
                  <a:gd name="T6" fmla="*/ 67 w 69"/>
                  <a:gd name="T7" fmla="*/ 21 h 69"/>
                  <a:gd name="T8" fmla="*/ 63 w 69"/>
                  <a:gd name="T9" fmla="*/ 15 h 69"/>
                  <a:gd name="T10" fmla="*/ 59 w 69"/>
                  <a:gd name="T11" fmla="*/ 10 h 69"/>
                  <a:gd name="T12" fmla="*/ 54 w 69"/>
                  <a:gd name="T13" fmla="*/ 5 h 69"/>
                  <a:gd name="T14" fmla="*/ 48 w 69"/>
                  <a:gd name="T15" fmla="*/ 2 h 69"/>
                  <a:gd name="T16" fmla="*/ 42 w 69"/>
                  <a:gd name="T17" fmla="*/ 0 h 69"/>
                  <a:gd name="T18" fmla="*/ 35 w 69"/>
                  <a:gd name="T19" fmla="*/ 0 h 69"/>
                  <a:gd name="T20" fmla="*/ 35 w 69"/>
                  <a:gd name="T21" fmla="*/ 0 h 69"/>
                  <a:gd name="T22" fmla="*/ 28 w 69"/>
                  <a:gd name="T23" fmla="*/ 0 h 69"/>
                  <a:gd name="T24" fmla="*/ 21 w 69"/>
                  <a:gd name="T25" fmla="*/ 2 h 69"/>
                  <a:gd name="T26" fmla="*/ 15 w 69"/>
                  <a:gd name="T27" fmla="*/ 5 h 69"/>
                  <a:gd name="T28" fmla="*/ 10 w 69"/>
                  <a:gd name="T29" fmla="*/ 10 h 69"/>
                  <a:gd name="T30" fmla="*/ 6 w 69"/>
                  <a:gd name="T31" fmla="*/ 15 h 69"/>
                  <a:gd name="T32" fmla="*/ 3 w 69"/>
                  <a:gd name="T33" fmla="*/ 21 h 69"/>
                  <a:gd name="T34" fmla="*/ 1 w 69"/>
                  <a:gd name="T35" fmla="*/ 27 h 69"/>
                  <a:gd name="T36" fmla="*/ 0 w 69"/>
                  <a:gd name="T37" fmla="*/ 34 h 69"/>
                  <a:gd name="T38" fmla="*/ 0 w 69"/>
                  <a:gd name="T39" fmla="*/ 34 h 69"/>
                  <a:gd name="T40" fmla="*/ 1 w 69"/>
                  <a:gd name="T41" fmla="*/ 42 h 69"/>
                  <a:gd name="T42" fmla="*/ 3 w 69"/>
                  <a:gd name="T43" fmla="*/ 48 h 69"/>
                  <a:gd name="T44" fmla="*/ 6 w 69"/>
                  <a:gd name="T45" fmla="*/ 54 h 69"/>
                  <a:gd name="T46" fmla="*/ 10 w 69"/>
                  <a:gd name="T47" fmla="*/ 59 h 69"/>
                  <a:gd name="T48" fmla="*/ 15 w 69"/>
                  <a:gd name="T49" fmla="*/ 63 h 69"/>
                  <a:gd name="T50" fmla="*/ 21 w 69"/>
                  <a:gd name="T51" fmla="*/ 66 h 69"/>
                  <a:gd name="T52" fmla="*/ 28 w 69"/>
                  <a:gd name="T53" fmla="*/ 68 h 69"/>
                  <a:gd name="T54" fmla="*/ 35 w 69"/>
                  <a:gd name="T55" fmla="*/ 69 h 69"/>
                  <a:gd name="T56" fmla="*/ 35 w 69"/>
                  <a:gd name="T57" fmla="*/ 69 h 69"/>
                  <a:gd name="T58" fmla="*/ 42 w 69"/>
                  <a:gd name="T59" fmla="*/ 68 h 69"/>
                  <a:gd name="T60" fmla="*/ 48 w 69"/>
                  <a:gd name="T61" fmla="*/ 66 h 69"/>
                  <a:gd name="T62" fmla="*/ 54 w 69"/>
                  <a:gd name="T63" fmla="*/ 63 h 69"/>
                  <a:gd name="T64" fmla="*/ 59 w 69"/>
                  <a:gd name="T65" fmla="*/ 59 h 69"/>
                  <a:gd name="T66" fmla="*/ 63 w 69"/>
                  <a:gd name="T67" fmla="*/ 54 h 69"/>
                  <a:gd name="T68" fmla="*/ 67 w 69"/>
                  <a:gd name="T69" fmla="*/ 48 h 69"/>
                  <a:gd name="T70" fmla="*/ 69 w 69"/>
                  <a:gd name="T71" fmla="*/ 42 h 69"/>
                  <a:gd name="T72" fmla="*/ 69 w 69"/>
                  <a:gd name="T73" fmla="*/ 34 h 69"/>
                  <a:gd name="T74" fmla="*/ 69 w 69"/>
                  <a:gd name="T75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9" h="69">
                    <a:moveTo>
                      <a:pt x="69" y="34"/>
                    </a:moveTo>
                    <a:lnTo>
                      <a:pt x="69" y="34"/>
                    </a:lnTo>
                    <a:lnTo>
                      <a:pt x="69" y="27"/>
                    </a:lnTo>
                    <a:lnTo>
                      <a:pt x="67" y="21"/>
                    </a:lnTo>
                    <a:lnTo>
                      <a:pt x="63" y="15"/>
                    </a:lnTo>
                    <a:lnTo>
                      <a:pt x="59" y="10"/>
                    </a:lnTo>
                    <a:lnTo>
                      <a:pt x="54" y="5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28" y="0"/>
                    </a:lnTo>
                    <a:lnTo>
                      <a:pt x="21" y="2"/>
                    </a:lnTo>
                    <a:lnTo>
                      <a:pt x="15" y="5"/>
                    </a:lnTo>
                    <a:lnTo>
                      <a:pt x="10" y="10"/>
                    </a:lnTo>
                    <a:lnTo>
                      <a:pt x="6" y="15"/>
                    </a:lnTo>
                    <a:lnTo>
                      <a:pt x="3" y="21"/>
                    </a:lnTo>
                    <a:lnTo>
                      <a:pt x="1" y="27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42"/>
                    </a:lnTo>
                    <a:lnTo>
                      <a:pt x="3" y="48"/>
                    </a:lnTo>
                    <a:lnTo>
                      <a:pt x="6" y="54"/>
                    </a:lnTo>
                    <a:lnTo>
                      <a:pt x="10" y="59"/>
                    </a:lnTo>
                    <a:lnTo>
                      <a:pt x="15" y="63"/>
                    </a:lnTo>
                    <a:lnTo>
                      <a:pt x="21" y="66"/>
                    </a:lnTo>
                    <a:lnTo>
                      <a:pt x="28" y="68"/>
                    </a:lnTo>
                    <a:lnTo>
                      <a:pt x="35" y="69"/>
                    </a:lnTo>
                    <a:lnTo>
                      <a:pt x="35" y="69"/>
                    </a:lnTo>
                    <a:lnTo>
                      <a:pt x="42" y="68"/>
                    </a:lnTo>
                    <a:lnTo>
                      <a:pt x="48" y="66"/>
                    </a:lnTo>
                    <a:lnTo>
                      <a:pt x="54" y="63"/>
                    </a:lnTo>
                    <a:lnTo>
                      <a:pt x="59" y="59"/>
                    </a:lnTo>
                    <a:lnTo>
                      <a:pt x="63" y="54"/>
                    </a:lnTo>
                    <a:lnTo>
                      <a:pt x="67" y="48"/>
                    </a:lnTo>
                    <a:lnTo>
                      <a:pt x="69" y="42"/>
                    </a:lnTo>
                    <a:lnTo>
                      <a:pt x="69" y="34"/>
                    </a:lnTo>
                    <a:lnTo>
                      <a:pt x="69" y="34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7" name="Freeform 46"/>
              <p:cNvSpPr>
                <a:spLocks noEditPoints="1"/>
              </p:cNvSpPr>
              <p:nvPr userDrawn="1"/>
            </p:nvSpPr>
            <p:spPr bwMode="auto">
              <a:xfrm>
                <a:off x="617537" y="6331757"/>
                <a:ext cx="90488" cy="122238"/>
              </a:xfrm>
              <a:custGeom>
                <a:avLst/>
                <a:gdLst>
                  <a:gd name="T0" fmla="*/ 227 w 227"/>
                  <a:gd name="T1" fmla="*/ 96 h 307"/>
                  <a:gd name="T2" fmla="*/ 225 w 227"/>
                  <a:gd name="T3" fmla="*/ 74 h 307"/>
                  <a:gd name="T4" fmla="*/ 219 w 227"/>
                  <a:gd name="T5" fmla="*/ 54 h 307"/>
                  <a:gd name="T6" fmla="*/ 210 w 227"/>
                  <a:gd name="T7" fmla="*/ 38 h 307"/>
                  <a:gd name="T8" fmla="*/ 198 w 227"/>
                  <a:gd name="T9" fmla="*/ 24 h 307"/>
                  <a:gd name="T10" fmla="*/ 183 w 227"/>
                  <a:gd name="T11" fmla="*/ 14 h 307"/>
                  <a:gd name="T12" fmla="*/ 167 w 227"/>
                  <a:gd name="T13" fmla="*/ 6 h 307"/>
                  <a:gd name="T14" fmla="*/ 148 w 227"/>
                  <a:gd name="T15" fmla="*/ 2 h 307"/>
                  <a:gd name="T16" fmla="*/ 128 w 227"/>
                  <a:gd name="T17" fmla="*/ 0 h 307"/>
                  <a:gd name="T18" fmla="*/ 0 w 227"/>
                  <a:gd name="T19" fmla="*/ 307 h 307"/>
                  <a:gd name="T20" fmla="*/ 45 w 227"/>
                  <a:gd name="T21" fmla="*/ 192 h 307"/>
                  <a:gd name="T22" fmla="*/ 125 w 227"/>
                  <a:gd name="T23" fmla="*/ 192 h 307"/>
                  <a:gd name="T24" fmla="*/ 146 w 227"/>
                  <a:gd name="T25" fmla="*/ 190 h 307"/>
                  <a:gd name="T26" fmla="*/ 165 w 227"/>
                  <a:gd name="T27" fmla="*/ 186 h 307"/>
                  <a:gd name="T28" fmla="*/ 183 w 227"/>
                  <a:gd name="T29" fmla="*/ 178 h 307"/>
                  <a:gd name="T30" fmla="*/ 197 w 227"/>
                  <a:gd name="T31" fmla="*/ 167 h 307"/>
                  <a:gd name="T32" fmla="*/ 210 w 227"/>
                  <a:gd name="T33" fmla="*/ 154 h 307"/>
                  <a:gd name="T34" fmla="*/ 219 w 227"/>
                  <a:gd name="T35" fmla="*/ 137 h 307"/>
                  <a:gd name="T36" fmla="*/ 225 w 227"/>
                  <a:gd name="T37" fmla="*/ 118 h 307"/>
                  <a:gd name="T38" fmla="*/ 227 w 227"/>
                  <a:gd name="T39" fmla="*/ 96 h 307"/>
                  <a:gd name="T40" fmla="*/ 179 w 227"/>
                  <a:gd name="T41" fmla="*/ 96 h 307"/>
                  <a:gd name="T42" fmla="*/ 178 w 227"/>
                  <a:gd name="T43" fmla="*/ 108 h 307"/>
                  <a:gd name="T44" fmla="*/ 172 w 227"/>
                  <a:gd name="T45" fmla="*/ 127 h 307"/>
                  <a:gd name="T46" fmla="*/ 159 w 227"/>
                  <a:gd name="T47" fmla="*/ 141 h 307"/>
                  <a:gd name="T48" fmla="*/ 139 w 227"/>
                  <a:gd name="T49" fmla="*/ 148 h 307"/>
                  <a:gd name="T50" fmla="*/ 45 w 227"/>
                  <a:gd name="T51" fmla="*/ 149 h 307"/>
                  <a:gd name="T52" fmla="*/ 127 w 227"/>
                  <a:gd name="T53" fmla="*/ 43 h 307"/>
                  <a:gd name="T54" fmla="*/ 138 w 227"/>
                  <a:gd name="T55" fmla="*/ 44 h 307"/>
                  <a:gd name="T56" fmla="*/ 157 w 227"/>
                  <a:gd name="T57" fmla="*/ 51 h 307"/>
                  <a:gd name="T58" fmla="*/ 171 w 227"/>
                  <a:gd name="T59" fmla="*/ 65 h 307"/>
                  <a:gd name="T60" fmla="*/ 178 w 227"/>
                  <a:gd name="T61" fmla="*/ 84 h 307"/>
                  <a:gd name="T62" fmla="*/ 179 w 227"/>
                  <a:gd name="T63" fmla="*/ 96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7" h="307">
                    <a:moveTo>
                      <a:pt x="227" y="96"/>
                    </a:moveTo>
                    <a:lnTo>
                      <a:pt x="227" y="96"/>
                    </a:lnTo>
                    <a:lnTo>
                      <a:pt x="226" y="84"/>
                    </a:lnTo>
                    <a:lnTo>
                      <a:pt x="225" y="74"/>
                    </a:lnTo>
                    <a:lnTo>
                      <a:pt x="222" y="64"/>
                    </a:lnTo>
                    <a:lnTo>
                      <a:pt x="219" y="54"/>
                    </a:lnTo>
                    <a:lnTo>
                      <a:pt x="215" y="46"/>
                    </a:lnTo>
                    <a:lnTo>
                      <a:pt x="210" y="38"/>
                    </a:lnTo>
                    <a:lnTo>
                      <a:pt x="204" y="31"/>
                    </a:lnTo>
                    <a:lnTo>
                      <a:pt x="198" y="24"/>
                    </a:lnTo>
                    <a:lnTo>
                      <a:pt x="191" y="19"/>
                    </a:lnTo>
                    <a:lnTo>
                      <a:pt x="183" y="14"/>
                    </a:lnTo>
                    <a:lnTo>
                      <a:pt x="175" y="10"/>
                    </a:lnTo>
                    <a:lnTo>
                      <a:pt x="167" y="6"/>
                    </a:lnTo>
                    <a:lnTo>
                      <a:pt x="158" y="4"/>
                    </a:lnTo>
                    <a:lnTo>
                      <a:pt x="148" y="2"/>
                    </a:lnTo>
                    <a:lnTo>
                      <a:pt x="138" y="1"/>
                    </a:lnTo>
                    <a:lnTo>
                      <a:pt x="128" y="0"/>
                    </a:lnTo>
                    <a:lnTo>
                      <a:pt x="0" y="0"/>
                    </a:lnTo>
                    <a:lnTo>
                      <a:pt x="0" y="307"/>
                    </a:lnTo>
                    <a:lnTo>
                      <a:pt x="45" y="307"/>
                    </a:lnTo>
                    <a:lnTo>
                      <a:pt x="45" y="192"/>
                    </a:lnTo>
                    <a:lnTo>
                      <a:pt x="125" y="192"/>
                    </a:lnTo>
                    <a:lnTo>
                      <a:pt x="125" y="192"/>
                    </a:lnTo>
                    <a:lnTo>
                      <a:pt x="135" y="191"/>
                    </a:lnTo>
                    <a:lnTo>
                      <a:pt x="146" y="190"/>
                    </a:lnTo>
                    <a:lnTo>
                      <a:pt x="156" y="188"/>
                    </a:lnTo>
                    <a:lnTo>
                      <a:pt x="165" y="186"/>
                    </a:lnTo>
                    <a:lnTo>
                      <a:pt x="174" y="182"/>
                    </a:lnTo>
                    <a:lnTo>
                      <a:pt x="183" y="178"/>
                    </a:lnTo>
                    <a:lnTo>
                      <a:pt x="190" y="173"/>
                    </a:lnTo>
                    <a:lnTo>
                      <a:pt x="197" y="167"/>
                    </a:lnTo>
                    <a:lnTo>
                      <a:pt x="204" y="161"/>
                    </a:lnTo>
                    <a:lnTo>
                      <a:pt x="210" y="154"/>
                    </a:lnTo>
                    <a:lnTo>
                      <a:pt x="215" y="146"/>
                    </a:lnTo>
                    <a:lnTo>
                      <a:pt x="219" y="137"/>
                    </a:lnTo>
                    <a:lnTo>
                      <a:pt x="222" y="128"/>
                    </a:lnTo>
                    <a:lnTo>
                      <a:pt x="225" y="118"/>
                    </a:lnTo>
                    <a:lnTo>
                      <a:pt x="226" y="107"/>
                    </a:lnTo>
                    <a:lnTo>
                      <a:pt x="227" y="96"/>
                    </a:lnTo>
                    <a:lnTo>
                      <a:pt x="227" y="96"/>
                    </a:lnTo>
                    <a:close/>
                    <a:moveTo>
                      <a:pt x="179" y="96"/>
                    </a:moveTo>
                    <a:lnTo>
                      <a:pt x="179" y="96"/>
                    </a:lnTo>
                    <a:lnTo>
                      <a:pt x="178" y="108"/>
                    </a:lnTo>
                    <a:lnTo>
                      <a:pt x="176" y="118"/>
                    </a:lnTo>
                    <a:lnTo>
                      <a:pt x="172" y="127"/>
                    </a:lnTo>
                    <a:lnTo>
                      <a:pt x="166" y="135"/>
                    </a:lnTo>
                    <a:lnTo>
                      <a:pt x="159" y="141"/>
                    </a:lnTo>
                    <a:lnTo>
                      <a:pt x="150" y="145"/>
                    </a:lnTo>
                    <a:lnTo>
                      <a:pt x="139" y="148"/>
                    </a:lnTo>
                    <a:lnTo>
                      <a:pt x="127" y="149"/>
                    </a:lnTo>
                    <a:lnTo>
                      <a:pt x="45" y="149"/>
                    </a:lnTo>
                    <a:lnTo>
                      <a:pt x="45" y="43"/>
                    </a:lnTo>
                    <a:lnTo>
                      <a:pt x="127" y="43"/>
                    </a:lnTo>
                    <a:lnTo>
                      <a:pt x="127" y="43"/>
                    </a:lnTo>
                    <a:lnTo>
                      <a:pt x="138" y="44"/>
                    </a:lnTo>
                    <a:lnTo>
                      <a:pt x="148" y="47"/>
                    </a:lnTo>
                    <a:lnTo>
                      <a:pt x="157" y="51"/>
                    </a:lnTo>
                    <a:lnTo>
                      <a:pt x="165" y="57"/>
                    </a:lnTo>
                    <a:lnTo>
                      <a:pt x="171" y="65"/>
                    </a:lnTo>
                    <a:lnTo>
                      <a:pt x="175" y="73"/>
                    </a:lnTo>
                    <a:lnTo>
                      <a:pt x="178" y="84"/>
                    </a:lnTo>
                    <a:lnTo>
                      <a:pt x="179" y="96"/>
                    </a:lnTo>
                    <a:lnTo>
                      <a:pt x="179" y="96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8" name="Freeform 47"/>
              <p:cNvSpPr>
                <a:spLocks noEditPoints="1"/>
              </p:cNvSpPr>
              <p:nvPr userDrawn="1"/>
            </p:nvSpPr>
            <p:spPr bwMode="auto">
              <a:xfrm>
                <a:off x="720725" y="6360332"/>
                <a:ext cx="77788" cy="95250"/>
              </a:xfrm>
              <a:custGeom>
                <a:avLst/>
                <a:gdLst>
                  <a:gd name="T0" fmla="*/ 196 w 196"/>
                  <a:gd name="T1" fmla="*/ 114 h 239"/>
                  <a:gd name="T2" fmla="*/ 195 w 196"/>
                  <a:gd name="T3" fmla="*/ 92 h 239"/>
                  <a:gd name="T4" fmla="*/ 191 w 196"/>
                  <a:gd name="T5" fmla="*/ 70 h 239"/>
                  <a:gd name="T6" fmla="*/ 183 w 196"/>
                  <a:gd name="T7" fmla="*/ 51 h 239"/>
                  <a:gd name="T8" fmla="*/ 173 w 196"/>
                  <a:gd name="T9" fmla="*/ 34 h 239"/>
                  <a:gd name="T10" fmla="*/ 159 w 196"/>
                  <a:gd name="T11" fmla="*/ 20 h 239"/>
                  <a:gd name="T12" fmla="*/ 143 w 196"/>
                  <a:gd name="T13" fmla="*/ 9 h 239"/>
                  <a:gd name="T14" fmla="*/ 123 w 196"/>
                  <a:gd name="T15" fmla="*/ 2 h 239"/>
                  <a:gd name="T16" fmla="*/ 100 w 196"/>
                  <a:gd name="T17" fmla="*/ 0 h 239"/>
                  <a:gd name="T18" fmla="*/ 89 w 196"/>
                  <a:gd name="T19" fmla="*/ 0 h 239"/>
                  <a:gd name="T20" fmla="*/ 69 w 196"/>
                  <a:gd name="T21" fmla="*/ 4 h 239"/>
                  <a:gd name="T22" fmla="*/ 51 w 196"/>
                  <a:gd name="T23" fmla="*/ 12 h 239"/>
                  <a:gd name="T24" fmla="*/ 35 w 196"/>
                  <a:gd name="T25" fmla="*/ 23 h 239"/>
                  <a:gd name="T26" fmla="*/ 21 w 196"/>
                  <a:gd name="T27" fmla="*/ 38 h 239"/>
                  <a:gd name="T28" fmla="*/ 11 w 196"/>
                  <a:gd name="T29" fmla="*/ 57 h 239"/>
                  <a:gd name="T30" fmla="*/ 4 w 196"/>
                  <a:gd name="T31" fmla="*/ 79 h 239"/>
                  <a:gd name="T32" fmla="*/ 0 w 196"/>
                  <a:gd name="T33" fmla="*/ 105 h 239"/>
                  <a:gd name="T34" fmla="*/ 0 w 196"/>
                  <a:gd name="T35" fmla="*/ 119 h 239"/>
                  <a:gd name="T36" fmla="*/ 2 w 196"/>
                  <a:gd name="T37" fmla="*/ 147 h 239"/>
                  <a:gd name="T38" fmla="*/ 9 w 196"/>
                  <a:gd name="T39" fmla="*/ 173 h 239"/>
                  <a:gd name="T40" fmla="*/ 18 w 196"/>
                  <a:gd name="T41" fmla="*/ 193 h 239"/>
                  <a:gd name="T42" fmla="*/ 30 w 196"/>
                  <a:gd name="T43" fmla="*/ 209 h 239"/>
                  <a:gd name="T44" fmla="*/ 36 w 196"/>
                  <a:gd name="T45" fmla="*/ 215 h 239"/>
                  <a:gd name="T46" fmla="*/ 51 w 196"/>
                  <a:gd name="T47" fmla="*/ 226 h 239"/>
                  <a:gd name="T48" fmla="*/ 68 w 196"/>
                  <a:gd name="T49" fmla="*/ 234 h 239"/>
                  <a:gd name="T50" fmla="*/ 88 w 196"/>
                  <a:gd name="T51" fmla="*/ 239 h 239"/>
                  <a:gd name="T52" fmla="*/ 99 w 196"/>
                  <a:gd name="T53" fmla="*/ 239 h 239"/>
                  <a:gd name="T54" fmla="*/ 124 w 196"/>
                  <a:gd name="T55" fmla="*/ 237 h 239"/>
                  <a:gd name="T56" fmla="*/ 145 w 196"/>
                  <a:gd name="T57" fmla="*/ 231 h 239"/>
                  <a:gd name="T58" fmla="*/ 153 w 196"/>
                  <a:gd name="T59" fmla="*/ 227 h 239"/>
                  <a:gd name="T60" fmla="*/ 169 w 196"/>
                  <a:gd name="T61" fmla="*/ 217 h 239"/>
                  <a:gd name="T62" fmla="*/ 151 w 196"/>
                  <a:gd name="T63" fmla="*/ 180 h 239"/>
                  <a:gd name="T64" fmla="*/ 139 w 196"/>
                  <a:gd name="T65" fmla="*/ 188 h 239"/>
                  <a:gd name="T66" fmla="*/ 128 w 196"/>
                  <a:gd name="T67" fmla="*/ 194 h 239"/>
                  <a:gd name="T68" fmla="*/ 116 w 196"/>
                  <a:gd name="T69" fmla="*/ 197 h 239"/>
                  <a:gd name="T70" fmla="*/ 101 w 196"/>
                  <a:gd name="T71" fmla="*/ 199 h 239"/>
                  <a:gd name="T72" fmla="*/ 91 w 196"/>
                  <a:gd name="T73" fmla="*/ 198 h 239"/>
                  <a:gd name="T74" fmla="*/ 72 w 196"/>
                  <a:gd name="T75" fmla="*/ 191 h 239"/>
                  <a:gd name="T76" fmla="*/ 57 w 196"/>
                  <a:gd name="T77" fmla="*/ 175 h 239"/>
                  <a:gd name="T78" fmla="*/ 47 w 196"/>
                  <a:gd name="T79" fmla="*/ 151 h 239"/>
                  <a:gd name="T80" fmla="*/ 195 w 196"/>
                  <a:gd name="T81" fmla="*/ 135 h 239"/>
                  <a:gd name="T82" fmla="*/ 196 w 196"/>
                  <a:gd name="T83" fmla="*/ 126 h 239"/>
                  <a:gd name="T84" fmla="*/ 196 w 196"/>
                  <a:gd name="T85" fmla="*/ 114 h 239"/>
                  <a:gd name="T86" fmla="*/ 45 w 196"/>
                  <a:gd name="T87" fmla="*/ 98 h 239"/>
                  <a:gd name="T88" fmla="*/ 50 w 196"/>
                  <a:gd name="T89" fmla="*/ 73 h 239"/>
                  <a:gd name="T90" fmla="*/ 61 w 196"/>
                  <a:gd name="T91" fmla="*/ 55 h 239"/>
                  <a:gd name="T92" fmla="*/ 76 w 196"/>
                  <a:gd name="T93" fmla="*/ 44 h 239"/>
                  <a:gd name="T94" fmla="*/ 97 w 196"/>
                  <a:gd name="T95" fmla="*/ 40 h 239"/>
                  <a:gd name="T96" fmla="*/ 104 w 196"/>
                  <a:gd name="T97" fmla="*/ 41 h 239"/>
                  <a:gd name="T98" fmla="*/ 116 w 196"/>
                  <a:gd name="T99" fmla="*/ 43 h 239"/>
                  <a:gd name="T100" fmla="*/ 126 w 196"/>
                  <a:gd name="T101" fmla="*/ 47 h 239"/>
                  <a:gd name="T102" fmla="*/ 137 w 196"/>
                  <a:gd name="T103" fmla="*/ 57 h 239"/>
                  <a:gd name="T104" fmla="*/ 147 w 196"/>
                  <a:gd name="T105" fmla="*/ 76 h 239"/>
                  <a:gd name="T106" fmla="*/ 151 w 196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6" h="239">
                    <a:moveTo>
                      <a:pt x="196" y="114"/>
                    </a:moveTo>
                    <a:lnTo>
                      <a:pt x="196" y="114"/>
                    </a:lnTo>
                    <a:lnTo>
                      <a:pt x="196" y="103"/>
                    </a:lnTo>
                    <a:lnTo>
                      <a:pt x="195" y="92"/>
                    </a:lnTo>
                    <a:lnTo>
                      <a:pt x="193" y="81"/>
                    </a:lnTo>
                    <a:lnTo>
                      <a:pt x="191" y="70"/>
                    </a:lnTo>
                    <a:lnTo>
                      <a:pt x="187" y="60"/>
                    </a:lnTo>
                    <a:lnTo>
                      <a:pt x="183" y="51"/>
                    </a:lnTo>
                    <a:lnTo>
                      <a:pt x="178" y="42"/>
                    </a:lnTo>
                    <a:lnTo>
                      <a:pt x="173" y="34"/>
                    </a:lnTo>
                    <a:lnTo>
                      <a:pt x="166" y="26"/>
                    </a:lnTo>
                    <a:lnTo>
                      <a:pt x="159" y="20"/>
                    </a:lnTo>
                    <a:lnTo>
                      <a:pt x="151" y="14"/>
                    </a:lnTo>
                    <a:lnTo>
                      <a:pt x="143" y="9"/>
                    </a:lnTo>
                    <a:lnTo>
                      <a:pt x="133" y="5"/>
                    </a:lnTo>
                    <a:lnTo>
                      <a:pt x="123" y="2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9" y="2"/>
                    </a:lnTo>
                    <a:lnTo>
                      <a:pt x="69" y="4"/>
                    </a:lnTo>
                    <a:lnTo>
                      <a:pt x="59" y="8"/>
                    </a:lnTo>
                    <a:lnTo>
                      <a:pt x="51" y="12"/>
                    </a:lnTo>
                    <a:lnTo>
                      <a:pt x="42" y="17"/>
                    </a:lnTo>
                    <a:lnTo>
                      <a:pt x="35" y="23"/>
                    </a:lnTo>
                    <a:lnTo>
                      <a:pt x="28" y="30"/>
                    </a:lnTo>
                    <a:lnTo>
                      <a:pt x="21" y="38"/>
                    </a:lnTo>
                    <a:lnTo>
                      <a:pt x="16" y="47"/>
                    </a:lnTo>
                    <a:lnTo>
                      <a:pt x="11" y="57"/>
                    </a:lnTo>
                    <a:lnTo>
                      <a:pt x="7" y="68"/>
                    </a:lnTo>
                    <a:lnTo>
                      <a:pt x="4" y="79"/>
                    </a:lnTo>
                    <a:lnTo>
                      <a:pt x="2" y="92"/>
                    </a:lnTo>
                    <a:lnTo>
                      <a:pt x="0" y="105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0" y="134"/>
                    </a:lnTo>
                    <a:lnTo>
                      <a:pt x="2" y="147"/>
                    </a:lnTo>
                    <a:lnTo>
                      <a:pt x="5" y="161"/>
                    </a:lnTo>
                    <a:lnTo>
                      <a:pt x="9" y="173"/>
                    </a:lnTo>
                    <a:lnTo>
                      <a:pt x="13" y="184"/>
                    </a:lnTo>
                    <a:lnTo>
                      <a:pt x="18" y="193"/>
                    </a:lnTo>
                    <a:lnTo>
                      <a:pt x="24" y="202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1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7" y="237"/>
                    </a:lnTo>
                    <a:lnTo>
                      <a:pt x="88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9"/>
                    </a:lnTo>
                    <a:lnTo>
                      <a:pt x="124" y="237"/>
                    </a:lnTo>
                    <a:lnTo>
                      <a:pt x="135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3" y="227"/>
                    </a:lnTo>
                    <a:lnTo>
                      <a:pt x="161" y="222"/>
                    </a:lnTo>
                    <a:lnTo>
                      <a:pt x="169" y="217"/>
                    </a:lnTo>
                    <a:lnTo>
                      <a:pt x="178" y="209"/>
                    </a:lnTo>
                    <a:lnTo>
                      <a:pt x="151" y="180"/>
                    </a:lnTo>
                    <a:lnTo>
                      <a:pt x="151" y="180"/>
                    </a:lnTo>
                    <a:lnTo>
                      <a:pt x="139" y="188"/>
                    </a:lnTo>
                    <a:lnTo>
                      <a:pt x="128" y="194"/>
                    </a:lnTo>
                    <a:lnTo>
                      <a:pt x="128" y="194"/>
                    </a:lnTo>
                    <a:lnTo>
                      <a:pt x="122" y="196"/>
                    </a:lnTo>
                    <a:lnTo>
                      <a:pt x="116" y="197"/>
                    </a:lnTo>
                    <a:lnTo>
                      <a:pt x="109" y="198"/>
                    </a:lnTo>
                    <a:lnTo>
                      <a:pt x="101" y="199"/>
                    </a:lnTo>
                    <a:lnTo>
                      <a:pt x="101" y="199"/>
                    </a:lnTo>
                    <a:lnTo>
                      <a:pt x="91" y="198"/>
                    </a:lnTo>
                    <a:lnTo>
                      <a:pt x="81" y="195"/>
                    </a:lnTo>
                    <a:lnTo>
                      <a:pt x="72" y="191"/>
                    </a:lnTo>
                    <a:lnTo>
                      <a:pt x="64" y="184"/>
                    </a:lnTo>
                    <a:lnTo>
                      <a:pt x="57" y="175"/>
                    </a:lnTo>
                    <a:lnTo>
                      <a:pt x="51" y="164"/>
                    </a:lnTo>
                    <a:lnTo>
                      <a:pt x="47" y="151"/>
                    </a:lnTo>
                    <a:lnTo>
                      <a:pt x="44" y="135"/>
                    </a:lnTo>
                    <a:lnTo>
                      <a:pt x="195" y="135"/>
                    </a:lnTo>
                    <a:lnTo>
                      <a:pt x="195" y="135"/>
                    </a:lnTo>
                    <a:lnTo>
                      <a:pt x="196" y="126"/>
                    </a:lnTo>
                    <a:lnTo>
                      <a:pt x="196" y="114"/>
                    </a:lnTo>
                    <a:lnTo>
                      <a:pt x="196" y="114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0" y="73"/>
                    </a:lnTo>
                    <a:lnTo>
                      <a:pt x="55" y="64"/>
                    </a:lnTo>
                    <a:lnTo>
                      <a:pt x="61" y="55"/>
                    </a:lnTo>
                    <a:lnTo>
                      <a:pt x="68" y="49"/>
                    </a:lnTo>
                    <a:lnTo>
                      <a:pt x="76" y="44"/>
                    </a:lnTo>
                    <a:lnTo>
                      <a:pt x="86" y="41"/>
                    </a:lnTo>
                    <a:lnTo>
                      <a:pt x="97" y="40"/>
                    </a:lnTo>
                    <a:lnTo>
                      <a:pt x="97" y="40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21" y="45"/>
                    </a:lnTo>
                    <a:lnTo>
                      <a:pt x="126" y="47"/>
                    </a:lnTo>
                    <a:lnTo>
                      <a:pt x="130" y="50"/>
                    </a:lnTo>
                    <a:lnTo>
                      <a:pt x="137" y="57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6"/>
                    </a:lnTo>
                    <a:lnTo>
                      <a:pt x="151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49" name="Freeform 48"/>
              <p:cNvSpPr>
                <a:spLocks/>
              </p:cNvSpPr>
              <p:nvPr userDrawn="1"/>
            </p:nvSpPr>
            <p:spPr bwMode="auto">
              <a:xfrm>
                <a:off x="817562" y="6363507"/>
                <a:ext cx="115888" cy="90488"/>
              </a:xfrm>
              <a:custGeom>
                <a:avLst/>
                <a:gdLst>
                  <a:gd name="T0" fmla="*/ 294 w 294"/>
                  <a:gd name="T1" fmla="*/ 0 h 230"/>
                  <a:gd name="T2" fmla="*/ 249 w 294"/>
                  <a:gd name="T3" fmla="*/ 0 h 230"/>
                  <a:gd name="T4" fmla="*/ 249 w 294"/>
                  <a:gd name="T5" fmla="*/ 190 h 230"/>
                  <a:gd name="T6" fmla="*/ 169 w 294"/>
                  <a:gd name="T7" fmla="*/ 190 h 230"/>
                  <a:gd name="T8" fmla="*/ 169 w 294"/>
                  <a:gd name="T9" fmla="*/ 0 h 230"/>
                  <a:gd name="T10" fmla="*/ 124 w 294"/>
                  <a:gd name="T11" fmla="*/ 0 h 230"/>
                  <a:gd name="T12" fmla="*/ 124 w 294"/>
                  <a:gd name="T13" fmla="*/ 190 h 230"/>
                  <a:gd name="T14" fmla="*/ 45 w 294"/>
                  <a:gd name="T15" fmla="*/ 190 h 230"/>
                  <a:gd name="T16" fmla="*/ 45 w 294"/>
                  <a:gd name="T17" fmla="*/ 0 h 230"/>
                  <a:gd name="T18" fmla="*/ 0 w 294"/>
                  <a:gd name="T19" fmla="*/ 0 h 230"/>
                  <a:gd name="T20" fmla="*/ 0 w 294"/>
                  <a:gd name="T21" fmla="*/ 230 h 230"/>
                  <a:gd name="T22" fmla="*/ 294 w 294"/>
                  <a:gd name="T23" fmla="*/ 230 h 230"/>
                  <a:gd name="T24" fmla="*/ 294 w 294"/>
                  <a:gd name="T25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4" h="230">
                    <a:moveTo>
                      <a:pt x="294" y="0"/>
                    </a:moveTo>
                    <a:lnTo>
                      <a:pt x="249" y="0"/>
                    </a:lnTo>
                    <a:lnTo>
                      <a:pt x="249" y="190"/>
                    </a:lnTo>
                    <a:lnTo>
                      <a:pt x="169" y="190"/>
                    </a:lnTo>
                    <a:lnTo>
                      <a:pt x="169" y="0"/>
                    </a:lnTo>
                    <a:lnTo>
                      <a:pt x="124" y="0"/>
                    </a:lnTo>
                    <a:lnTo>
                      <a:pt x="124" y="190"/>
                    </a:lnTo>
                    <a:lnTo>
                      <a:pt x="45" y="190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294" y="230"/>
                    </a:lnTo>
                    <a:lnTo>
                      <a:pt x="29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0" name="Freeform 49"/>
              <p:cNvSpPr>
                <a:spLocks noEditPoints="1"/>
              </p:cNvSpPr>
              <p:nvPr userDrawn="1"/>
            </p:nvSpPr>
            <p:spPr bwMode="auto">
              <a:xfrm>
                <a:off x="952500" y="6360332"/>
                <a:ext cx="74613" cy="95250"/>
              </a:xfrm>
              <a:custGeom>
                <a:avLst/>
                <a:gdLst>
                  <a:gd name="T0" fmla="*/ 186 w 186"/>
                  <a:gd name="T1" fmla="*/ 77 h 239"/>
                  <a:gd name="T2" fmla="*/ 185 w 186"/>
                  <a:gd name="T3" fmla="*/ 67 h 239"/>
                  <a:gd name="T4" fmla="*/ 182 w 186"/>
                  <a:gd name="T5" fmla="*/ 50 h 239"/>
                  <a:gd name="T6" fmla="*/ 176 w 186"/>
                  <a:gd name="T7" fmla="*/ 36 h 239"/>
                  <a:gd name="T8" fmla="*/ 167 w 186"/>
                  <a:gd name="T9" fmla="*/ 24 h 239"/>
                  <a:gd name="T10" fmla="*/ 156 w 186"/>
                  <a:gd name="T11" fmla="*/ 14 h 239"/>
                  <a:gd name="T12" fmla="*/ 142 w 186"/>
                  <a:gd name="T13" fmla="*/ 7 h 239"/>
                  <a:gd name="T14" fmla="*/ 127 w 186"/>
                  <a:gd name="T15" fmla="*/ 2 h 239"/>
                  <a:gd name="T16" fmla="*/ 109 w 186"/>
                  <a:gd name="T17" fmla="*/ 0 h 239"/>
                  <a:gd name="T18" fmla="*/ 100 w 186"/>
                  <a:gd name="T19" fmla="*/ 0 h 239"/>
                  <a:gd name="T20" fmla="*/ 77 w 186"/>
                  <a:gd name="T21" fmla="*/ 1 h 239"/>
                  <a:gd name="T22" fmla="*/ 57 w 186"/>
                  <a:gd name="T23" fmla="*/ 5 h 239"/>
                  <a:gd name="T24" fmla="*/ 38 w 186"/>
                  <a:gd name="T25" fmla="*/ 11 h 239"/>
                  <a:gd name="T26" fmla="*/ 21 w 186"/>
                  <a:gd name="T27" fmla="*/ 20 h 239"/>
                  <a:gd name="T28" fmla="*/ 39 w 186"/>
                  <a:gd name="T29" fmla="*/ 54 h 239"/>
                  <a:gd name="T30" fmla="*/ 66 w 186"/>
                  <a:gd name="T31" fmla="*/ 43 h 239"/>
                  <a:gd name="T32" fmla="*/ 98 w 186"/>
                  <a:gd name="T33" fmla="*/ 40 h 239"/>
                  <a:gd name="T34" fmla="*/ 108 w 186"/>
                  <a:gd name="T35" fmla="*/ 41 h 239"/>
                  <a:gd name="T36" fmla="*/ 124 w 186"/>
                  <a:gd name="T37" fmla="*/ 46 h 239"/>
                  <a:gd name="T38" fmla="*/ 135 w 186"/>
                  <a:gd name="T39" fmla="*/ 56 h 239"/>
                  <a:gd name="T40" fmla="*/ 141 w 186"/>
                  <a:gd name="T41" fmla="*/ 70 h 239"/>
                  <a:gd name="T42" fmla="*/ 142 w 186"/>
                  <a:gd name="T43" fmla="*/ 96 h 239"/>
                  <a:gd name="T44" fmla="*/ 132 w 186"/>
                  <a:gd name="T45" fmla="*/ 92 h 239"/>
                  <a:gd name="T46" fmla="*/ 107 w 186"/>
                  <a:gd name="T47" fmla="*/ 88 h 239"/>
                  <a:gd name="T48" fmla="*/ 91 w 186"/>
                  <a:gd name="T49" fmla="*/ 87 h 239"/>
                  <a:gd name="T50" fmla="*/ 63 w 186"/>
                  <a:gd name="T51" fmla="*/ 89 h 239"/>
                  <a:gd name="T52" fmla="*/ 47 w 186"/>
                  <a:gd name="T53" fmla="*/ 94 h 239"/>
                  <a:gd name="T54" fmla="*/ 32 w 186"/>
                  <a:gd name="T55" fmla="*/ 101 h 239"/>
                  <a:gd name="T56" fmla="*/ 20 w 186"/>
                  <a:gd name="T57" fmla="*/ 110 h 239"/>
                  <a:gd name="T58" fmla="*/ 10 w 186"/>
                  <a:gd name="T59" fmla="*/ 121 h 239"/>
                  <a:gd name="T60" fmla="*/ 3 w 186"/>
                  <a:gd name="T61" fmla="*/ 135 h 239"/>
                  <a:gd name="T62" fmla="*/ 0 w 186"/>
                  <a:gd name="T63" fmla="*/ 153 h 239"/>
                  <a:gd name="T64" fmla="*/ 0 w 186"/>
                  <a:gd name="T65" fmla="*/ 162 h 239"/>
                  <a:gd name="T66" fmla="*/ 1 w 186"/>
                  <a:gd name="T67" fmla="*/ 182 h 239"/>
                  <a:gd name="T68" fmla="*/ 7 w 186"/>
                  <a:gd name="T69" fmla="*/ 198 h 239"/>
                  <a:gd name="T70" fmla="*/ 15 w 186"/>
                  <a:gd name="T71" fmla="*/ 211 h 239"/>
                  <a:gd name="T72" fmla="*/ 25 w 186"/>
                  <a:gd name="T73" fmla="*/ 222 h 239"/>
                  <a:gd name="T74" fmla="*/ 37 w 186"/>
                  <a:gd name="T75" fmla="*/ 230 h 239"/>
                  <a:gd name="T76" fmla="*/ 51 w 186"/>
                  <a:gd name="T77" fmla="*/ 235 h 239"/>
                  <a:gd name="T78" fmla="*/ 79 w 186"/>
                  <a:gd name="T79" fmla="*/ 239 h 239"/>
                  <a:gd name="T80" fmla="*/ 90 w 186"/>
                  <a:gd name="T81" fmla="*/ 239 h 239"/>
                  <a:gd name="T82" fmla="*/ 108 w 186"/>
                  <a:gd name="T83" fmla="*/ 234 h 239"/>
                  <a:gd name="T84" fmla="*/ 115 w 186"/>
                  <a:gd name="T85" fmla="*/ 231 h 239"/>
                  <a:gd name="T86" fmla="*/ 134 w 186"/>
                  <a:gd name="T87" fmla="*/ 219 h 239"/>
                  <a:gd name="T88" fmla="*/ 142 w 186"/>
                  <a:gd name="T89" fmla="*/ 235 h 239"/>
                  <a:gd name="T90" fmla="*/ 142 w 186"/>
                  <a:gd name="T91" fmla="*/ 170 h 239"/>
                  <a:gd name="T92" fmla="*/ 137 w 186"/>
                  <a:gd name="T93" fmla="*/ 175 h 239"/>
                  <a:gd name="T94" fmla="*/ 126 w 186"/>
                  <a:gd name="T95" fmla="*/ 185 h 239"/>
                  <a:gd name="T96" fmla="*/ 112 w 186"/>
                  <a:gd name="T97" fmla="*/ 193 h 239"/>
                  <a:gd name="T98" fmla="*/ 95 w 186"/>
                  <a:gd name="T99" fmla="*/ 198 h 239"/>
                  <a:gd name="T100" fmla="*/ 86 w 186"/>
                  <a:gd name="T101" fmla="*/ 199 h 239"/>
                  <a:gd name="T102" fmla="*/ 68 w 186"/>
                  <a:gd name="T103" fmla="*/ 196 h 239"/>
                  <a:gd name="T104" fmla="*/ 55 w 186"/>
                  <a:gd name="T105" fmla="*/ 190 h 239"/>
                  <a:gd name="T106" fmla="*/ 50 w 186"/>
                  <a:gd name="T107" fmla="*/ 185 h 239"/>
                  <a:gd name="T108" fmla="*/ 43 w 186"/>
                  <a:gd name="T109" fmla="*/ 170 h 239"/>
                  <a:gd name="T110" fmla="*/ 42 w 186"/>
                  <a:gd name="T111" fmla="*/ 161 h 239"/>
                  <a:gd name="T112" fmla="*/ 45 w 186"/>
                  <a:gd name="T113" fmla="*/ 146 h 239"/>
                  <a:gd name="T114" fmla="*/ 55 w 186"/>
                  <a:gd name="T115" fmla="*/ 135 h 239"/>
                  <a:gd name="T116" fmla="*/ 70 w 186"/>
                  <a:gd name="T117" fmla="*/ 128 h 239"/>
                  <a:gd name="T118" fmla="*/ 89 w 186"/>
                  <a:gd name="T119" fmla="*/ 126 h 239"/>
                  <a:gd name="T120" fmla="*/ 106 w 186"/>
                  <a:gd name="T121" fmla="*/ 126 h 239"/>
                  <a:gd name="T122" fmla="*/ 119 w 186"/>
                  <a:gd name="T123" fmla="*/ 128 h 239"/>
                  <a:gd name="T124" fmla="*/ 142 w 186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6" h="239">
                    <a:moveTo>
                      <a:pt x="186" y="235"/>
                    </a:moveTo>
                    <a:lnTo>
                      <a:pt x="186" y="77"/>
                    </a:lnTo>
                    <a:lnTo>
                      <a:pt x="186" y="77"/>
                    </a:lnTo>
                    <a:lnTo>
                      <a:pt x="185" y="67"/>
                    </a:lnTo>
                    <a:lnTo>
                      <a:pt x="184" y="58"/>
                    </a:lnTo>
                    <a:lnTo>
                      <a:pt x="182" y="50"/>
                    </a:lnTo>
                    <a:lnTo>
                      <a:pt x="179" y="43"/>
                    </a:lnTo>
                    <a:lnTo>
                      <a:pt x="176" y="36"/>
                    </a:lnTo>
                    <a:lnTo>
                      <a:pt x="172" y="29"/>
                    </a:lnTo>
                    <a:lnTo>
                      <a:pt x="167" y="24"/>
                    </a:lnTo>
                    <a:lnTo>
                      <a:pt x="162" y="19"/>
                    </a:lnTo>
                    <a:lnTo>
                      <a:pt x="156" y="14"/>
                    </a:lnTo>
                    <a:lnTo>
                      <a:pt x="149" y="10"/>
                    </a:lnTo>
                    <a:lnTo>
                      <a:pt x="142" y="7"/>
                    </a:lnTo>
                    <a:lnTo>
                      <a:pt x="135" y="5"/>
                    </a:lnTo>
                    <a:lnTo>
                      <a:pt x="127" y="2"/>
                    </a:lnTo>
                    <a:lnTo>
                      <a:pt x="118" y="1"/>
                    </a:lnTo>
                    <a:lnTo>
                      <a:pt x="109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8" y="0"/>
                    </a:lnTo>
                    <a:lnTo>
                      <a:pt x="77" y="1"/>
                    </a:lnTo>
                    <a:lnTo>
                      <a:pt x="67" y="3"/>
                    </a:lnTo>
                    <a:lnTo>
                      <a:pt x="57" y="5"/>
                    </a:lnTo>
                    <a:lnTo>
                      <a:pt x="47" y="8"/>
                    </a:lnTo>
                    <a:lnTo>
                      <a:pt x="38" y="11"/>
                    </a:lnTo>
                    <a:lnTo>
                      <a:pt x="30" y="16"/>
                    </a:lnTo>
                    <a:lnTo>
                      <a:pt x="21" y="20"/>
                    </a:lnTo>
                    <a:lnTo>
                      <a:pt x="39" y="54"/>
                    </a:lnTo>
                    <a:lnTo>
                      <a:pt x="39" y="54"/>
                    </a:lnTo>
                    <a:lnTo>
                      <a:pt x="52" y="48"/>
                    </a:lnTo>
                    <a:lnTo>
                      <a:pt x="66" y="43"/>
                    </a:lnTo>
                    <a:lnTo>
                      <a:pt x="82" y="41"/>
                    </a:lnTo>
                    <a:lnTo>
                      <a:pt x="98" y="40"/>
                    </a:lnTo>
                    <a:lnTo>
                      <a:pt x="98" y="40"/>
                    </a:lnTo>
                    <a:lnTo>
                      <a:pt x="108" y="41"/>
                    </a:lnTo>
                    <a:lnTo>
                      <a:pt x="117" y="43"/>
                    </a:lnTo>
                    <a:lnTo>
                      <a:pt x="124" y="46"/>
                    </a:lnTo>
                    <a:lnTo>
                      <a:pt x="131" y="50"/>
                    </a:lnTo>
                    <a:lnTo>
                      <a:pt x="135" y="56"/>
                    </a:lnTo>
                    <a:lnTo>
                      <a:pt x="139" y="62"/>
                    </a:lnTo>
                    <a:lnTo>
                      <a:pt x="141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2" y="92"/>
                    </a:lnTo>
                    <a:lnTo>
                      <a:pt x="121" y="89"/>
                    </a:lnTo>
                    <a:lnTo>
                      <a:pt x="107" y="88"/>
                    </a:lnTo>
                    <a:lnTo>
                      <a:pt x="91" y="87"/>
                    </a:lnTo>
                    <a:lnTo>
                      <a:pt x="91" y="87"/>
                    </a:lnTo>
                    <a:lnTo>
                      <a:pt x="72" y="88"/>
                    </a:lnTo>
                    <a:lnTo>
                      <a:pt x="63" y="89"/>
                    </a:lnTo>
                    <a:lnTo>
                      <a:pt x="55" y="91"/>
                    </a:lnTo>
                    <a:lnTo>
                      <a:pt x="47" y="94"/>
                    </a:lnTo>
                    <a:lnTo>
                      <a:pt x="39" y="97"/>
                    </a:lnTo>
                    <a:lnTo>
                      <a:pt x="32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5"/>
                    </a:lnTo>
                    <a:lnTo>
                      <a:pt x="10" y="121"/>
                    </a:lnTo>
                    <a:lnTo>
                      <a:pt x="6" y="128"/>
                    </a:lnTo>
                    <a:lnTo>
                      <a:pt x="3" y="135"/>
                    </a:lnTo>
                    <a:lnTo>
                      <a:pt x="1" y="143"/>
                    </a:lnTo>
                    <a:lnTo>
                      <a:pt x="0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1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0" y="205"/>
                    </a:lnTo>
                    <a:lnTo>
                      <a:pt x="15" y="211"/>
                    </a:lnTo>
                    <a:lnTo>
                      <a:pt x="20" y="217"/>
                    </a:lnTo>
                    <a:lnTo>
                      <a:pt x="25" y="222"/>
                    </a:lnTo>
                    <a:lnTo>
                      <a:pt x="31" y="226"/>
                    </a:lnTo>
                    <a:lnTo>
                      <a:pt x="37" y="230"/>
                    </a:lnTo>
                    <a:lnTo>
                      <a:pt x="44" y="233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9"/>
                    </a:lnTo>
                    <a:lnTo>
                      <a:pt x="100" y="237"/>
                    </a:lnTo>
                    <a:lnTo>
                      <a:pt x="108" y="234"/>
                    </a:lnTo>
                    <a:lnTo>
                      <a:pt x="115" y="231"/>
                    </a:lnTo>
                    <a:lnTo>
                      <a:pt x="115" y="231"/>
                    </a:lnTo>
                    <a:lnTo>
                      <a:pt x="127" y="224"/>
                    </a:lnTo>
                    <a:lnTo>
                      <a:pt x="134" y="219"/>
                    </a:lnTo>
                    <a:lnTo>
                      <a:pt x="142" y="212"/>
                    </a:lnTo>
                    <a:lnTo>
                      <a:pt x="142" y="235"/>
                    </a:lnTo>
                    <a:lnTo>
                      <a:pt x="186" y="235"/>
                    </a:lnTo>
                    <a:close/>
                    <a:moveTo>
                      <a:pt x="142" y="170"/>
                    </a:moveTo>
                    <a:lnTo>
                      <a:pt x="142" y="170"/>
                    </a:lnTo>
                    <a:lnTo>
                      <a:pt x="137" y="175"/>
                    </a:lnTo>
                    <a:lnTo>
                      <a:pt x="132" y="180"/>
                    </a:lnTo>
                    <a:lnTo>
                      <a:pt x="126" y="185"/>
                    </a:lnTo>
                    <a:lnTo>
                      <a:pt x="119" y="190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5" y="198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76" y="198"/>
                    </a:lnTo>
                    <a:lnTo>
                      <a:pt x="68" y="196"/>
                    </a:lnTo>
                    <a:lnTo>
                      <a:pt x="61" y="194"/>
                    </a:lnTo>
                    <a:lnTo>
                      <a:pt x="55" y="190"/>
                    </a:lnTo>
                    <a:lnTo>
                      <a:pt x="55" y="190"/>
                    </a:lnTo>
                    <a:lnTo>
                      <a:pt x="50" y="185"/>
                    </a:lnTo>
                    <a:lnTo>
                      <a:pt x="46" y="178"/>
                    </a:lnTo>
                    <a:lnTo>
                      <a:pt x="43" y="170"/>
                    </a:lnTo>
                    <a:lnTo>
                      <a:pt x="42" y="161"/>
                    </a:lnTo>
                    <a:lnTo>
                      <a:pt x="42" y="161"/>
                    </a:lnTo>
                    <a:lnTo>
                      <a:pt x="43" y="153"/>
                    </a:lnTo>
                    <a:lnTo>
                      <a:pt x="45" y="146"/>
                    </a:lnTo>
                    <a:lnTo>
                      <a:pt x="49" y="140"/>
                    </a:lnTo>
                    <a:lnTo>
                      <a:pt x="55" y="135"/>
                    </a:lnTo>
                    <a:lnTo>
                      <a:pt x="62" y="131"/>
                    </a:lnTo>
                    <a:lnTo>
                      <a:pt x="70" y="128"/>
                    </a:lnTo>
                    <a:lnTo>
                      <a:pt x="79" y="126"/>
                    </a:lnTo>
                    <a:lnTo>
                      <a:pt x="89" y="126"/>
                    </a:lnTo>
                    <a:lnTo>
                      <a:pt x="89" y="126"/>
                    </a:lnTo>
                    <a:lnTo>
                      <a:pt x="106" y="126"/>
                    </a:lnTo>
                    <a:lnTo>
                      <a:pt x="119" y="128"/>
                    </a:lnTo>
                    <a:lnTo>
                      <a:pt x="119" y="128"/>
                    </a:lnTo>
                    <a:lnTo>
                      <a:pt x="130" y="131"/>
                    </a:lnTo>
                    <a:lnTo>
                      <a:pt x="142" y="136"/>
                    </a:lnTo>
                    <a:lnTo>
                      <a:pt x="142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1" name="Freeform 50"/>
              <p:cNvSpPr>
                <a:spLocks noEditPoints="1"/>
              </p:cNvSpPr>
              <p:nvPr userDrawn="1"/>
            </p:nvSpPr>
            <p:spPr bwMode="auto">
              <a:xfrm>
                <a:off x="1041400" y="6363507"/>
                <a:ext cx="76200" cy="90488"/>
              </a:xfrm>
              <a:custGeom>
                <a:avLst/>
                <a:gdLst>
                  <a:gd name="T0" fmla="*/ 0 w 195"/>
                  <a:gd name="T1" fmla="*/ 230 h 230"/>
                  <a:gd name="T2" fmla="*/ 50 w 195"/>
                  <a:gd name="T3" fmla="*/ 230 h 230"/>
                  <a:gd name="T4" fmla="*/ 101 w 195"/>
                  <a:gd name="T5" fmla="*/ 138 h 230"/>
                  <a:gd name="T6" fmla="*/ 151 w 195"/>
                  <a:gd name="T7" fmla="*/ 138 h 230"/>
                  <a:gd name="T8" fmla="*/ 151 w 195"/>
                  <a:gd name="T9" fmla="*/ 230 h 230"/>
                  <a:gd name="T10" fmla="*/ 195 w 195"/>
                  <a:gd name="T11" fmla="*/ 230 h 230"/>
                  <a:gd name="T12" fmla="*/ 195 w 195"/>
                  <a:gd name="T13" fmla="*/ 0 h 230"/>
                  <a:gd name="T14" fmla="*/ 82 w 195"/>
                  <a:gd name="T15" fmla="*/ 0 h 230"/>
                  <a:gd name="T16" fmla="*/ 82 w 195"/>
                  <a:gd name="T17" fmla="*/ 0 h 230"/>
                  <a:gd name="T18" fmla="*/ 67 w 195"/>
                  <a:gd name="T19" fmla="*/ 1 h 230"/>
                  <a:gd name="T20" fmla="*/ 60 w 195"/>
                  <a:gd name="T21" fmla="*/ 2 h 230"/>
                  <a:gd name="T22" fmla="*/ 53 w 195"/>
                  <a:gd name="T23" fmla="*/ 4 h 230"/>
                  <a:gd name="T24" fmla="*/ 47 w 195"/>
                  <a:gd name="T25" fmla="*/ 6 h 230"/>
                  <a:gd name="T26" fmla="*/ 41 w 195"/>
                  <a:gd name="T27" fmla="*/ 9 h 230"/>
                  <a:gd name="T28" fmla="*/ 36 w 195"/>
                  <a:gd name="T29" fmla="*/ 13 h 230"/>
                  <a:gd name="T30" fmla="*/ 31 w 195"/>
                  <a:gd name="T31" fmla="*/ 17 h 230"/>
                  <a:gd name="T32" fmla="*/ 26 w 195"/>
                  <a:gd name="T33" fmla="*/ 21 h 230"/>
                  <a:gd name="T34" fmla="*/ 22 w 195"/>
                  <a:gd name="T35" fmla="*/ 27 h 230"/>
                  <a:gd name="T36" fmla="*/ 19 w 195"/>
                  <a:gd name="T37" fmla="*/ 32 h 230"/>
                  <a:gd name="T38" fmla="*/ 16 w 195"/>
                  <a:gd name="T39" fmla="*/ 38 h 230"/>
                  <a:gd name="T40" fmla="*/ 14 w 195"/>
                  <a:gd name="T41" fmla="*/ 45 h 230"/>
                  <a:gd name="T42" fmla="*/ 12 w 195"/>
                  <a:gd name="T43" fmla="*/ 52 h 230"/>
                  <a:gd name="T44" fmla="*/ 11 w 195"/>
                  <a:gd name="T45" fmla="*/ 60 h 230"/>
                  <a:gd name="T46" fmla="*/ 10 w 195"/>
                  <a:gd name="T47" fmla="*/ 69 h 230"/>
                  <a:gd name="T48" fmla="*/ 10 w 195"/>
                  <a:gd name="T49" fmla="*/ 69 h 230"/>
                  <a:gd name="T50" fmla="*/ 11 w 195"/>
                  <a:gd name="T51" fmla="*/ 82 h 230"/>
                  <a:gd name="T52" fmla="*/ 14 w 195"/>
                  <a:gd name="T53" fmla="*/ 93 h 230"/>
                  <a:gd name="T54" fmla="*/ 18 w 195"/>
                  <a:gd name="T55" fmla="*/ 103 h 230"/>
                  <a:gd name="T56" fmla="*/ 23 w 195"/>
                  <a:gd name="T57" fmla="*/ 112 h 230"/>
                  <a:gd name="T58" fmla="*/ 30 w 195"/>
                  <a:gd name="T59" fmla="*/ 119 h 230"/>
                  <a:gd name="T60" fmla="*/ 38 w 195"/>
                  <a:gd name="T61" fmla="*/ 125 h 230"/>
                  <a:gd name="T62" fmla="*/ 47 w 195"/>
                  <a:gd name="T63" fmla="*/ 129 h 230"/>
                  <a:gd name="T64" fmla="*/ 58 w 195"/>
                  <a:gd name="T65" fmla="*/ 132 h 230"/>
                  <a:gd name="T66" fmla="*/ 0 w 195"/>
                  <a:gd name="T67" fmla="*/ 230 h 230"/>
                  <a:gd name="T68" fmla="*/ 151 w 195"/>
                  <a:gd name="T69" fmla="*/ 37 h 230"/>
                  <a:gd name="T70" fmla="*/ 151 w 195"/>
                  <a:gd name="T71" fmla="*/ 101 h 230"/>
                  <a:gd name="T72" fmla="*/ 87 w 195"/>
                  <a:gd name="T73" fmla="*/ 101 h 230"/>
                  <a:gd name="T74" fmla="*/ 87 w 195"/>
                  <a:gd name="T75" fmla="*/ 101 h 230"/>
                  <a:gd name="T76" fmla="*/ 80 w 195"/>
                  <a:gd name="T77" fmla="*/ 100 h 230"/>
                  <a:gd name="T78" fmla="*/ 73 w 195"/>
                  <a:gd name="T79" fmla="*/ 99 h 230"/>
                  <a:gd name="T80" fmla="*/ 68 w 195"/>
                  <a:gd name="T81" fmla="*/ 96 h 230"/>
                  <a:gd name="T82" fmla="*/ 63 w 195"/>
                  <a:gd name="T83" fmla="*/ 92 h 230"/>
                  <a:gd name="T84" fmla="*/ 60 w 195"/>
                  <a:gd name="T85" fmla="*/ 88 h 230"/>
                  <a:gd name="T86" fmla="*/ 57 w 195"/>
                  <a:gd name="T87" fmla="*/ 82 h 230"/>
                  <a:gd name="T88" fmla="*/ 56 w 195"/>
                  <a:gd name="T89" fmla="*/ 76 h 230"/>
                  <a:gd name="T90" fmla="*/ 55 w 195"/>
                  <a:gd name="T91" fmla="*/ 69 h 230"/>
                  <a:gd name="T92" fmla="*/ 55 w 195"/>
                  <a:gd name="T93" fmla="*/ 69 h 230"/>
                  <a:gd name="T94" fmla="*/ 56 w 195"/>
                  <a:gd name="T95" fmla="*/ 62 h 230"/>
                  <a:gd name="T96" fmla="*/ 58 w 195"/>
                  <a:gd name="T97" fmla="*/ 55 h 230"/>
                  <a:gd name="T98" fmla="*/ 60 w 195"/>
                  <a:gd name="T99" fmla="*/ 50 h 230"/>
                  <a:gd name="T100" fmla="*/ 64 w 195"/>
                  <a:gd name="T101" fmla="*/ 45 h 230"/>
                  <a:gd name="T102" fmla="*/ 69 w 195"/>
                  <a:gd name="T103" fmla="*/ 41 h 230"/>
                  <a:gd name="T104" fmla="*/ 74 w 195"/>
                  <a:gd name="T105" fmla="*/ 39 h 230"/>
                  <a:gd name="T106" fmla="*/ 80 w 195"/>
                  <a:gd name="T107" fmla="*/ 37 h 230"/>
                  <a:gd name="T108" fmla="*/ 87 w 195"/>
                  <a:gd name="T109" fmla="*/ 37 h 230"/>
                  <a:gd name="T110" fmla="*/ 151 w 195"/>
                  <a:gd name="T111" fmla="*/ 37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5" h="230">
                    <a:moveTo>
                      <a:pt x="0" y="230"/>
                    </a:moveTo>
                    <a:lnTo>
                      <a:pt x="50" y="230"/>
                    </a:lnTo>
                    <a:lnTo>
                      <a:pt x="101" y="138"/>
                    </a:lnTo>
                    <a:lnTo>
                      <a:pt x="151" y="138"/>
                    </a:lnTo>
                    <a:lnTo>
                      <a:pt x="151" y="230"/>
                    </a:lnTo>
                    <a:lnTo>
                      <a:pt x="195" y="230"/>
                    </a:lnTo>
                    <a:lnTo>
                      <a:pt x="195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67" y="1"/>
                    </a:lnTo>
                    <a:lnTo>
                      <a:pt x="60" y="2"/>
                    </a:lnTo>
                    <a:lnTo>
                      <a:pt x="53" y="4"/>
                    </a:lnTo>
                    <a:lnTo>
                      <a:pt x="47" y="6"/>
                    </a:lnTo>
                    <a:lnTo>
                      <a:pt x="41" y="9"/>
                    </a:lnTo>
                    <a:lnTo>
                      <a:pt x="36" y="13"/>
                    </a:lnTo>
                    <a:lnTo>
                      <a:pt x="31" y="17"/>
                    </a:lnTo>
                    <a:lnTo>
                      <a:pt x="26" y="21"/>
                    </a:lnTo>
                    <a:lnTo>
                      <a:pt x="22" y="27"/>
                    </a:lnTo>
                    <a:lnTo>
                      <a:pt x="19" y="32"/>
                    </a:lnTo>
                    <a:lnTo>
                      <a:pt x="16" y="38"/>
                    </a:lnTo>
                    <a:lnTo>
                      <a:pt x="14" y="45"/>
                    </a:lnTo>
                    <a:lnTo>
                      <a:pt x="12" y="52"/>
                    </a:lnTo>
                    <a:lnTo>
                      <a:pt x="11" y="60"/>
                    </a:lnTo>
                    <a:lnTo>
                      <a:pt x="10" y="69"/>
                    </a:lnTo>
                    <a:lnTo>
                      <a:pt x="10" y="69"/>
                    </a:lnTo>
                    <a:lnTo>
                      <a:pt x="11" y="82"/>
                    </a:lnTo>
                    <a:lnTo>
                      <a:pt x="14" y="93"/>
                    </a:lnTo>
                    <a:lnTo>
                      <a:pt x="18" y="103"/>
                    </a:lnTo>
                    <a:lnTo>
                      <a:pt x="23" y="112"/>
                    </a:lnTo>
                    <a:lnTo>
                      <a:pt x="30" y="119"/>
                    </a:lnTo>
                    <a:lnTo>
                      <a:pt x="38" y="125"/>
                    </a:lnTo>
                    <a:lnTo>
                      <a:pt x="47" y="129"/>
                    </a:lnTo>
                    <a:lnTo>
                      <a:pt x="58" y="132"/>
                    </a:lnTo>
                    <a:lnTo>
                      <a:pt x="0" y="230"/>
                    </a:lnTo>
                    <a:close/>
                    <a:moveTo>
                      <a:pt x="151" y="37"/>
                    </a:moveTo>
                    <a:lnTo>
                      <a:pt x="151" y="101"/>
                    </a:lnTo>
                    <a:lnTo>
                      <a:pt x="87" y="101"/>
                    </a:lnTo>
                    <a:lnTo>
                      <a:pt x="87" y="101"/>
                    </a:lnTo>
                    <a:lnTo>
                      <a:pt x="80" y="100"/>
                    </a:lnTo>
                    <a:lnTo>
                      <a:pt x="73" y="99"/>
                    </a:lnTo>
                    <a:lnTo>
                      <a:pt x="68" y="96"/>
                    </a:lnTo>
                    <a:lnTo>
                      <a:pt x="63" y="92"/>
                    </a:lnTo>
                    <a:lnTo>
                      <a:pt x="60" y="88"/>
                    </a:lnTo>
                    <a:lnTo>
                      <a:pt x="57" y="82"/>
                    </a:lnTo>
                    <a:lnTo>
                      <a:pt x="56" y="76"/>
                    </a:lnTo>
                    <a:lnTo>
                      <a:pt x="55" y="69"/>
                    </a:lnTo>
                    <a:lnTo>
                      <a:pt x="55" y="69"/>
                    </a:lnTo>
                    <a:lnTo>
                      <a:pt x="56" y="62"/>
                    </a:lnTo>
                    <a:lnTo>
                      <a:pt x="58" y="55"/>
                    </a:lnTo>
                    <a:lnTo>
                      <a:pt x="60" y="50"/>
                    </a:lnTo>
                    <a:lnTo>
                      <a:pt x="64" y="45"/>
                    </a:lnTo>
                    <a:lnTo>
                      <a:pt x="69" y="41"/>
                    </a:lnTo>
                    <a:lnTo>
                      <a:pt x="74" y="39"/>
                    </a:lnTo>
                    <a:lnTo>
                      <a:pt x="80" y="37"/>
                    </a:lnTo>
                    <a:lnTo>
                      <a:pt x="87" y="37"/>
                    </a:lnTo>
                    <a:lnTo>
                      <a:pt x="151" y="37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2" name="Freeform 51"/>
              <p:cNvSpPr>
                <a:spLocks/>
              </p:cNvSpPr>
              <p:nvPr userDrawn="1"/>
            </p:nvSpPr>
            <p:spPr bwMode="auto">
              <a:xfrm>
                <a:off x="1181100" y="6360332"/>
                <a:ext cx="71438" cy="95250"/>
              </a:xfrm>
              <a:custGeom>
                <a:avLst/>
                <a:gdLst>
                  <a:gd name="T0" fmla="*/ 181 w 181"/>
                  <a:gd name="T1" fmla="*/ 39 h 239"/>
                  <a:gd name="T2" fmla="*/ 164 w 181"/>
                  <a:gd name="T3" fmla="*/ 22 h 239"/>
                  <a:gd name="T4" fmla="*/ 145 w 181"/>
                  <a:gd name="T5" fmla="*/ 10 h 239"/>
                  <a:gd name="T6" fmla="*/ 124 w 181"/>
                  <a:gd name="T7" fmla="*/ 2 h 239"/>
                  <a:gd name="T8" fmla="*/ 100 w 181"/>
                  <a:gd name="T9" fmla="*/ 0 h 239"/>
                  <a:gd name="T10" fmla="*/ 90 w 181"/>
                  <a:gd name="T11" fmla="*/ 0 h 239"/>
                  <a:gd name="T12" fmla="*/ 70 w 181"/>
                  <a:gd name="T13" fmla="*/ 4 h 239"/>
                  <a:gd name="T14" fmla="*/ 52 w 181"/>
                  <a:gd name="T15" fmla="*/ 12 h 239"/>
                  <a:gd name="T16" fmla="*/ 36 w 181"/>
                  <a:gd name="T17" fmla="*/ 24 h 239"/>
                  <a:gd name="T18" fmla="*/ 23 w 181"/>
                  <a:gd name="T19" fmla="*/ 39 h 239"/>
                  <a:gd name="T20" fmla="*/ 12 w 181"/>
                  <a:gd name="T21" fmla="*/ 58 h 239"/>
                  <a:gd name="T22" fmla="*/ 4 w 181"/>
                  <a:gd name="T23" fmla="*/ 80 h 239"/>
                  <a:gd name="T24" fmla="*/ 0 w 181"/>
                  <a:gd name="T25" fmla="*/ 106 h 239"/>
                  <a:gd name="T26" fmla="*/ 0 w 181"/>
                  <a:gd name="T27" fmla="*/ 120 h 239"/>
                  <a:gd name="T28" fmla="*/ 2 w 181"/>
                  <a:gd name="T29" fmla="*/ 145 h 239"/>
                  <a:gd name="T30" fmla="*/ 8 w 181"/>
                  <a:gd name="T31" fmla="*/ 169 h 239"/>
                  <a:gd name="T32" fmla="*/ 17 w 181"/>
                  <a:gd name="T33" fmla="*/ 190 h 239"/>
                  <a:gd name="T34" fmla="*/ 29 w 181"/>
                  <a:gd name="T35" fmla="*/ 207 h 239"/>
                  <a:gd name="T36" fmla="*/ 43 w 181"/>
                  <a:gd name="T37" fmla="*/ 221 h 239"/>
                  <a:gd name="T38" fmla="*/ 60 w 181"/>
                  <a:gd name="T39" fmla="*/ 231 h 239"/>
                  <a:gd name="T40" fmla="*/ 79 w 181"/>
                  <a:gd name="T41" fmla="*/ 237 h 239"/>
                  <a:gd name="T42" fmla="*/ 99 w 181"/>
                  <a:gd name="T43" fmla="*/ 239 h 239"/>
                  <a:gd name="T44" fmla="*/ 114 w 181"/>
                  <a:gd name="T45" fmla="*/ 238 h 239"/>
                  <a:gd name="T46" fmla="*/ 138 w 181"/>
                  <a:gd name="T47" fmla="*/ 232 h 239"/>
                  <a:gd name="T48" fmla="*/ 158 w 181"/>
                  <a:gd name="T49" fmla="*/ 220 h 239"/>
                  <a:gd name="T50" fmla="*/ 174 w 181"/>
                  <a:gd name="T51" fmla="*/ 205 h 239"/>
                  <a:gd name="T52" fmla="*/ 152 w 181"/>
                  <a:gd name="T53" fmla="*/ 168 h 239"/>
                  <a:gd name="T54" fmla="*/ 139 w 181"/>
                  <a:gd name="T55" fmla="*/ 181 h 239"/>
                  <a:gd name="T56" fmla="*/ 127 w 181"/>
                  <a:gd name="T57" fmla="*/ 189 h 239"/>
                  <a:gd name="T58" fmla="*/ 115 w 181"/>
                  <a:gd name="T59" fmla="*/ 195 h 239"/>
                  <a:gd name="T60" fmla="*/ 100 w 181"/>
                  <a:gd name="T61" fmla="*/ 197 h 239"/>
                  <a:gd name="T62" fmla="*/ 94 w 181"/>
                  <a:gd name="T63" fmla="*/ 196 h 239"/>
                  <a:gd name="T64" fmla="*/ 82 w 181"/>
                  <a:gd name="T65" fmla="*/ 193 h 239"/>
                  <a:gd name="T66" fmla="*/ 72 w 181"/>
                  <a:gd name="T67" fmla="*/ 188 h 239"/>
                  <a:gd name="T68" fmla="*/ 63 w 181"/>
                  <a:gd name="T69" fmla="*/ 180 h 239"/>
                  <a:gd name="T70" fmla="*/ 56 w 181"/>
                  <a:gd name="T71" fmla="*/ 169 h 239"/>
                  <a:gd name="T72" fmla="*/ 49 w 181"/>
                  <a:gd name="T73" fmla="*/ 150 h 239"/>
                  <a:gd name="T74" fmla="*/ 45 w 181"/>
                  <a:gd name="T75" fmla="*/ 118 h 239"/>
                  <a:gd name="T76" fmla="*/ 46 w 181"/>
                  <a:gd name="T77" fmla="*/ 102 h 239"/>
                  <a:gd name="T78" fmla="*/ 54 w 181"/>
                  <a:gd name="T79" fmla="*/ 74 h 239"/>
                  <a:gd name="T80" fmla="*/ 60 w 181"/>
                  <a:gd name="T81" fmla="*/ 63 h 239"/>
                  <a:gd name="T82" fmla="*/ 68 w 181"/>
                  <a:gd name="T83" fmla="*/ 54 h 239"/>
                  <a:gd name="T84" fmla="*/ 77 w 181"/>
                  <a:gd name="T85" fmla="*/ 48 h 239"/>
                  <a:gd name="T86" fmla="*/ 87 w 181"/>
                  <a:gd name="T87" fmla="*/ 44 h 239"/>
                  <a:gd name="T88" fmla="*/ 99 w 181"/>
                  <a:gd name="T89" fmla="*/ 43 h 239"/>
                  <a:gd name="T90" fmla="*/ 106 w 181"/>
                  <a:gd name="T91" fmla="*/ 43 h 239"/>
                  <a:gd name="T92" fmla="*/ 121 w 181"/>
                  <a:gd name="T93" fmla="*/ 46 h 239"/>
                  <a:gd name="T94" fmla="*/ 134 w 181"/>
                  <a:gd name="T95" fmla="*/ 53 h 239"/>
                  <a:gd name="T96" fmla="*/ 148 w 181"/>
                  <a:gd name="T97" fmla="*/ 64 h 239"/>
                  <a:gd name="T98" fmla="*/ 181 w 181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1" h="239">
                    <a:moveTo>
                      <a:pt x="181" y="39"/>
                    </a:moveTo>
                    <a:lnTo>
                      <a:pt x="181" y="39"/>
                    </a:lnTo>
                    <a:lnTo>
                      <a:pt x="173" y="30"/>
                    </a:lnTo>
                    <a:lnTo>
                      <a:pt x="164" y="22"/>
                    </a:lnTo>
                    <a:lnTo>
                      <a:pt x="155" y="15"/>
                    </a:lnTo>
                    <a:lnTo>
                      <a:pt x="145" y="10"/>
                    </a:lnTo>
                    <a:lnTo>
                      <a:pt x="135" y="5"/>
                    </a:lnTo>
                    <a:lnTo>
                      <a:pt x="124" y="2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0" y="0"/>
                    </a:lnTo>
                    <a:lnTo>
                      <a:pt x="80" y="2"/>
                    </a:lnTo>
                    <a:lnTo>
                      <a:pt x="70" y="4"/>
                    </a:lnTo>
                    <a:lnTo>
                      <a:pt x="61" y="8"/>
                    </a:lnTo>
                    <a:lnTo>
                      <a:pt x="52" y="12"/>
                    </a:lnTo>
                    <a:lnTo>
                      <a:pt x="44" y="18"/>
                    </a:lnTo>
                    <a:lnTo>
                      <a:pt x="36" y="24"/>
                    </a:lnTo>
                    <a:lnTo>
                      <a:pt x="29" y="31"/>
                    </a:lnTo>
                    <a:lnTo>
                      <a:pt x="23" y="39"/>
                    </a:lnTo>
                    <a:lnTo>
                      <a:pt x="17" y="48"/>
                    </a:lnTo>
                    <a:lnTo>
                      <a:pt x="12" y="58"/>
                    </a:lnTo>
                    <a:lnTo>
                      <a:pt x="8" y="69"/>
                    </a:lnTo>
                    <a:lnTo>
                      <a:pt x="4" y="80"/>
                    </a:lnTo>
                    <a:lnTo>
                      <a:pt x="2" y="93"/>
                    </a:lnTo>
                    <a:lnTo>
                      <a:pt x="0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33"/>
                    </a:lnTo>
                    <a:lnTo>
                      <a:pt x="2" y="145"/>
                    </a:lnTo>
                    <a:lnTo>
                      <a:pt x="4" y="158"/>
                    </a:lnTo>
                    <a:lnTo>
                      <a:pt x="8" y="169"/>
                    </a:lnTo>
                    <a:lnTo>
                      <a:pt x="12" y="180"/>
                    </a:lnTo>
                    <a:lnTo>
                      <a:pt x="17" y="190"/>
                    </a:lnTo>
                    <a:lnTo>
                      <a:pt x="22" y="199"/>
                    </a:lnTo>
                    <a:lnTo>
                      <a:pt x="29" y="207"/>
                    </a:lnTo>
                    <a:lnTo>
                      <a:pt x="35" y="214"/>
                    </a:lnTo>
                    <a:lnTo>
                      <a:pt x="43" y="221"/>
                    </a:lnTo>
                    <a:lnTo>
                      <a:pt x="51" y="226"/>
                    </a:lnTo>
                    <a:lnTo>
                      <a:pt x="60" y="231"/>
                    </a:lnTo>
                    <a:lnTo>
                      <a:pt x="69" y="234"/>
                    </a:lnTo>
                    <a:lnTo>
                      <a:pt x="79" y="237"/>
                    </a:lnTo>
                    <a:lnTo>
                      <a:pt x="89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4" y="238"/>
                    </a:lnTo>
                    <a:lnTo>
                      <a:pt x="127" y="236"/>
                    </a:lnTo>
                    <a:lnTo>
                      <a:pt x="138" y="232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6" y="213"/>
                    </a:lnTo>
                    <a:lnTo>
                      <a:pt x="174" y="205"/>
                    </a:lnTo>
                    <a:lnTo>
                      <a:pt x="181" y="197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39" y="181"/>
                    </a:lnTo>
                    <a:lnTo>
                      <a:pt x="133" y="185"/>
                    </a:lnTo>
                    <a:lnTo>
                      <a:pt x="127" y="189"/>
                    </a:lnTo>
                    <a:lnTo>
                      <a:pt x="121" y="193"/>
                    </a:lnTo>
                    <a:lnTo>
                      <a:pt x="115" y="195"/>
                    </a:lnTo>
                    <a:lnTo>
                      <a:pt x="108" y="196"/>
                    </a:lnTo>
                    <a:lnTo>
                      <a:pt x="100" y="197"/>
                    </a:lnTo>
                    <a:lnTo>
                      <a:pt x="100" y="197"/>
                    </a:lnTo>
                    <a:lnTo>
                      <a:pt x="94" y="196"/>
                    </a:lnTo>
                    <a:lnTo>
                      <a:pt x="88" y="195"/>
                    </a:lnTo>
                    <a:lnTo>
                      <a:pt x="82" y="193"/>
                    </a:lnTo>
                    <a:lnTo>
                      <a:pt x="77" y="191"/>
                    </a:lnTo>
                    <a:lnTo>
                      <a:pt x="72" y="188"/>
                    </a:lnTo>
                    <a:lnTo>
                      <a:pt x="67" y="184"/>
                    </a:lnTo>
                    <a:lnTo>
                      <a:pt x="63" y="180"/>
                    </a:lnTo>
                    <a:lnTo>
                      <a:pt x="59" y="175"/>
                    </a:lnTo>
                    <a:lnTo>
                      <a:pt x="56" y="169"/>
                    </a:lnTo>
                    <a:lnTo>
                      <a:pt x="53" y="164"/>
                    </a:lnTo>
                    <a:lnTo>
                      <a:pt x="49" y="150"/>
                    </a:lnTo>
                    <a:lnTo>
                      <a:pt x="46" y="135"/>
                    </a:lnTo>
                    <a:lnTo>
                      <a:pt x="45" y="118"/>
                    </a:lnTo>
                    <a:lnTo>
                      <a:pt x="45" y="118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8"/>
                    </a:lnTo>
                    <a:lnTo>
                      <a:pt x="60" y="63"/>
                    </a:lnTo>
                    <a:lnTo>
                      <a:pt x="64" y="58"/>
                    </a:lnTo>
                    <a:lnTo>
                      <a:pt x="68" y="54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6" y="43"/>
                    </a:lnTo>
                    <a:lnTo>
                      <a:pt x="114" y="44"/>
                    </a:lnTo>
                    <a:lnTo>
                      <a:pt x="121" y="46"/>
                    </a:lnTo>
                    <a:lnTo>
                      <a:pt x="127" y="49"/>
                    </a:lnTo>
                    <a:lnTo>
                      <a:pt x="134" y="53"/>
                    </a:lnTo>
                    <a:lnTo>
                      <a:pt x="141" y="58"/>
                    </a:lnTo>
                    <a:lnTo>
                      <a:pt x="148" y="64"/>
                    </a:lnTo>
                    <a:lnTo>
                      <a:pt x="155" y="70"/>
                    </a:lnTo>
                    <a:lnTo>
                      <a:pt x="181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3" name="Freeform 52"/>
              <p:cNvSpPr>
                <a:spLocks/>
              </p:cNvSpPr>
              <p:nvPr userDrawn="1"/>
            </p:nvSpPr>
            <p:spPr bwMode="auto">
              <a:xfrm>
                <a:off x="1260475" y="6363507"/>
                <a:ext cx="82550" cy="92075"/>
              </a:xfrm>
              <a:custGeom>
                <a:avLst/>
                <a:gdLst>
                  <a:gd name="T0" fmla="*/ 93 w 208"/>
                  <a:gd name="T1" fmla="*/ 39 h 234"/>
                  <a:gd name="T2" fmla="*/ 163 w 208"/>
                  <a:gd name="T3" fmla="*/ 39 h 234"/>
                  <a:gd name="T4" fmla="*/ 163 w 208"/>
                  <a:gd name="T5" fmla="*/ 230 h 234"/>
                  <a:gd name="T6" fmla="*/ 208 w 208"/>
                  <a:gd name="T7" fmla="*/ 230 h 234"/>
                  <a:gd name="T8" fmla="*/ 208 w 208"/>
                  <a:gd name="T9" fmla="*/ 0 h 234"/>
                  <a:gd name="T10" fmla="*/ 51 w 208"/>
                  <a:gd name="T11" fmla="*/ 0 h 234"/>
                  <a:gd name="T12" fmla="*/ 46 w 208"/>
                  <a:gd name="T13" fmla="*/ 116 h 234"/>
                  <a:gd name="T14" fmla="*/ 46 w 208"/>
                  <a:gd name="T15" fmla="*/ 116 h 234"/>
                  <a:gd name="T16" fmla="*/ 45 w 208"/>
                  <a:gd name="T17" fmla="*/ 135 h 234"/>
                  <a:gd name="T18" fmla="*/ 42 w 208"/>
                  <a:gd name="T19" fmla="*/ 152 h 234"/>
                  <a:gd name="T20" fmla="*/ 37 w 208"/>
                  <a:gd name="T21" fmla="*/ 165 h 234"/>
                  <a:gd name="T22" fmla="*/ 32 w 208"/>
                  <a:gd name="T23" fmla="*/ 175 h 234"/>
                  <a:gd name="T24" fmla="*/ 25 w 208"/>
                  <a:gd name="T25" fmla="*/ 183 h 234"/>
                  <a:gd name="T26" fmla="*/ 17 w 208"/>
                  <a:gd name="T27" fmla="*/ 189 h 234"/>
                  <a:gd name="T28" fmla="*/ 9 w 208"/>
                  <a:gd name="T29" fmla="*/ 193 h 234"/>
                  <a:gd name="T30" fmla="*/ 0 w 208"/>
                  <a:gd name="T31" fmla="*/ 195 h 234"/>
                  <a:gd name="T32" fmla="*/ 11 w 208"/>
                  <a:gd name="T33" fmla="*/ 234 h 234"/>
                  <a:gd name="T34" fmla="*/ 11 w 208"/>
                  <a:gd name="T35" fmla="*/ 234 h 234"/>
                  <a:gd name="T36" fmla="*/ 18 w 208"/>
                  <a:gd name="T37" fmla="*/ 233 h 234"/>
                  <a:gd name="T38" fmla="*/ 26 w 208"/>
                  <a:gd name="T39" fmla="*/ 230 h 234"/>
                  <a:gd name="T40" fmla="*/ 33 w 208"/>
                  <a:gd name="T41" fmla="*/ 228 h 234"/>
                  <a:gd name="T42" fmla="*/ 40 w 208"/>
                  <a:gd name="T43" fmla="*/ 224 h 234"/>
                  <a:gd name="T44" fmla="*/ 47 w 208"/>
                  <a:gd name="T45" fmla="*/ 220 h 234"/>
                  <a:gd name="T46" fmla="*/ 53 w 208"/>
                  <a:gd name="T47" fmla="*/ 215 h 234"/>
                  <a:gd name="T48" fmla="*/ 59 w 208"/>
                  <a:gd name="T49" fmla="*/ 209 h 234"/>
                  <a:gd name="T50" fmla="*/ 65 w 208"/>
                  <a:gd name="T51" fmla="*/ 203 h 234"/>
                  <a:gd name="T52" fmla="*/ 70 w 208"/>
                  <a:gd name="T53" fmla="*/ 195 h 234"/>
                  <a:gd name="T54" fmla="*/ 75 w 208"/>
                  <a:gd name="T55" fmla="*/ 187 h 234"/>
                  <a:gd name="T56" fmla="*/ 79 w 208"/>
                  <a:gd name="T57" fmla="*/ 178 h 234"/>
                  <a:gd name="T58" fmla="*/ 82 w 208"/>
                  <a:gd name="T59" fmla="*/ 168 h 234"/>
                  <a:gd name="T60" fmla="*/ 86 w 208"/>
                  <a:gd name="T61" fmla="*/ 156 h 234"/>
                  <a:gd name="T62" fmla="*/ 88 w 208"/>
                  <a:gd name="T63" fmla="*/ 143 h 234"/>
                  <a:gd name="T64" fmla="*/ 89 w 208"/>
                  <a:gd name="T65" fmla="*/ 130 h 234"/>
                  <a:gd name="T66" fmla="*/ 90 w 208"/>
                  <a:gd name="T67" fmla="*/ 116 h 234"/>
                  <a:gd name="T68" fmla="*/ 93 w 208"/>
                  <a:gd name="T69" fmla="*/ 39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8" h="234">
                    <a:moveTo>
                      <a:pt x="93" y="39"/>
                    </a:moveTo>
                    <a:lnTo>
                      <a:pt x="163" y="39"/>
                    </a:lnTo>
                    <a:lnTo>
                      <a:pt x="163" y="230"/>
                    </a:lnTo>
                    <a:lnTo>
                      <a:pt x="208" y="230"/>
                    </a:lnTo>
                    <a:lnTo>
                      <a:pt x="208" y="0"/>
                    </a:lnTo>
                    <a:lnTo>
                      <a:pt x="51" y="0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5" y="135"/>
                    </a:lnTo>
                    <a:lnTo>
                      <a:pt x="42" y="152"/>
                    </a:lnTo>
                    <a:lnTo>
                      <a:pt x="37" y="165"/>
                    </a:lnTo>
                    <a:lnTo>
                      <a:pt x="32" y="175"/>
                    </a:lnTo>
                    <a:lnTo>
                      <a:pt x="25" y="183"/>
                    </a:lnTo>
                    <a:lnTo>
                      <a:pt x="17" y="189"/>
                    </a:lnTo>
                    <a:lnTo>
                      <a:pt x="9" y="193"/>
                    </a:lnTo>
                    <a:lnTo>
                      <a:pt x="0" y="195"/>
                    </a:lnTo>
                    <a:lnTo>
                      <a:pt x="11" y="234"/>
                    </a:lnTo>
                    <a:lnTo>
                      <a:pt x="11" y="234"/>
                    </a:lnTo>
                    <a:lnTo>
                      <a:pt x="18" y="233"/>
                    </a:lnTo>
                    <a:lnTo>
                      <a:pt x="26" y="230"/>
                    </a:lnTo>
                    <a:lnTo>
                      <a:pt x="33" y="228"/>
                    </a:lnTo>
                    <a:lnTo>
                      <a:pt x="40" y="224"/>
                    </a:lnTo>
                    <a:lnTo>
                      <a:pt x="47" y="220"/>
                    </a:lnTo>
                    <a:lnTo>
                      <a:pt x="53" y="215"/>
                    </a:lnTo>
                    <a:lnTo>
                      <a:pt x="59" y="209"/>
                    </a:lnTo>
                    <a:lnTo>
                      <a:pt x="65" y="203"/>
                    </a:lnTo>
                    <a:lnTo>
                      <a:pt x="70" y="195"/>
                    </a:lnTo>
                    <a:lnTo>
                      <a:pt x="75" y="187"/>
                    </a:lnTo>
                    <a:lnTo>
                      <a:pt x="79" y="178"/>
                    </a:lnTo>
                    <a:lnTo>
                      <a:pt x="82" y="168"/>
                    </a:lnTo>
                    <a:lnTo>
                      <a:pt x="86" y="156"/>
                    </a:lnTo>
                    <a:lnTo>
                      <a:pt x="88" y="143"/>
                    </a:lnTo>
                    <a:lnTo>
                      <a:pt x="89" y="130"/>
                    </a:lnTo>
                    <a:lnTo>
                      <a:pt x="90" y="116"/>
                    </a:lnTo>
                    <a:lnTo>
                      <a:pt x="93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4" name="Freeform 53"/>
              <p:cNvSpPr>
                <a:spLocks noEditPoints="1"/>
              </p:cNvSpPr>
              <p:nvPr userDrawn="1"/>
            </p:nvSpPr>
            <p:spPr bwMode="auto">
              <a:xfrm>
                <a:off x="1362075" y="6360332"/>
                <a:ext cx="80963" cy="95250"/>
              </a:xfrm>
              <a:custGeom>
                <a:avLst/>
                <a:gdLst>
                  <a:gd name="T0" fmla="*/ 204 w 204"/>
                  <a:gd name="T1" fmla="*/ 105 h 239"/>
                  <a:gd name="T2" fmla="*/ 196 w 204"/>
                  <a:gd name="T3" fmla="*/ 69 h 239"/>
                  <a:gd name="T4" fmla="*/ 182 w 204"/>
                  <a:gd name="T5" fmla="*/ 40 h 239"/>
                  <a:gd name="T6" fmla="*/ 160 w 204"/>
                  <a:gd name="T7" fmla="*/ 18 h 239"/>
                  <a:gd name="T8" fmla="*/ 133 w 204"/>
                  <a:gd name="T9" fmla="*/ 5 h 239"/>
                  <a:gd name="T10" fmla="*/ 102 w 204"/>
                  <a:gd name="T11" fmla="*/ 0 h 239"/>
                  <a:gd name="T12" fmla="*/ 81 w 204"/>
                  <a:gd name="T13" fmla="*/ 2 h 239"/>
                  <a:gd name="T14" fmla="*/ 53 w 204"/>
                  <a:gd name="T15" fmla="*/ 12 h 239"/>
                  <a:gd name="T16" fmla="*/ 30 w 204"/>
                  <a:gd name="T17" fmla="*/ 31 h 239"/>
                  <a:gd name="T18" fmla="*/ 12 w 204"/>
                  <a:gd name="T19" fmla="*/ 58 h 239"/>
                  <a:gd name="T20" fmla="*/ 2 w 204"/>
                  <a:gd name="T21" fmla="*/ 93 h 239"/>
                  <a:gd name="T22" fmla="*/ 0 w 204"/>
                  <a:gd name="T23" fmla="*/ 119 h 239"/>
                  <a:gd name="T24" fmla="*/ 5 w 204"/>
                  <a:gd name="T25" fmla="*/ 158 h 239"/>
                  <a:gd name="T26" fmla="*/ 17 w 204"/>
                  <a:gd name="T27" fmla="*/ 189 h 239"/>
                  <a:gd name="T28" fmla="*/ 36 w 204"/>
                  <a:gd name="T29" fmla="*/ 214 h 239"/>
                  <a:gd name="T30" fmla="*/ 61 w 204"/>
                  <a:gd name="T31" fmla="*/ 231 h 239"/>
                  <a:gd name="T32" fmla="*/ 90 w 204"/>
                  <a:gd name="T33" fmla="*/ 239 h 239"/>
                  <a:gd name="T34" fmla="*/ 112 w 204"/>
                  <a:gd name="T35" fmla="*/ 239 h 239"/>
                  <a:gd name="T36" fmla="*/ 142 w 204"/>
                  <a:gd name="T37" fmla="*/ 231 h 239"/>
                  <a:gd name="T38" fmla="*/ 167 w 204"/>
                  <a:gd name="T39" fmla="*/ 215 h 239"/>
                  <a:gd name="T40" fmla="*/ 187 w 204"/>
                  <a:gd name="T41" fmla="*/ 190 h 239"/>
                  <a:gd name="T42" fmla="*/ 200 w 204"/>
                  <a:gd name="T43" fmla="*/ 158 h 239"/>
                  <a:gd name="T44" fmla="*/ 204 w 204"/>
                  <a:gd name="T45" fmla="*/ 118 h 239"/>
                  <a:gd name="T46" fmla="*/ 159 w 204"/>
                  <a:gd name="T47" fmla="*/ 119 h 239"/>
                  <a:gd name="T48" fmla="*/ 150 w 204"/>
                  <a:gd name="T49" fmla="*/ 163 h 239"/>
                  <a:gd name="T50" fmla="*/ 135 w 204"/>
                  <a:gd name="T51" fmla="*/ 183 h 239"/>
                  <a:gd name="T52" fmla="*/ 120 w 204"/>
                  <a:gd name="T53" fmla="*/ 193 h 239"/>
                  <a:gd name="T54" fmla="*/ 103 w 204"/>
                  <a:gd name="T55" fmla="*/ 197 h 239"/>
                  <a:gd name="T56" fmla="*/ 90 w 204"/>
                  <a:gd name="T57" fmla="*/ 195 h 239"/>
                  <a:gd name="T58" fmla="*/ 74 w 204"/>
                  <a:gd name="T59" fmla="*/ 189 h 239"/>
                  <a:gd name="T60" fmla="*/ 61 w 204"/>
                  <a:gd name="T61" fmla="*/ 177 h 239"/>
                  <a:gd name="T62" fmla="*/ 52 w 204"/>
                  <a:gd name="T63" fmla="*/ 159 h 239"/>
                  <a:gd name="T64" fmla="*/ 45 w 204"/>
                  <a:gd name="T65" fmla="*/ 118 h 239"/>
                  <a:gd name="T66" fmla="*/ 49 w 204"/>
                  <a:gd name="T67" fmla="*/ 87 h 239"/>
                  <a:gd name="T68" fmla="*/ 60 w 204"/>
                  <a:gd name="T69" fmla="*/ 63 h 239"/>
                  <a:gd name="T70" fmla="*/ 73 w 204"/>
                  <a:gd name="T71" fmla="*/ 51 h 239"/>
                  <a:gd name="T72" fmla="*/ 88 w 204"/>
                  <a:gd name="T73" fmla="*/ 44 h 239"/>
                  <a:gd name="T74" fmla="*/ 100 w 204"/>
                  <a:gd name="T75" fmla="*/ 43 h 239"/>
                  <a:gd name="T76" fmla="*/ 119 w 204"/>
                  <a:gd name="T77" fmla="*/ 46 h 239"/>
                  <a:gd name="T78" fmla="*/ 135 w 204"/>
                  <a:gd name="T79" fmla="*/ 55 h 239"/>
                  <a:gd name="T80" fmla="*/ 147 w 204"/>
                  <a:gd name="T81" fmla="*/ 69 h 239"/>
                  <a:gd name="T82" fmla="*/ 155 w 204"/>
                  <a:gd name="T83" fmla="*/ 88 h 239"/>
                  <a:gd name="T84" fmla="*/ 159 w 204"/>
                  <a:gd name="T85" fmla="*/ 11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4" h="239">
                    <a:moveTo>
                      <a:pt x="204" y="118"/>
                    </a:moveTo>
                    <a:lnTo>
                      <a:pt x="204" y="118"/>
                    </a:lnTo>
                    <a:lnTo>
                      <a:pt x="204" y="105"/>
                    </a:lnTo>
                    <a:lnTo>
                      <a:pt x="202" y="92"/>
                    </a:lnTo>
                    <a:lnTo>
                      <a:pt x="200" y="81"/>
                    </a:lnTo>
                    <a:lnTo>
                      <a:pt x="196" y="69"/>
                    </a:lnTo>
                    <a:lnTo>
                      <a:pt x="192" y="59"/>
                    </a:lnTo>
                    <a:lnTo>
                      <a:pt x="187" y="49"/>
                    </a:lnTo>
                    <a:lnTo>
                      <a:pt x="182" y="40"/>
                    </a:lnTo>
                    <a:lnTo>
                      <a:pt x="175" y="32"/>
                    </a:lnTo>
                    <a:lnTo>
                      <a:pt x="168" y="25"/>
                    </a:lnTo>
                    <a:lnTo>
                      <a:pt x="160" y="18"/>
                    </a:lnTo>
                    <a:lnTo>
                      <a:pt x="152" y="13"/>
                    </a:lnTo>
                    <a:lnTo>
                      <a:pt x="143" y="8"/>
                    </a:lnTo>
                    <a:lnTo>
                      <a:pt x="133" y="5"/>
                    </a:lnTo>
                    <a:lnTo>
                      <a:pt x="123" y="2"/>
                    </a:lnTo>
                    <a:lnTo>
                      <a:pt x="113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2" y="0"/>
                    </a:lnTo>
                    <a:lnTo>
                      <a:pt x="81" y="2"/>
                    </a:lnTo>
                    <a:lnTo>
                      <a:pt x="71" y="4"/>
                    </a:lnTo>
                    <a:lnTo>
                      <a:pt x="62" y="8"/>
                    </a:lnTo>
                    <a:lnTo>
                      <a:pt x="53" y="12"/>
                    </a:lnTo>
                    <a:lnTo>
                      <a:pt x="45" y="18"/>
                    </a:lnTo>
                    <a:lnTo>
                      <a:pt x="37" y="24"/>
                    </a:lnTo>
                    <a:lnTo>
                      <a:pt x="30" y="31"/>
                    </a:lnTo>
                    <a:lnTo>
                      <a:pt x="23" y="40"/>
                    </a:lnTo>
                    <a:lnTo>
                      <a:pt x="17" y="49"/>
                    </a:lnTo>
                    <a:lnTo>
                      <a:pt x="12" y="58"/>
                    </a:lnTo>
                    <a:lnTo>
                      <a:pt x="8" y="69"/>
                    </a:lnTo>
                    <a:lnTo>
                      <a:pt x="5" y="80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1" y="132"/>
                    </a:lnTo>
                    <a:lnTo>
                      <a:pt x="2" y="145"/>
                    </a:lnTo>
                    <a:lnTo>
                      <a:pt x="5" y="158"/>
                    </a:lnTo>
                    <a:lnTo>
                      <a:pt x="8" y="169"/>
                    </a:lnTo>
                    <a:lnTo>
                      <a:pt x="12" y="180"/>
                    </a:lnTo>
                    <a:lnTo>
                      <a:pt x="17" y="189"/>
                    </a:lnTo>
                    <a:lnTo>
                      <a:pt x="23" y="198"/>
                    </a:lnTo>
                    <a:lnTo>
                      <a:pt x="29" y="207"/>
                    </a:lnTo>
                    <a:lnTo>
                      <a:pt x="36" y="214"/>
                    </a:lnTo>
                    <a:lnTo>
                      <a:pt x="44" y="221"/>
                    </a:lnTo>
                    <a:lnTo>
                      <a:pt x="52" y="226"/>
                    </a:lnTo>
                    <a:lnTo>
                      <a:pt x="61" y="231"/>
                    </a:lnTo>
                    <a:lnTo>
                      <a:pt x="70" y="234"/>
                    </a:lnTo>
                    <a:lnTo>
                      <a:pt x="80" y="237"/>
                    </a:lnTo>
                    <a:lnTo>
                      <a:pt x="90" y="239"/>
                    </a:lnTo>
                    <a:lnTo>
                      <a:pt x="101" y="239"/>
                    </a:lnTo>
                    <a:lnTo>
                      <a:pt x="101" y="239"/>
                    </a:lnTo>
                    <a:lnTo>
                      <a:pt x="112" y="239"/>
                    </a:lnTo>
                    <a:lnTo>
                      <a:pt x="122" y="237"/>
                    </a:lnTo>
                    <a:lnTo>
                      <a:pt x="132" y="235"/>
                    </a:lnTo>
                    <a:lnTo>
                      <a:pt x="142" y="231"/>
                    </a:lnTo>
                    <a:lnTo>
                      <a:pt x="151" y="227"/>
                    </a:lnTo>
                    <a:lnTo>
                      <a:pt x="159" y="221"/>
                    </a:lnTo>
                    <a:lnTo>
                      <a:pt x="167" y="215"/>
                    </a:lnTo>
                    <a:lnTo>
                      <a:pt x="175" y="208"/>
                    </a:lnTo>
                    <a:lnTo>
                      <a:pt x="181" y="199"/>
                    </a:lnTo>
                    <a:lnTo>
                      <a:pt x="187" y="190"/>
                    </a:lnTo>
                    <a:lnTo>
                      <a:pt x="192" y="181"/>
                    </a:lnTo>
                    <a:lnTo>
                      <a:pt x="196" y="170"/>
                    </a:lnTo>
                    <a:lnTo>
                      <a:pt x="200" y="158"/>
                    </a:lnTo>
                    <a:lnTo>
                      <a:pt x="202" y="145"/>
                    </a:lnTo>
                    <a:lnTo>
                      <a:pt x="204" y="132"/>
                    </a:lnTo>
                    <a:lnTo>
                      <a:pt x="204" y="118"/>
                    </a:lnTo>
                    <a:lnTo>
                      <a:pt x="204" y="118"/>
                    </a:lnTo>
                    <a:close/>
                    <a:moveTo>
                      <a:pt x="159" y="119"/>
                    </a:moveTo>
                    <a:lnTo>
                      <a:pt x="159" y="119"/>
                    </a:lnTo>
                    <a:lnTo>
                      <a:pt x="158" y="135"/>
                    </a:lnTo>
                    <a:lnTo>
                      <a:pt x="155" y="150"/>
                    </a:lnTo>
                    <a:lnTo>
                      <a:pt x="150" y="163"/>
                    </a:lnTo>
                    <a:lnTo>
                      <a:pt x="143" y="174"/>
                    </a:lnTo>
                    <a:lnTo>
                      <a:pt x="140" y="179"/>
                    </a:lnTo>
                    <a:lnTo>
                      <a:pt x="135" y="183"/>
                    </a:lnTo>
                    <a:lnTo>
                      <a:pt x="131" y="187"/>
                    </a:lnTo>
                    <a:lnTo>
                      <a:pt x="126" y="191"/>
                    </a:lnTo>
                    <a:lnTo>
                      <a:pt x="120" y="193"/>
                    </a:lnTo>
                    <a:lnTo>
                      <a:pt x="115" y="195"/>
                    </a:lnTo>
                    <a:lnTo>
                      <a:pt x="109" y="196"/>
                    </a:lnTo>
                    <a:lnTo>
                      <a:pt x="103" y="197"/>
                    </a:lnTo>
                    <a:lnTo>
                      <a:pt x="103" y="197"/>
                    </a:lnTo>
                    <a:lnTo>
                      <a:pt x="96" y="196"/>
                    </a:lnTo>
                    <a:lnTo>
                      <a:pt x="90" y="195"/>
                    </a:lnTo>
                    <a:lnTo>
                      <a:pt x="85" y="194"/>
                    </a:lnTo>
                    <a:lnTo>
                      <a:pt x="79" y="192"/>
                    </a:lnTo>
                    <a:lnTo>
                      <a:pt x="74" y="189"/>
                    </a:lnTo>
                    <a:lnTo>
                      <a:pt x="70" y="185"/>
                    </a:lnTo>
                    <a:lnTo>
                      <a:pt x="65" y="181"/>
                    </a:lnTo>
                    <a:lnTo>
                      <a:pt x="61" y="177"/>
                    </a:lnTo>
                    <a:lnTo>
                      <a:pt x="58" y="171"/>
                    </a:lnTo>
                    <a:lnTo>
                      <a:pt x="55" y="166"/>
                    </a:lnTo>
                    <a:lnTo>
                      <a:pt x="52" y="159"/>
                    </a:lnTo>
                    <a:lnTo>
                      <a:pt x="50" y="152"/>
                    </a:lnTo>
                    <a:lnTo>
                      <a:pt x="47" y="136"/>
                    </a:lnTo>
                    <a:lnTo>
                      <a:pt x="45" y="118"/>
                    </a:lnTo>
                    <a:lnTo>
                      <a:pt x="45" y="118"/>
                    </a:lnTo>
                    <a:lnTo>
                      <a:pt x="46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8"/>
                    </a:lnTo>
                    <a:lnTo>
                      <a:pt x="60" y="63"/>
                    </a:lnTo>
                    <a:lnTo>
                      <a:pt x="64" y="59"/>
                    </a:lnTo>
                    <a:lnTo>
                      <a:pt x="68" y="54"/>
                    </a:lnTo>
                    <a:lnTo>
                      <a:pt x="73" y="51"/>
                    </a:lnTo>
                    <a:lnTo>
                      <a:pt x="77" y="48"/>
                    </a:lnTo>
                    <a:lnTo>
                      <a:pt x="83" y="46"/>
                    </a:lnTo>
                    <a:lnTo>
                      <a:pt x="88" y="44"/>
                    </a:lnTo>
                    <a:lnTo>
                      <a:pt x="94" y="43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107" y="43"/>
                    </a:lnTo>
                    <a:lnTo>
                      <a:pt x="113" y="44"/>
                    </a:lnTo>
                    <a:lnTo>
                      <a:pt x="119" y="46"/>
                    </a:lnTo>
                    <a:lnTo>
                      <a:pt x="125" y="48"/>
                    </a:lnTo>
                    <a:lnTo>
                      <a:pt x="130" y="51"/>
                    </a:lnTo>
                    <a:lnTo>
                      <a:pt x="135" y="55"/>
                    </a:lnTo>
                    <a:lnTo>
                      <a:pt x="139" y="59"/>
                    </a:lnTo>
                    <a:lnTo>
                      <a:pt x="143" y="63"/>
                    </a:lnTo>
                    <a:lnTo>
                      <a:pt x="147" y="69"/>
                    </a:lnTo>
                    <a:lnTo>
                      <a:pt x="150" y="75"/>
                    </a:lnTo>
                    <a:lnTo>
                      <a:pt x="153" y="81"/>
                    </a:lnTo>
                    <a:lnTo>
                      <a:pt x="155" y="88"/>
                    </a:lnTo>
                    <a:lnTo>
                      <a:pt x="158" y="103"/>
                    </a:lnTo>
                    <a:lnTo>
                      <a:pt x="159" y="119"/>
                    </a:lnTo>
                    <a:lnTo>
                      <a:pt x="159" y="11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5" name="Freeform 54"/>
              <p:cNvSpPr>
                <a:spLocks/>
              </p:cNvSpPr>
              <p:nvPr userDrawn="1"/>
            </p:nvSpPr>
            <p:spPr bwMode="auto">
              <a:xfrm>
                <a:off x="1454150" y="6360332"/>
                <a:ext cx="123825" cy="93663"/>
              </a:xfrm>
              <a:custGeom>
                <a:avLst/>
                <a:gdLst>
                  <a:gd name="T0" fmla="*/ 179 w 313"/>
                  <a:gd name="T1" fmla="*/ 235 h 235"/>
                  <a:gd name="T2" fmla="*/ 206 w 313"/>
                  <a:gd name="T3" fmla="*/ 131 h 235"/>
                  <a:gd name="T4" fmla="*/ 313 w 313"/>
                  <a:gd name="T5" fmla="*/ 235 h 235"/>
                  <a:gd name="T6" fmla="*/ 269 w 313"/>
                  <a:gd name="T7" fmla="*/ 53 h 235"/>
                  <a:gd name="T8" fmla="*/ 273 w 313"/>
                  <a:gd name="T9" fmla="*/ 47 h 235"/>
                  <a:gd name="T10" fmla="*/ 283 w 313"/>
                  <a:gd name="T11" fmla="*/ 40 h 235"/>
                  <a:gd name="T12" fmla="*/ 289 w 313"/>
                  <a:gd name="T13" fmla="*/ 39 h 235"/>
                  <a:gd name="T14" fmla="*/ 300 w 313"/>
                  <a:gd name="T15" fmla="*/ 40 h 235"/>
                  <a:gd name="T16" fmla="*/ 307 w 313"/>
                  <a:gd name="T17" fmla="*/ 44 h 235"/>
                  <a:gd name="T18" fmla="*/ 307 w 313"/>
                  <a:gd name="T19" fmla="*/ 5 h 235"/>
                  <a:gd name="T20" fmla="*/ 291 w 313"/>
                  <a:gd name="T21" fmla="*/ 0 h 235"/>
                  <a:gd name="T22" fmla="*/ 284 w 313"/>
                  <a:gd name="T23" fmla="*/ 0 h 235"/>
                  <a:gd name="T24" fmla="*/ 270 w 313"/>
                  <a:gd name="T25" fmla="*/ 2 h 235"/>
                  <a:gd name="T26" fmla="*/ 258 w 313"/>
                  <a:gd name="T27" fmla="*/ 8 h 235"/>
                  <a:gd name="T28" fmla="*/ 247 w 313"/>
                  <a:gd name="T29" fmla="*/ 19 h 235"/>
                  <a:gd name="T30" fmla="*/ 238 w 313"/>
                  <a:gd name="T31" fmla="*/ 35 h 235"/>
                  <a:gd name="T32" fmla="*/ 179 w 313"/>
                  <a:gd name="T33" fmla="*/ 94 h 235"/>
                  <a:gd name="T34" fmla="*/ 135 w 313"/>
                  <a:gd name="T35" fmla="*/ 5 h 235"/>
                  <a:gd name="T36" fmla="*/ 108 w 313"/>
                  <a:gd name="T37" fmla="*/ 94 h 235"/>
                  <a:gd name="T38" fmla="*/ 75 w 313"/>
                  <a:gd name="T39" fmla="*/ 35 h 235"/>
                  <a:gd name="T40" fmla="*/ 66 w 313"/>
                  <a:gd name="T41" fmla="*/ 19 h 235"/>
                  <a:gd name="T42" fmla="*/ 56 w 313"/>
                  <a:gd name="T43" fmla="*/ 8 h 235"/>
                  <a:gd name="T44" fmla="*/ 43 w 313"/>
                  <a:gd name="T45" fmla="*/ 2 h 235"/>
                  <a:gd name="T46" fmla="*/ 29 w 313"/>
                  <a:gd name="T47" fmla="*/ 0 h 235"/>
                  <a:gd name="T48" fmla="*/ 23 w 313"/>
                  <a:gd name="T49" fmla="*/ 0 h 235"/>
                  <a:gd name="T50" fmla="*/ 6 w 313"/>
                  <a:gd name="T51" fmla="*/ 5 h 235"/>
                  <a:gd name="T52" fmla="*/ 6 w 313"/>
                  <a:gd name="T53" fmla="*/ 44 h 235"/>
                  <a:gd name="T54" fmla="*/ 14 w 313"/>
                  <a:gd name="T55" fmla="*/ 40 h 235"/>
                  <a:gd name="T56" fmla="*/ 25 w 313"/>
                  <a:gd name="T57" fmla="*/ 39 h 235"/>
                  <a:gd name="T58" fmla="*/ 31 w 313"/>
                  <a:gd name="T59" fmla="*/ 40 h 235"/>
                  <a:gd name="T60" fmla="*/ 41 w 313"/>
                  <a:gd name="T61" fmla="*/ 47 h 235"/>
                  <a:gd name="T62" fmla="*/ 73 w 313"/>
                  <a:gd name="T63" fmla="*/ 107 h 235"/>
                  <a:gd name="T64" fmla="*/ 49 w 313"/>
                  <a:gd name="T65" fmla="*/ 235 h 235"/>
                  <a:gd name="T66" fmla="*/ 135 w 313"/>
                  <a:gd name="T67" fmla="*/ 13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13" h="235">
                    <a:moveTo>
                      <a:pt x="135" y="235"/>
                    </a:moveTo>
                    <a:lnTo>
                      <a:pt x="179" y="235"/>
                    </a:lnTo>
                    <a:lnTo>
                      <a:pt x="179" y="131"/>
                    </a:lnTo>
                    <a:lnTo>
                      <a:pt x="206" y="131"/>
                    </a:lnTo>
                    <a:lnTo>
                      <a:pt x="264" y="235"/>
                    </a:lnTo>
                    <a:lnTo>
                      <a:pt x="313" y="235"/>
                    </a:lnTo>
                    <a:lnTo>
                      <a:pt x="240" y="107"/>
                    </a:lnTo>
                    <a:lnTo>
                      <a:pt x="269" y="53"/>
                    </a:lnTo>
                    <a:lnTo>
                      <a:pt x="269" y="53"/>
                    </a:lnTo>
                    <a:lnTo>
                      <a:pt x="273" y="47"/>
                    </a:lnTo>
                    <a:lnTo>
                      <a:pt x="277" y="43"/>
                    </a:lnTo>
                    <a:lnTo>
                      <a:pt x="283" y="40"/>
                    </a:lnTo>
                    <a:lnTo>
                      <a:pt x="289" y="39"/>
                    </a:lnTo>
                    <a:lnTo>
                      <a:pt x="289" y="39"/>
                    </a:lnTo>
                    <a:lnTo>
                      <a:pt x="295" y="39"/>
                    </a:lnTo>
                    <a:lnTo>
                      <a:pt x="300" y="40"/>
                    </a:lnTo>
                    <a:lnTo>
                      <a:pt x="304" y="42"/>
                    </a:lnTo>
                    <a:lnTo>
                      <a:pt x="307" y="44"/>
                    </a:lnTo>
                    <a:lnTo>
                      <a:pt x="307" y="5"/>
                    </a:lnTo>
                    <a:lnTo>
                      <a:pt x="307" y="5"/>
                    </a:lnTo>
                    <a:lnTo>
                      <a:pt x="296" y="1"/>
                    </a:lnTo>
                    <a:lnTo>
                      <a:pt x="291" y="0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277" y="0"/>
                    </a:lnTo>
                    <a:lnTo>
                      <a:pt x="270" y="2"/>
                    </a:lnTo>
                    <a:lnTo>
                      <a:pt x="264" y="5"/>
                    </a:lnTo>
                    <a:lnTo>
                      <a:pt x="258" y="8"/>
                    </a:lnTo>
                    <a:lnTo>
                      <a:pt x="252" y="13"/>
                    </a:lnTo>
                    <a:lnTo>
                      <a:pt x="247" y="19"/>
                    </a:lnTo>
                    <a:lnTo>
                      <a:pt x="243" y="26"/>
                    </a:lnTo>
                    <a:lnTo>
                      <a:pt x="238" y="35"/>
                    </a:lnTo>
                    <a:lnTo>
                      <a:pt x="206" y="94"/>
                    </a:lnTo>
                    <a:lnTo>
                      <a:pt x="179" y="94"/>
                    </a:lnTo>
                    <a:lnTo>
                      <a:pt x="179" y="5"/>
                    </a:lnTo>
                    <a:lnTo>
                      <a:pt x="135" y="5"/>
                    </a:lnTo>
                    <a:lnTo>
                      <a:pt x="135" y="94"/>
                    </a:lnTo>
                    <a:lnTo>
                      <a:pt x="108" y="94"/>
                    </a:lnTo>
                    <a:lnTo>
                      <a:pt x="75" y="35"/>
                    </a:lnTo>
                    <a:lnTo>
                      <a:pt x="75" y="35"/>
                    </a:lnTo>
                    <a:lnTo>
                      <a:pt x="71" y="26"/>
                    </a:lnTo>
                    <a:lnTo>
                      <a:pt x="66" y="19"/>
                    </a:lnTo>
                    <a:lnTo>
                      <a:pt x="61" y="13"/>
                    </a:lnTo>
                    <a:lnTo>
                      <a:pt x="56" y="8"/>
                    </a:lnTo>
                    <a:lnTo>
                      <a:pt x="50" y="5"/>
                    </a:lnTo>
                    <a:lnTo>
                      <a:pt x="43" y="2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3" y="0"/>
                    </a:lnTo>
                    <a:lnTo>
                      <a:pt x="17" y="1"/>
                    </a:lnTo>
                    <a:lnTo>
                      <a:pt x="6" y="5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0" y="42"/>
                    </a:lnTo>
                    <a:lnTo>
                      <a:pt x="14" y="40"/>
                    </a:lnTo>
                    <a:lnTo>
                      <a:pt x="19" y="39"/>
                    </a:lnTo>
                    <a:lnTo>
                      <a:pt x="25" y="39"/>
                    </a:lnTo>
                    <a:lnTo>
                      <a:pt x="25" y="39"/>
                    </a:lnTo>
                    <a:lnTo>
                      <a:pt x="31" y="40"/>
                    </a:lnTo>
                    <a:lnTo>
                      <a:pt x="36" y="43"/>
                    </a:lnTo>
                    <a:lnTo>
                      <a:pt x="41" y="47"/>
                    </a:lnTo>
                    <a:lnTo>
                      <a:pt x="45" y="53"/>
                    </a:lnTo>
                    <a:lnTo>
                      <a:pt x="73" y="107"/>
                    </a:lnTo>
                    <a:lnTo>
                      <a:pt x="0" y="235"/>
                    </a:lnTo>
                    <a:lnTo>
                      <a:pt x="49" y="235"/>
                    </a:lnTo>
                    <a:lnTo>
                      <a:pt x="108" y="131"/>
                    </a:lnTo>
                    <a:lnTo>
                      <a:pt x="135" y="131"/>
                    </a:lnTo>
                    <a:lnTo>
                      <a:pt x="135" y="23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6" name="Freeform 55"/>
              <p:cNvSpPr>
                <a:spLocks/>
              </p:cNvSpPr>
              <p:nvPr userDrawn="1"/>
            </p:nvSpPr>
            <p:spPr bwMode="auto">
              <a:xfrm>
                <a:off x="1593850" y="6363507"/>
                <a:ext cx="73025" cy="90488"/>
              </a:xfrm>
              <a:custGeom>
                <a:avLst/>
                <a:gdLst>
                  <a:gd name="T0" fmla="*/ 139 w 184"/>
                  <a:gd name="T1" fmla="*/ 0 h 230"/>
                  <a:gd name="T2" fmla="*/ 139 w 184"/>
                  <a:gd name="T3" fmla="*/ 87 h 230"/>
                  <a:gd name="T4" fmla="*/ 45 w 184"/>
                  <a:gd name="T5" fmla="*/ 87 h 230"/>
                  <a:gd name="T6" fmla="*/ 45 w 184"/>
                  <a:gd name="T7" fmla="*/ 0 h 230"/>
                  <a:gd name="T8" fmla="*/ 0 w 184"/>
                  <a:gd name="T9" fmla="*/ 0 h 230"/>
                  <a:gd name="T10" fmla="*/ 0 w 184"/>
                  <a:gd name="T11" fmla="*/ 230 h 230"/>
                  <a:gd name="T12" fmla="*/ 45 w 184"/>
                  <a:gd name="T13" fmla="*/ 230 h 230"/>
                  <a:gd name="T14" fmla="*/ 45 w 184"/>
                  <a:gd name="T15" fmla="*/ 126 h 230"/>
                  <a:gd name="T16" fmla="*/ 139 w 184"/>
                  <a:gd name="T17" fmla="*/ 126 h 230"/>
                  <a:gd name="T18" fmla="*/ 139 w 184"/>
                  <a:gd name="T19" fmla="*/ 230 h 230"/>
                  <a:gd name="T20" fmla="*/ 184 w 184"/>
                  <a:gd name="T21" fmla="*/ 230 h 230"/>
                  <a:gd name="T22" fmla="*/ 184 w 184"/>
                  <a:gd name="T23" fmla="*/ 0 h 230"/>
                  <a:gd name="T24" fmla="*/ 139 w 184"/>
                  <a:gd name="T25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4" h="230">
                    <a:moveTo>
                      <a:pt x="139" y="0"/>
                    </a:moveTo>
                    <a:lnTo>
                      <a:pt x="139" y="87"/>
                    </a:lnTo>
                    <a:lnTo>
                      <a:pt x="45" y="87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5" y="230"/>
                    </a:lnTo>
                    <a:lnTo>
                      <a:pt x="45" y="126"/>
                    </a:lnTo>
                    <a:lnTo>
                      <a:pt x="139" y="126"/>
                    </a:lnTo>
                    <a:lnTo>
                      <a:pt x="139" y="230"/>
                    </a:lnTo>
                    <a:lnTo>
                      <a:pt x="184" y="230"/>
                    </a:lnTo>
                    <a:lnTo>
                      <a:pt x="184" y="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7" name="Freeform 56"/>
              <p:cNvSpPr>
                <a:spLocks noEditPoints="1"/>
              </p:cNvSpPr>
              <p:nvPr userDrawn="1"/>
            </p:nvSpPr>
            <p:spPr bwMode="auto">
              <a:xfrm>
                <a:off x="1689100" y="6363507"/>
                <a:ext cx="100013" cy="90488"/>
              </a:xfrm>
              <a:custGeom>
                <a:avLst/>
                <a:gdLst>
                  <a:gd name="T0" fmla="*/ 0 w 248"/>
                  <a:gd name="T1" fmla="*/ 0 h 230"/>
                  <a:gd name="T2" fmla="*/ 91 w 248"/>
                  <a:gd name="T3" fmla="*/ 230 h 230"/>
                  <a:gd name="T4" fmla="*/ 99 w 248"/>
                  <a:gd name="T5" fmla="*/ 229 h 230"/>
                  <a:gd name="T6" fmla="*/ 115 w 248"/>
                  <a:gd name="T7" fmla="*/ 227 h 230"/>
                  <a:gd name="T8" fmla="*/ 129 w 248"/>
                  <a:gd name="T9" fmla="*/ 222 h 230"/>
                  <a:gd name="T10" fmla="*/ 142 w 248"/>
                  <a:gd name="T11" fmla="*/ 215 h 230"/>
                  <a:gd name="T12" fmla="*/ 152 w 248"/>
                  <a:gd name="T13" fmla="*/ 206 h 230"/>
                  <a:gd name="T14" fmla="*/ 160 w 248"/>
                  <a:gd name="T15" fmla="*/ 194 h 230"/>
                  <a:gd name="T16" fmla="*/ 166 w 248"/>
                  <a:gd name="T17" fmla="*/ 180 h 230"/>
                  <a:gd name="T18" fmla="*/ 169 w 248"/>
                  <a:gd name="T19" fmla="*/ 164 h 230"/>
                  <a:gd name="T20" fmla="*/ 169 w 248"/>
                  <a:gd name="T21" fmla="*/ 155 h 230"/>
                  <a:gd name="T22" fmla="*/ 168 w 248"/>
                  <a:gd name="T23" fmla="*/ 137 h 230"/>
                  <a:gd name="T24" fmla="*/ 163 w 248"/>
                  <a:gd name="T25" fmla="*/ 122 h 230"/>
                  <a:gd name="T26" fmla="*/ 157 w 248"/>
                  <a:gd name="T27" fmla="*/ 109 h 230"/>
                  <a:gd name="T28" fmla="*/ 148 w 248"/>
                  <a:gd name="T29" fmla="*/ 99 h 230"/>
                  <a:gd name="T30" fmla="*/ 137 w 248"/>
                  <a:gd name="T31" fmla="*/ 91 h 230"/>
                  <a:gd name="T32" fmla="*/ 124 w 248"/>
                  <a:gd name="T33" fmla="*/ 85 h 230"/>
                  <a:gd name="T34" fmla="*/ 109 w 248"/>
                  <a:gd name="T35" fmla="*/ 81 h 230"/>
                  <a:gd name="T36" fmla="*/ 93 w 248"/>
                  <a:gd name="T37" fmla="*/ 80 h 230"/>
                  <a:gd name="T38" fmla="*/ 45 w 248"/>
                  <a:gd name="T39" fmla="*/ 0 h 230"/>
                  <a:gd name="T40" fmla="*/ 45 w 248"/>
                  <a:gd name="T41" fmla="*/ 117 h 230"/>
                  <a:gd name="T42" fmla="*/ 89 w 248"/>
                  <a:gd name="T43" fmla="*/ 117 h 230"/>
                  <a:gd name="T44" fmla="*/ 105 w 248"/>
                  <a:gd name="T45" fmla="*/ 120 h 230"/>
                  <a:gd name="T46" fmla="*/ 116 w 248"/>
                  <a:gd name="T47" fmla="*/ 127 h 230"/>
                  <a:gd name="T48" fmla="*/ 124 w 248"/>
                  <a:gd name="T49" fmla="*/ 138 h 230"/>
                  <a:gd name="T50" fmla="*/ 126 w 248"/>
                  <a:gd name="T51" fmla="*/ 155 h 230"/>
                  <a:gd name="T52" fmla="*/ 126 w 248"/>
                  <a:gd name="T53" fmla="*/ 163 h 230"/>
                  <a:gd name="T54" fmla="*/ 121 w 248"/>
                  <a:gd name="T55" fmla="*/ 177 h 230"/>
                  <a:gd name="T56" fmla="*/ 112 w 248"/>
                  <a:gd name="T57" fmla="*/ 187 h 230"/>
                  <a:gd name="T58" fmla="*/ 98 w 248"/>
                  <a:gd name="T59" fmla="*/ 192 h 230"/>
                  <a:gd name="T60" fmla="*/ 45 w 248"/>
                  <a:gd name="T61" fmla="*/ 192 h 230"/>
                  <a:gd name="T62" fmla="*/ 248 w 248"/>
                  <a:gd name="T63" fmla="*/ 0 h 230"/>
                  <a:gd name="T64" fmla="*/ 203 w 248"/>
                  <a:gd name="T65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8" h="230">
                    <a:moveTo>
                      <a:pt x="45" y="0"/>
                    </a:moveTo>
                    <a:lnTo>
                      <a:pt x="0" y="0"/>
                    </a:lnTo>
                    <a:lnTo>
                      <a:pt x="0" y="230"/>
                    </a:lnTo>
                    <a:lnTo>
                      <a:pt x="91" y="230"/>
                    </a:lnTo>
                    <a:lnTo>
                      <a:pt x="91" y="230"/>
                    </a:lnTo>
                    <a:lnTo>
                      <a:pt x="99" y="229"/>
                    </a:lnTo>
                    <a:lnTo>
                      <a:pt x="107" y="228"/>
                    </a:lnTo>
                    <a:lnTo>
                      <a:pt x="115" y="227"/>
                    </a:lnTo>
                    <a:lnTo>
                      <a:pt x="122" y="225"/>
                    </a:lnTo>
                    <a:lnTo>
                      <a:pt x="129" y="222"/>
                    </a:lnTo>
                    <a:lnTo>
                      <a:pt x="136" y="219"/>
                    </a:lnTo>
                    <a:lnTo>
                      <a:pt x="142" y="215"/>
                    </a:lnTo>
                    <a:lnTo>
                      <a:pt x="147" y="211"/>
                    </a:lnTo>
                    <a:lnTo>
                      <a:pt x="152" y="206"/>
                    </a:lnTo>
                    <a:lnTo>
                      <a:pt x="157" y="200"/>
                    </a:lnTo>
                    <a:lnTo>
                      <a:pt x="160" y="194"/>
                    </a:lnTo>
                    <a:lnTo>
                      <a:pt x="163" y="187"/>
                    </a:lnTo>
                    <a:lnTo>
                      <a:pt x="166" y="180"/>
                    </a:lnTo>
                    <a:lnTo>
                      <a:pt x="168" y="172"/>
                    </a:lnTo>
                    <a:lnTo>
                      <a:pt x="169" y="164"/>
                    </a:lnTo>
                    <a:lnTo>
                      <a:pt x="169" y="155"/>
                    </a:lnTo>
                    <a:lnTo>
                      <a:pt x="169" y="155"/>
                    </a:lnTo>
                    <a:lnTo>
                      <a:pt x="169" y="146"/>
                    </a:lnTo>
                    <a:lnTo>
                      <a:pt x="168" y="137"/>
                    </a:lnTo>
                    <a:lnTo>
                      <a:pt x="166" y="129"/>
                    </a:lnTo>
                    <a:lnTo>
                      <a:pt x="163" y="122"/>
                    </a:lnTo>
                    <a:lnTo>
                      <a:pt x="160" y="115"/>
                    </a:lnTo>
                    <a:lnTo>
                      <a:pt x="157" y="109"/>
                    </a:lnTo>
                    <a:lnTo>
                      <a:pt x="152" y="104"/>
                    </a:lnTo>
                    <a:lnTo>
                      <a:pt x="148" y="99"/>
                    </a:lnTo>
                    <a:lnTo>
                      <a:pt x="142" y="94"/>
                    </a:lnTo>
                    <a:lnTo>
                      <a:pt x="137" y="91"/>
                    </a:lnTo>
                    <a:lnTo>
                      <a:pt x="130" y="88"/>
                    </a:lnTo>
                    <a:lnTo>
                      <a:pt x="124" y="85"/>
                    </a:lnTo>
                    <a:lnTo>
                      <a:pt x="117" y="83"/>
                    </a:lnTo>
                    <a:lnTo>
                      <a:pt x="109" y="81"/>
                    </a:lnTo>
                    <a:lnTo>
                      <a:pt x="101" y="81"/>
                    </a:lnTo>
                    <a:lnTo>
                      <a:pt x="93" y="80"/>
                    </a:lnTo>
                    <a:lnTo>
                      <a:pt x="45" y="80"/>
                    </a:lnTo>
                    <a:lnTo>
                      <a:pt x="45" y="0"/>
                    </a:lnTo>
                    <a:close/>
                    <a:moveTo>
                      <a:pt x="45" y="192"/>
                    </a:moveTo>
                    <a:lnTo>
                      <a:pt x="45" y="117"/>
                    </a:lnTo>
                    <a:lnTo>
                      <a:pt x="89" y="117"/>
                    </a:lnTo>
                    <a:lnTo>
                      <a:pt x="89" y="117"/>
                    </a:lnTo>
                    <a:lnTo>
                      <a:pt x="98" y="118"/>
                    </a:lnTo>
                    <a:lnTo>
                      <a:pt x="105" y="120"/>
                    </a:lnTo>
                    <a:lnTo>
                      <a:pt x="111" y="123"/>
                    </a:lnTo>
                    <a:lnTo>
                      <a:pt x="116" y="127"/>
                    </a:lnTo>
                    <a:lnTo>
                      <a:pt x="121" y="132"/>
                    </a:lnTo>
                    <a:lnTo>
                      <a:pt x="124" y="138"/>
                    </a:lnTo>
                    <a:lnTo>
                      <a:pt x="126" y="147"/>
                    </a:lnTo>
                    <a:lnTo>
                      <a:pt x="126" y="155"/>
                    </a:lnTo>
                    <a:lnTo>
                      <a:pt x="126" y="155"/>
                    </a:lnTo>
                    <a:lnTo>
                      <a:pt x="126" y="163"/>
                    </a:lnTo>
                    <a:lnTo>
                      <a:pt x="124" y="171"/>
                    </a:lnTo>
                    <a:lnTo>
                      <a:pt x="121" y="177"/>
                    </a:lnTo>
                    <a:lnTo>
                      <a:pt x="117" y="182"/>
                    </a:lnTo>
                    <a:lnTo>
                      <a:pt x="112" y="187"/>
                    </a:lnTo>
                    <a:lnTo>
                      <a:pt x="106" y="190"/>
                    </a:lnTo>
                    <a:lnTo>
                      <a:pt x="98" y="192"/>
                    </a:lnTo>
                    <a:lnTo>
                      <a:pt x="89" y="192"/>
                    </a:lnTo>
                    <a:lnTo>
                      <a:pt x="45" y="192"/>
                    </a:lnTo>
                    <a:close/>
                    <a:moveTo>
                      <a:pt x="248" y="230"/>
                    </a:moveTo>
                    <a:lnTo>
                      <a:pt x="248" y="0"/>
                    </a:lnTo>
                    <a:lnTo>
                      <a:pt x="203" y="0"/>
                    </a:lnTo>
                    <a:lnTo>
                      <a:pt x="203" y="230"/>
                    </a:lnTo>
                    <a:lnTo>
                      <a:pt x="248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8" name="Freeform 57"/>
              <p:cNvSpPr>
                <a:spLocks noEditPoints="1"/>
              </p:cNvSpPr>
              <p:nvPr userDrawn="1"/>
            </p:nvSpPr>
            <p:spPr bwMode="auto">
              <a:xfrm>
                <a:off x="1806575" y="6360332"/>
                <a:ext cx="77788" cy="95250"/>
              </a:xfrm>
              <a:custGeom>
                <a:avLst/>
                <a:gdLst>
                  <a:gd name="T0" fmla="*/ 196 w 196"/>
                  <a:gd name="T1" fmla="*/ 114 h 239"/>
                  <a:gd name="T2" fmla="*/ 195 w 196"/>
                  <a:gd name="T3" fmla="*/ 92 h 239"/>
                  <a:gd name="T4" fmla="*/ 190 w 196"/>
                  <a:gd name="T5" fmla="*/ 70 h 239"/>
                  <a:gd name="T6" fmla="*/ 183 w 196"/>
                  <a:gd name="T7" fmla="*/ 51 h 239"/>
                  <a:gd name="T8" fmla="*/ 173 w 196"/>
                  <a:gd name="T9" fmla="*/ 34 h 239"/>
                  <a:gd name="T10" fmla="*/ 159 w 196"/>
                  <a:gd name="T11" fmla="*/ 20 h 239"/>
                  <a:gd name="T12" fmla="*/ 143 w 196"/>
                  <a:gd name="T13" fmla="*/ 9 h 239"/>
                  <a:gd name="T14" fmla="*/ 123 w 196"/>
                  <a:gd name="T15" fmla="*/ 2 h 239"/>
                  <a:gd name="T16" fmla="*/ 100 w 196"/>
                  <a:gd name="T17" fmla="*/ 0 h 239"/>
                  <a:gd name="T18" fmla="*/ 89 w 196"/>
                  <a:gd name="T19" fmla="*/ 0 h 239"/>
                  <a:gd name="T20" fmla="*/ 69 w 196"/>
                  <a:gd name="T21" fmla="*/ 4 h 239"/>
                  <a:gd name="T22" fmla="*/ 51 w 196"/>
                  <a:gd name="T23" fmla="*/ 12 h 239"/>
                  <a:gd name="T24" fmla="*/ 35 w 196"/>
                  <a:gd name="T25" fmla="*/ 23 h 239"/>
                  <a:gd name="T26" fmla="*/ 21 w 196"/>
                  <a:gd name="T27" fmla="*/ 38 h 239"/>
                  <a:gd name="T28" fmla="*/ 11 w 196"/>
                  <a:gd name="T29" fmla="*/ 57 h 239"/>
                  <a:gd name="T30" fmla="*/ 4 w 196"/>
                  <a:gd name="T31" fmla="*/ 79 h 239"/>
                  <a:gd name="T32" fmla="*/ 0 w 196"/>
                  <a:gd name="T33" fmla="*/ 105 h 239"/>
                  <a:gd name="T34" fmla="*/ 0 w 196"/>
                  <a:gd name="T35" fmla="*/ 119 h 239"/>
                  <a:gd name="T36" fmla="*/ 2 w 196"/>
                  <a:gd name="T37" fmla="*/ 147 h 239"/>
                  <a:gd name="T38" fmla="*/ 8 w 196"/>
                  <a:gd name="T39" fmla="*/ 173 h 239"/>
                  <a:gd name="T40" fmla="*/ 18 w 196"/>
                  <a:gd name="T41" fmla="*/ 193 h 239"/>
                  <a:gd name="T42" fmla="*/ 30 w 196"/>
                  <a:gd name="T43" fmla="*/ 209 h 239"/>
                  <a:gd name="T44" fmla="*/ 36 w 196"/>
                  <a:gd name="T45" fmla="*/ 215 h 239"/>
                  <a:gd name="T46" fmla="*/ 51 w 196"/>
                  <a:gd name="T47" fmla="*/ 226 h 239"/>
                  <a:gd name="T48" fmla="*/ 68 w 196"/>
                  <a:gd name="T49" fmla="*/ 234 h 239"/>
                  <a:gd name="T50" fmla="*/ 88 w 196"/>
                  <a:gd name="T51" fmla="*/ 239 h 239"/>
                  <a:gd name="T52" fmla="*/ 99 w 196"/>
                  <a:gd name="T53" fmla="*/ 239 h 239"/>
                  <a:gd name="T54" fmla="*/ 124 w 196"/>
                  <a:gd name="T55" fmla="*/ 237 h 239"/>
                  <a:gd name="T56" fmla="*/ 145 w 196"/>
                  <a:gd name="T57" fmla="*/ 231 h 239"/>
                  <a:gd name="T58" fmla="*/ 153 w 196"/>
                  <a:gd name="T59" fmla="*/ 227 h 239"/>
                  <a:gd name="T60" fmla="*/ 169 w 196"/>
                  <a:gd name="T61" fmla="*/ 217 h 239"/>
                  <a:gd name="T62" fmla="*/ 151 w 196"/>
                  <a:gd name="T63" fmla="*/ 180 h 239"/>
                  <a:gd name="T64" fmla="*/ 139 w 196"/>
                  <a:gd name="T65" fmla="*/ 188 h 239"/>
                  <a:gd name="T66" fmla="*/ 128 w 196"/>
                  <a:gd name="T67" fmla="*/ 194 h 239"/>
                  <a:gd name="T68" fmla="*/ 115 w 196"/>
                  <a:gd name="T69" fmla="*/ 197 h 239"/>
                  <a:gd name="T70" fmla="*/ 101 w 196"/>
                  <a:gd name="T71" fmla="*/ 199 h 239"/>
                  <a:gd name="T72" fmla="*/ 91 w 196"/>
                  <a:gd name="T73" fmla="*/ 198 h 239"/>
                  <a:gd name="T74" fmla="*/ 72 w 196"/>
                  <a:gd name="T75" fmla="*/ 191 h 239"/>
                  <a:gd name="T76" fmla="*/ 57 w 196"/>
                  <a:gd name="T77" fmla="*/ 175 h 239"/>
                  <a:gd name="T78" fmla="*/ 47 w 196"/>
                  <a:gd name="T79" fmla="*/ 151 h 239"/>
                  <a:gd name="T80" fmla="*/ 195 w 196"/>
                  <a:gd name="T81" fmla="*/ 135 h 239"/>
                  <a:gd name="T82" fmla="*/ 196 w 196"/>
                  <a:gd name="T83" fmla="*/ 126 h 239"/>
                  <a:gd name="T84" fmla="*/ 196 w 196"/>
                  <a:gd name="T85" fmla="*/ 114 h 239"/>
                  <a:gd name="T86" fmla="*/ 45 w 196"/>
                  <a:gd name="T87" fmla="*/ 98 h 239"/>
                  <a:gd name="T88" fmla="*/ 50 w 196"/>
                  <a:gd name="T89" fmla="*/ 73 h 239"/>
                  <a:gd name="T90" fmla="*/ 61 w 196"/>
                  <a:gd name="T91" fmla="*/ 55 h 239"/>
                  <a:gd name="T92" fmla="*/ 76 w 196"/>
                  <a:gd name="T93" fmla="*/ 44 h 239"/>
                  <a:gd name="T94" fmla="*/ 97 w 196"/>
                  <a:gd name="T95" fmla="*/ 40 h 239"/>
                  <a:gd name="T96" fmla="*/ 104 w 196"/>
                  <a:gd name="T97" fmla="*/ 41 h 239"/>
                  <a:gd name="T98" fmla="*/ 116 w 196"/>
                  <a:gd name="T99" fmla="*/ 43 h 239"/>
                  <a:gd name="T100" fmla="*/ 126 w 196"/>
                  <a:gd name="T101" fmla="*/ 47 h 239"/>
                  <a:gd name="T102" fmla="*/ 137 w 196"/>
                  <a:gd name="T103" fmla="*/ 57 h 239"/>
                  <a:gd name="T104" fmla="*/ 147 w 196"/>
                  <a:gd name="T105" fmla="*/ 76 h 239"/>
                  <a:gd name="T106" fmla="*/ 151 w 196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6" h="239">
                    <a:moveTo>
                      <a:pt x="196" y="114"/>
                    </a:moveTo>
                    <a:lnTo>
                      <a:pt x="196" y="114"/>
                    </a:lnTo>
                    <a:lnTo>
                      <a:pt x="196" y="103"/>
                    </a:lnTo>
                    <a:lnTo>
                      <a:pt x="195" y="92"/>
                    </a:lnTo>
                    <a:lnTo>
                      <a:pt x="193" y="81"/>
                    </a:lnTo>
                    <a:lnTo>
                      <a:pt x="190" y="70"/>
                    </a:lnTo>
                    <a:lnTo>
                      <a:pt x="187" y="60"/>
                    </a:lnTo>
                    <a:lnTo>
                      <a:pt x="183" y="51"/>
                    </a:lnTo>
                    <a:lnTo>
                      <a:pt x="178" y="42"/>
                    </a:lnTo>
                    <a:lnTo>
                      <a:pt x="173" y="34"/>
                    </a:lnTo>
                    <a:lnTo>
                      <a:pt x="166" y="26"/>
                    </a:lnTo>
                    <a:lnTo>
                      <a:pt x="159" y="20"/>
                    </a:lnTo>
                    <a:lnTo>
                      <a:pt x="151" y="14"/>
                    </a:lnTo>
                    <a:lnTo>
                      <a:pt x="143" y="9"/>
                    </a:lnTo>
                    <a:lnTo>
                      <a:pt x="133" y="5"/>
                    </a:lnTo>
                    <a:lnTo>
                      <a:pt x="123" y="2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9" y="2"/>
                    </a:lnTo>
                    <a:lnTo>
                      <a:pt x="69" y="4"/>
                    </a:lnTo>
                    <a:lnTo>
                      <a:pt x="59" y="8"/>
                    </a:lnTo>
                    <a:lnTo>
                      <a:pt x="51" y="12"/>
                    </a:lnTo>
                    <a:lnTo>
                      <a:pt x="42" y="17"/>
                    </a:lnTo>
                    <a:lnTo>
                      <a:pt x="35" y="23"/>
                    </a:lnTo>
                    <a:lnTo>
                      <a:pt x="28" y="30"/>
                    </a:lnTo>
                    <a:lnTo>
                      <a:pt x="21" y="38"/>
                    </a:lnTo>
                    <a:lnTo>
                      <a:pt x="16" y="47"/>
                    </a:lnTo>
                    <a:lnTo>
                      <a:pt x="11" y="57"/>
                    </a:lnTo>
                    <a:lnTo>
                      <a:pt x="7" y="68"/>
                    </a:lnTo>
                    <a:lnTo>
                      <a:pt x="4" y="79"/>
                    </a:lnTo>
                    <a:lnTo>
                      <a:pt x="2" y="92"/>
                    </a:lnTo>
                    <a:lnTo>
                      <a:pt x="0" y="105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0" y="134"/>
                    </a:lnTo>
                    <a:lnTo>
                      <a:pt x="2" y="147"/>
                    </a:lnTo>
                    <a:lnTo>
                      <a:pt x="5" y="161"/>
                    </a:lnTo>
                    <a:lnTo>
                      <a:pt x="8" y="173"/>
                    </a:lnTo>
                    <a:lnTo>
                      <a:pt x="13" y="184"/>
                    </a:lnTo>
                    <a:lnTo>
                      <a:pt x="18" y="193"/>
                    </a:lnTo>
                    <a:lnTo>
                      <a:pt x="24" y="202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1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7" y="237"/>
                    </a:lnTo>
                    <a:lnTo>
                      <a:pt x="88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9"/>
                    </a:lnTo>
                    <a:lnTo>
                      <a:pt x="124" y="237"/>
                    </a:lnTo>
                    <a:lnTo>
                      <a:pt x="135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3" y="227"/>
                    </a:lnTo>
                    <a:lnTo>
                      <a:pt x="161" y="222"/>
                    </a:lnTo>
                    <a:lnTo>
                      <a:pt x="169" y="217"/>
                    </a:lnTo>
                    <a:lnTo>
                      <a:pt x="178" y="209"/>
                    </a:lnTo>
                    <a:lnTo>
                      <a:pt x="151" y="180"/>
                    </a:lnTo>
                    <a:lnTo>
                      <a:pt x="151" y="180"/>
                    </a:lnTo>
                    <a:lnTo>
                      <a:pt x="139" y="188"/>
                    </a:lnTo>
                    <a:lnTo>
                      <a:pt x="128" y="194"/>
                    </a:lnTo>
                    <a:lnTo>
                      <a:pt x="128" y="194"/>
                    </a:lnTo>
                    <a:lnTo>
                      <a:pt x="122" y="196"/>
                    </a:lnTo>
                    <a:lnTo>
                      <a:pt x="115" y="197"/>
                    </a:lnTo>
                    <a:lnTo>
                      <a:pt x="109" y="198"/>
                    </a:lnTo>
                    <a:lnTo>
                      <a:pt x="101" y="199"/>
                    </a:lnTo>
                    <a:lnTo>
                      <a:pt x="101" y="199"/>
                    </a:lnTo>
                    <a:lnTo>
                      <a:pt x="91" y="198"/>
                    </a:lnTo>
                    <a:lnTo>
                      <a:pt x="81" y="195"/>
                    </a:lnTo>
                    <a:lnTo>
                      <a:pt x="72" y="191"/>
                    </a:lnTo>
                    <a:lnTo>
                      <a:pt x="64" y="184"/>
                    </a:lnTo>
                    <a:lnTo>
                      <a:pt x="57" y="175"/>
                    </a:lnTo>
                    <a:lnTo>
                      <a:pt x="51" y="164"/>
                    </a:lnTo>
                    <a:lnTo>
                      <a:pt x="47" y="151"/>
                    </a:lnTo>
                    <a:lnTo>
                      <a:pt x="44" y="135"/>
                    </a:lnTo>
                    <a:lnTo>
                      <a:pt x="195" y="135"/>
                    </a:lnTo>
                    <a:lnTo>
                      <a:pt x="195" y="135"/>
                    </a:lnTo>
                    <a:lnTo>
                      <a:pt x="196" y="126"/>
                    </a:lnTo>
                    <a:lnTo>
                      <a:pt x="196" y="114"/>
                    </a:lnTo>
                    <a:lnTo>
                      <a:pt x="196" y="114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0" y="73"/>
                    </a:lnTo>
                    <a:lnTo>
                      <a:pt x="55" y="64"/>
                    </a:lnTo>
                    <a:lnTo>
                      <a:pt x="61" y="55"/>
                    </a:lnTo>
                    <a:lnTo>
                      <a:pt x="68" y="49"/>
                    </a:lnTo>
                    <a:lnTo>
                      <a:pt x="76" y="44"/>
                    </a:lnTo>
                    <a:lnTo>
                      <a:pt x="86" y="41"/>
                    </a:lnTo>
                    <a:lnTo>
                      <a:pt x="97" y="40"/>
                    </a:lnTo>
                    <a:lnTo>
                      <a:pt x="97" y="40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21" y="45"/>
                    </a:lnTo>
                    <a:lnTo>
                      <a:pt x="126" y="47"/>
                    </a:lnTo>
                    <a:lnTo>
                      <a:pt x="130" y="50"/>
                    </a:lnTo>
                    <a:lnTo>
                      <a:pt x="137" y="57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6"/>
                    </a:lnTo>
                    <a:lnTo>
                      <a:pt x="151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59" name="Freeform 58"/>
              <p:cNvSpPr>
                <a:spLocks/>
              </p:cNvSpPr>
              <p:nvPr userDrawn="1"/>
            </p:nvSpPr>
            <p:spPr bwMode="auto">
              <a:xfrm>
                <a:off x="1938337" y="6360332"/>
                <a:ext cx="71438" cy="95250"/>
              </a:xfrm>
              <a:custGeom>
                <a:avLst/>
                <a:gdLst>
                  <a:gd name="T0" fmla="*/ 92 w 177"/>
                  <a:gd name="T1" fmla="*/ 131 h 239"/>
                  <a:gd name="T2" fmla="*/ 117 w 177"/>
                  <a:gd name="T3" fmla="*/ 137 h 239"/>
                  <a:gd name="T4" fmla="*/ 129 w 177"/>
                  <a:gd name="T5" fmla="*/ 153 h 239"/>
                  <a:gd name="T6" fmla="*/ 132 w 177"/>
                  <a:gd name="T7" fmla="*/ 166 h 239"/>
                  <a:gd name="T8" fmla="*/ 126 w 177"/>
                  <a:gd name="T9" fmla="*/ 185 h 239"/>
                  <a:gd name="T10" fmla="*/ 106 w 177"/>
                  <a:gd name="T11" fmla="*/ 198 h 239"/>
                  <a:gd name="T12" fmla="*/ 85 w 177"/>
                  <a:gd name="T13" fmla="*/ 201 h 239"/>
                  <a:gd name="T14" fmla="*/ 60 w 177"/>
                  <a:gd name="T15" fmla="*/ 197 h 239"/>
                  <a:gd name="T16" fmla="*/ 36 w 177"/>
                  <a:gd name="T17" fmla="*/ 187 h 239"/>
                  <a:gd name="T18" fmla="*/ 0 w 177"/>
                  <a:gd name="T19" fmla="*/ 210 h 239"/>
                  <a:gd name="T20" fmla="*/ 18 w 177"/>
                  <a:gd name="T21" fmla="*/ 222 h 239"/>
                  <a:gd name="T22" fmla="*/ 49 w 177"/>
                  <a:gd name="T23" fmla="*/ 235 h 239"/>
                  <a:gd name="T24" fmla="*/ 83 w 177"/>
                  <a:gd name="T25" fmla="*/ 239 h 239"/>
                  <a:gd name="T26" fmla="*/ 106 w 177"/>
                  <a:gd name="T27" fmla="*/ 238 h 239"/>
                  <a:gd name="T28" fmla="*/ 133 w 177"/>
                  <a:gd name="T29" fmla="*/ 231 h 239"/>
                  <a:gd name="T30" fmla="*/ 154 w 177"/>
                  <a:gd name="T31" fmla="*/ 218 h 239"/>
                  <a:gd name="T32" fmla="*/ 168 w 177"/>
                  <a:gd name="T33" fmla="*/ 202 h 239"/>
                  <a:gd name="T34" fmla="*/ 175 w 177"/>
                  <a:gd name="T35" fmla="*/ 182 h 239"/>
                  <a:gd name="T36" fmla="*/ 177 w 177"/>
                  <a:gd name="T37" fmla="*/ 168 h 239"/>
                  <a:gd name="T38" fmla="*/ 168 w 177"/>
                  <a:gd name="T39" fmla="*/ 137 h 239"/>
                  <a:gd name="T40" fmla="*/ 148 w 177"/>
                  <a:gd name="T41" fmla="*/ 118 h 239"/>
                  <a:gd name="T42" fmla="*/ 133 w 177"/>
                  <a:gd name="T43" fmla="*/ 112 h 239"/>
                  <a:gd name="T44" fmla="*/ 154 w 177"/>
                  <a:gd name="T45" fmla="*/ 99 h 239"/>
                  <a:gd name="T46" fmla="*/ 167 w 177"/>
                  <a:gd name="T47" fmla="*/ 80 h 239"/>
                  <a:gd name="T48" fmla="*/ 170 w 177"/>
                  <a:gd name="T49" fmla="*/ 64 h 239"/>
                  <a:gd name="T50" fmla="*/ 167 w 177"/>
                  <a:gd name="T51" fmla="*/ 45 h 239"/>
                  <a:gd name="T52" fmla="*/ 158 w 177"/>
                  <a:gd name="T53" fmla="*/ 28 h 239"/>
                  <a:gd name="T54" fmla="*/ 144 w 177"/>
                  <a:gd name="T55" fmla="*/ 15 h 239"/>
                  <a:gd name="T56" fmla="*/ 123 w 177"/>
                  <a:gd name="T57" fmla="*/ 5 h 239"/>
                  <a:gd name="T58" fmla="*/ 95 w 177"/>
                  <a:gd name="T59" fmla="*/ 0 h 239"/>
                  <a:gd name="T60" fmla="*/ 74 w 177"/>
                  <a:gd name="T61" fmla="*/ 0 h 239"/>
                  <a:gd name="T62" fmla="*/ 43 w 177"/>
                  <a:gd name="T63" fmla="*/ 7 h 239"/>
                  <a:gd name="T64" fmla="*/ 15 w 177"/>
                  <a:gd name="T65" fmla="*/ 20 h 239"/>
                  <a:gd name="T66" fmla="*/ 27 w 177"/>
                  <a:gd name="T67" fmla="*/ 60 h 239"/>
                  <a:gd name="T68" fmla="*/ 56 w 177"/>
                  <a:gd name="T69" fmla="*/ 44 h 239"/>
                  <a:gd name="T70" fmla="*/ 79 w 177"/>
                  <a:gd name="T71" fmla="*/ 39 h 239"/>
                  <a:gd name="T72" fmla="*/ 96 w 177"/>
                  <a:gd name="T73" fmla="*/ 39 h 239"/>
                  <a:gd name="T74" fmla="*/ 116 w 177"/>
                  <a:gd name="T75" fmla="*/ 47 h 239"/>
                  <a:gd name="T76" fmla="*/ 125 w 177"/>
                  <a:gd name="T77" fmla="*/ 62 h 239"/>
                  <a:gd name="T78" fmla="*/ 125 w 177"/>
                  <a:gd name="T79" fmla="*/ 72 h 239"/>
                  <a:gd name="T80" fmla="*/ 117 w 177"/>
                  <a:gd name="T81" fmla="*/ 86 h 239"/>
                  <a:gd name="T82" fmla="*/ 99 w 177"/>
                  <a:gd name="T83" fmla="*/ 94 h 239"/>
                  <a:gd name="T84" fmla="*/ 61 w 177"/>
                  <a:gd name="T85" fmla="*/ 131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7" h="239">
                    <a:moveTo>
                      <a:pt x="61" y="131"/>
                    </a:moveTo>
                    <a:lnTo>
                      <a:pt x="92" y="131"/>
                    </a:lnTo>
                    <a:lnTo>
                      <a:pt x="92" y="131"/>
                    </a:lnTo>
                    <a:lnTo>
                      <a:pt x="102" y="132"/>
                    </a:lnTo>
                    <a:lnTo>
                      <a:pt x="110" y="134"/>
                    </a:lnTo>
                    <a:lnTo>
                      <a:pt x="117" y="137"/>
                    </a:lnTo>
                    <a:lnTo>
                      <a:pt x="122" y="142"/>
                    </a:lnTo>
                    <a:lnTo>
                      <a:pt x="126" y="147"/>
                    </a:lnTo>
                    <a:lnTo>
                      <a:pt x="129" y="153"/>
                    </a:lnTo>
                    <a:lnTo>
                      <a:pt x="131" y="159"/>
                    </a:lnTo>
                    <a:lnTo>
                      <a:pt x="132" y="166"/>
                    </a:lnTo>
                    <a:lnTo>
                      <a:pt x="132" y="166"/>
                    </a:lnTo>
                    <a:lnTo>
                      <a:pt x="131" y="173"/>
                    </a:lnTo>
                    <a:lnTo>
                      <a:pt x="129" y="179"/>
                    </a:lnTo>
                    <a:lnTo>
                      <a:pt x="126" y="185"/>
                    </a:lnTo>
                    <a:lnTo>
                      <a:pt x="121" y="190"/>
                    </a:lnTo>
                    <a:lnTo>
                      <a:pt x="114" y="194"/>
                    </a:lnTo>
                    <a:lnTo>
                      <a:pt x="106" y="198"/>
                    </a:lnTo>
                    <a:lnTo>
                      <a:pt x="96" y="200"/>
                    </a:lnTo>
                    <a:lnTo>
                      <a:pt x="85" y="201"/>
                    </a:lnTo>
                    <a:lnTo>
                      <a:pt x="85" y="201"/>
                    </a:lnTo>
                    <a:lnTo>
                      <a:pt x="77" y="200"/>
                    </a:lnTo>
                    <a:lnTo>
                      <a:pt x="69" y="199"/>
                    </a:lnTo>
                    <a:lnTo>
                      <a:pt x="60" y="197"/>
                    </a:lnTo>
                    <a:lnTo>
                      <a:pt x="52" y="194"/>
                    </a:lnTo>
                    <a:lnTo>
                      <a:pt x="44" y="191"/>
                    </a:lnTo>
                    <a:lnTo>
                      <a:pt x="36" y="187"/>
                    </a:lnTo>
                    <a:lnTo>
                      <a:pt x="28" y="182"/>
                    </a:lnTo>
                    <a:lnTo>
                      <a:pt x="20" y="176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8" y="216"/>
                    </a:lnTo>
                    <a:lnTo>
                      <a:pt x="18" y="222"/>
                    </a:lnTo>
                    <a:lnTo>
                      <a:pt x="28" y="227"/>
                    </a:lnTo>
                    <a:lnTo>
                      <a:pt x="38" y="231"/>
                    </a:lnTo>
                    <a:lnTo>
                      <a:pt x="49" y="235"/>
                    </a:lnTo>
                    <a:lnTo>
                      <a:pt x="60" y="237"/>
                    </a:lnTo>
                    <a:lnTo>
                      <a:pt x="72" y="239"/>
                    </a:lnTo>
                    <a:lnTo>
                      <a:pt x="83" y="239"/>
                    </a:lnTo>
                    <a:lnTo>
                      <a:pt x="83" y="239"/>
                    </a:lnTo>
                    <a:lnTo>
                      <a:pt x="95" y="239"/>
                    </a:lnTo>
                    <a:lnTo>
                      <a:pt x="106" y="238"/>
                    </a:lnTo>
                    <a:lnTo>
                      <a:pt x="116" y="236"/>
                    </a:lnTo>
                    <a:lnTo>
                      <a:pt x="125" y="234"/>
                    </a:lnTo>
                    <a:lnTo>
                      <a:pt x="133" y="231"/>
                    </a:lnTo>
                    <a:lnTo>
                      <a:pt x="141" y="227"/>
                    </a:lnTo>
                    <a:lnTo>
                      <a:pt x="148" y="223"/>
                    </a:lnTo>
                    <a:lnTo>
                      <a:pt x="154" y="218"/>
                    </a:lnTo>
                    <a:lnTo>
                      <a:pt x="159" y="213"/>
                    </a:lnTo>
                    <a:lnTo>
                      <a:pt x="164" y="208"/>
                    </a:lnTo>
                    <a:lnTo>
                      <a:pt x="168" y="202"/>
                    </a:lnTo>
                    <a:lnTo>
                      <a:pt x="171" y="196"/>
                    </a:lnTo>
                    <a:lnTo>
                      <a:pt x="173" y="189"/>
                    </a:lnTo>
                    <a:lnTo>
                      <a:pt x="175" y="182"/>
                    </a:lnTo>
                    <a:lnTo>
                      <a:pt x="176" y="175"/>
                    </a:lnTo>
                    <a:lnTo>
                      <a:pt x="177" y="168"/>
                    </a:lnTo>
                    <a:lnTo>
                      <a:pt x="177" y="168"/>
                    </a:lnTo>
                    <a:lnTo>
                      <a:pt x="176" y="157"/>
                    </a:lnTo>
                    <a:lnTo>
                      <a:pt x="173" y="145"/>
                    </a:lnTo>
                    <a:lnTo>
                      <a:pt x="168" y="137"/>
                    </a:lnTo>
                    <a:lnTo>
                      <a:pt x="162" y="129"/>
                    </a:lnTo>
                    <a:lnTo>
                      <a:pt x="156" y="123"/>
                    </a:lnTo>
                    <a:lnTo>
                      <a:pt x="148" y="118"/>
                    </a:lnTo>
                    <a:lnTo>
                      <a:pt x="141" y="114"/>
                    </a:lnTo>
                    <a:lnTo>
                      <a:pt x="133" y="112"/>
                    </a:lnTo>
                    <a:lnTo>
                      <a:pt x="133" y="112"/>
                    </a:lnTo>
                    <a:lnTo>
                      <a:pt x="141" y="108"/>
                    </a:lnTo>
                    <a:lnTo>
                      <a:pt x="148" y="104"/>
                    </a:lnTo>
                    <a:lnTo>
                      <a:pt x="154" y="99"/>
                    </a:lnTo>
                    <a:lnTo>
                      <a:pt x="159" y="94"/>
                    </a:lnTo>
                    <a:lnTo>
                      <a:pt x="164" y="88"/>
                    </a:lnTo>
                    <a:lnTo>
                      <a:pt x="167" y="80"/>
                    </a:lnTo>
                    <a:lnTo>
                      <a:pt x="169" y="73"/>
                    </a:lnTo>
                    <a:lnTo>
                      <a:pt x="170" y="64"/>
                    </a:lnTo>
                    <a:lnTo>
                      <a:pt x="170" y="64"/>
                    </a:lnTo>
                    <a:lnTo>
                      <a:pt x="169" y="57"/>
                    </a:lnTo>
                    <a:lnTo>
                      <a:pt x="168" y="51"/>
                    </a:lnTo>
                    <a:lnTo>
                      <a:pt x="167" y="45"/>
                    </a:lnTo>
                    <a:lnTo>
                      <a:pt x="165" y="39"/>
                    </a:lnTo>
                    <a:lnTo>
                      <a:pt x="162" y="34"/>
                    </a:lnTo>
                    <a:lnTo>
                      <a:pt x="158" y="28"/>
                    </a:lnTo>
                    <a:lnTo>
                      <a:pt x="154" y="23"/>
                    </a:lnTo>
                    <a:lnTo>
                      <a:pt x="149" y="19"/>
                    </a:lnTo>
                    <a:lnTo>
                      <a:pt x="144" y="15"/>
                    </a:lnTo>
                    <a:lnTo>
                      <a:pt x="138" y="11"/>
                    </a:lnTo>
                    <a:lnTo>
                      <a:pt x="131" y="8"/>
                    </a:lnTo>
                    <a:lnTo>
                      <a:pt x="123" y="5"/>
                    </a:lnTo>
                    <a:lnTo>
                      <a:pt x="114" y="3"/>
                    </a:lnTo>
                    <a:lnTo>
                      <a:pt x="105" y="1"/>
                    </a:lnTo>
                    <a:lnTo>
                      <a:pt x="95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74" y="0"/>
                    </a:lnTo>
                    <a:lnTo>
                      <a:pt x="63" y="2"/>
                    </a:lnTo>
                    <a:lnTo>
                      <a:pt x="53" y="4"/>
                    </a:lnTo>
                    <a:lnTo>
                      <a:pt x="43" y="7"/>
                    </a:lnTo>
                    <a:lnTo>
                      <a:pt x="33" y="11"/>
                    </a:lnTo>
                    <a:lnTo>
                      <a:pt x="24" y="15"/>
                    </a:lnTo>
                    <a:lnTo>
                      <a:pt x="15" y="20"/>
                    </a:lnTo>
                    <a:lnTo>
                      <a:pt x="7" y="25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41" y="50"/>
                    </a:lnTo>
                    <a:lnTo>
                      <a:pt x="48" y="47"/>
                    </a:lnTo>
                    <a:lnTo>
                      <a:pt x="56" y="44"/>
                    </a:lnTo>
                    <a:lnTo>
                      <a:pt x="63" y="42"/>
                    </a:lnTo>
                    <a:lnTo>
                      <a:pt x="71" y="40"/>
                    </a:lnTo>
                    <a:lnTo>
                      <a:pt x="79" y="39"/>
                    </a:lnTo>
                    <a:lnTo>
                      <a:pt x="87" y="39"/>
                    </a:lnTo>
                    <a:lnTo>
                      <a:pt x="87" y="39"/>
                    </a:lnTo>
                    <a:lnTo>
                      <a:pt x="96" y="39"/>
                    </a:lnTo>
                    <a:lnTo>
                      <a:pt x="104" y="41"/>
                    </a:lnTo>
                    <a:lnTo>
                      <a:pt x="111" y="44"/>
                    </a:lnTo>
                    <a:lnTo>
                      <a:pt x="116" y="47"/>
                    </a:lnTo>
                    <a:lnTo>
                      <a:pt x="120" y="52"/>
                    </a:lnTo>
                    <a:lnTo>
                      <a:pt x="123" y="56"/>
                    </a:lnTo>
                    <a:lnTo>
                      <a:pt x="125" y="62"/>
                    </a:lnTo>
                    <a:lnTo>
                      <a:pt x="126" y="67"/>
                    </a:lnTo>
                    <a:lnTo>
                      <a:pt x="126" y="67"/>
                    </a:lnTo>
                    <a:lnTo>
                      <a:pt x="125" y="72"/>
                    </a:lnTo>
                    <a:lnTo>
                      <a:pt x="124" y="77"/>
                    </a:lnTo>
                    <a:lnTo>
                      <a:pt x="121" y="82"/>
                    </a:lnTo>
                    <a:lnTo>
                      <a:pt x="117" y="86"/>
                    </a:lnTo>
                    <a:lnTo>
                      <a:pt x="112" y="89"/>
                    </a:lnTo>
                    <a:lnTo>
                      <a:pt x="106" y="92"/>
                    </a:lnTo>
                    <a:lnTo>
                      <a:pt x="99" y="94"/>
                    </a:lnTo>
                    <a:lnTo>
                      <a:pt x="90" y="94"/>
                    </a:lnTo>
                    <a:lnTo>
                      <a:pt x="61" y="94"/>
                    </a:lnTo>
                    <a:lnTo>
                      <a:pt x="61" y="131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0" name="Freeform 59"/>
              <p:cNvSpPr>
                <a:spLocks noEditPoints="1"/>
              </p:cNvSpPr>
              <p:nvPr userDrawn="1"/>
            </p:nvSpPr>
            <p:spPr bwMode="auto">
              <a:xfrm>
                <a:off x="2022475" y="6360332"/>
                <a:ext cx="74613" cy="95250"/>
              </a:xfrm>
              <a:custGeom>
                <a:avLst/>
                <a:gdLst>
                  <a:gd name="T0" fmla="*/ 187 w 187"/>
                  <a:gd name="T1" fmla="*/ 77 h 239"/>
                  <a:gd name="T2" fmla="*/ 186 w 187"/>
                  <a:gd name="T3" fmla="*/ 67 h 239"/>
                  <a:gd name="T4" fmla="*/ 183 w 187"/>
                  <a:gd name="T5" fmla="*/ 50 h 239"/>
                  <a:gd name="T6" fmla="*/ 177 w 187"/>
                  <a:gd name="T7" fmla="*/ 36 h 239"/>
                  <a:gd name="T8" fmla="*/ 168 w 187"/>
                  <a:gd name="T9" fmla="*/ 24 h 239"/>
                  <a:gd name="T10" fmla="*/ 156 w 187"/>
                  <a:gd name="T11" fmla="*/ 14 h 239"/>
                  <a:gd name="T12" fmla="*/ 143 w 187"/>
                  <a:gd name="T13" fmla="*/ 7 h 239"/>
                  <a:gd name="T14" fmla="*/ 127 w 187"/>
                  <a:gd name="T15" fmla="*/ 2 h 239"/>
                  <a:gd name="T16" fmla="*/ 109 w 187"/>
                  <a:gd name="T17" fmla="*/ 0 h 239"/>
                  <a:gd name="T18" fmla="*/ 100 w 187"/>
                  <a:gd name="T19" fmla="*/ 0 h 239"/>
                  <a:gd name="T20" fmla="*/ 77 w 187"/>
                  <a:gd name="T21" fmla="*/ 1 h 239"/>
                  <a:gd name="T22" fmla="*/ 57 w 187"/>
                  <a:gd name="T23" fmla="*/ 5 h 239"/>
                  <a:gd name="T24" fmla="*/ 38 w 187"/>
                  <a:gd name="T25" fmla="*/ 11 h 239"/>
                  <a:gd name="T26" fmla="*/ 22 w 187"/>
                  <a:gd name="T27" fmla="*/ 20 h 239"/>
                  <a:gd name="T28" fmla="*/ 39 w 187"/>
                  <a:gd name="T29" fmla="*/ 54 h 239"/>
                  <a:gd name="T30" fmla="*/ 67 w 187"/>
                  <a:gd name="T31" fmla="*/ 43 h 239"/>
                  <a:gd name="T32" fmla="*/ 99 w 187"/>
                  <a:gd name="T33" fmla="*/ 40 h 239"/>
                  <a:gd name="T34" fmla="*/ 109 w 187"/>
                  <a:gd name="T35" fmla="*/ 41 h 239"/>
                  <a:gd name="T36" fmla="*/ 125 w 187"/>
                  <a:gd name="T37" fmla="*/ 46 h 239"/>
                  <a:gd name="T38" fmla="*/ 136 w 187"/>
                  <a:gd name="T39" fmla="*/ 56 h 239"/>
                  <a:gd name="T40" fmla="*/ 141 w 187"/>
                  <a:gd name="T41" fmla="*/ 70 h 239"/>
                  <a:gd name="T42" fmla="*/ 142 w 187"/>
                  <a:gd name="T43" fmla="*/ 96 h 239"/>
                  <a:gd name="T44" fmla="*/ 133 w 187"/>
                  <a:gd name="T45" fmla="*/ 92 h 239"/>
                  <a:gd name="T46" fmla="*/ 107 w 187"/>
                  <a:gd name="T47" fmla="*/ 88 h 239"/>
                  <a:gd name="T48" fmla="*/ 91 w 187"/>
                  <a:gd name="T49" fmla="*/ 87 h 239"/>
                  <a:gd name="T50" fmla="*/ 63 w 187"/>
                  <a:gd name="T51" fmla="*/ 89 h 239"/>
                  <a:gd name="T52" fmla="*/ 47 w 187"/>
                  <a:gd name="T53" fmla="*/ 94 h 239"/>
                  <a:gd name="T54" fmla="*/ 32 w 187"/>
                  <a:gd name="T55" fmla="*/ 101 h 239"/>
                  <a:gd name="T56" fmla="*/ 20 w 187"/>
                  <a:gd name="T57" fmla="*/ 110 h 239"/>
                  <a:gd name="T58" fmla="*/ 10 w 187"/>
                  <a:gd name="T59" fmla="*/ 121 h 239"/>
                  <a:gd name="T60" fmla="*/ 4 w 187"/>
                  <a:gd name="T61" fmla="*/ 135 h 239"/>
                  <a:gd name="T62" fmla="*/ 0 w 187"/>
                  <a:gd name="T63" fmla="*/ 153 h 239"/>
                  <a:gd name="T64" fmla="*/ 0 w 187"/>
                  <a:gd name="T65" fmla="*/ 162 h 239"/>
                  <a:gd name="T66" fmla="*/ 2 w 187"/>
                  <a:gd name="T67" fmla="*/ 182 h 239"/>
                  <a:gd name="T68" fmla="*/ 7 w 187"/>
                  <a:gd name="T69" fmla="*/ 198 h 239"/>
                  <a:gd name="T70" fmla="*/ 15 w 187"/>
                  <a:gd name="T71" fmla="*/ 211 h 239"/>
                  <a:gd name="T72" fmla="*/ 25 w 187"/>
                  <a:gd name="T73" fmla="*/ 222 h 239"/>
                  <a:gd name="T74" fmla="*/ 38 w 187"/>
                  <a:gd name="T75" fmla="*/ 230 h 239"/>
                  <a:gd name="T76" fmla="*/ 51 w 187"/>
                  <a:gd name="T77" fmla="*/ 235 h 239"/>
                  <a:gd name="T78" fmla="*/ 79 w 187"/>
                  <a:gd name="T79" fmla="*/ 239 h 239"/>
                  <a:gd name="T80" fmla="*/ 90 w 187"/>
                  <a:gd name="T81" fmla="*/ 239 h 239"/>
                  <a:gd name="T82" fmla="*/ 108 w 187"/>
                  <a:gd name="T83" fmla="*/ 234 h 239"/>
                  <a:gd name="T84" fmla="*/ 115 w 187"/>
                  <a:gd name="T85" fmla="*/ 231 h 239"/>
                  <a:gd name="T86" fmla="*/ 134 w 187"/>
                  <a:gd name="T87" fmla="*/ 219 h 239"/>
                  <a:gd name="T88" fmla="*/ 142 w 187"/>
                  <a:gd name="T89" fmla="*/ 235 h 239"/>
                  <a:gd name="T90" fmla="*/ 142 w 187"/>
                  <a:gd name="T91" fmla="*/ 170 h 239"/>
                  <a:gd name="T92" fmla="*/ 138 w 187"/>
                  <a:gd name="T93" fmla="*/ 175 h 239"/>
                  <a:gd name="T94" fmla="*/ 126 w 187"/>
                  <a:gd name="T95" fmla="*/ 185 h 239"/>
                  <a:gd name="T96" fmla="*/ 112 w 187"/>
                  <a:gd name="T97" fmla="*/ 193 h 239"/>
                  <a:gd name="T98" fmla="*/ 95 w 187"/>
                  <a:gd name="T99" fmla="*/ 198 h 239"/>
                  <a:gd name="T100" fmla="*/ 86 w 187"/>
                  <a:gd name="T101" fmla="*/ 199 h 239"/>
                  <a:gd name="T102" fmla="*/ 68 w 187"/>
                  <a:gd name="T103" fmla="*/ 196 h 239"/>
                  <a:gd name="T104" fmla="*/ 55 w 187"/>
                  <a:gd name="T105" fmla="*/ 190 h 239"/>
                  <a:gd name="T106" fmla="*/ 50 w 187"/>
                  <a:gd name="T107" fmla="*/ 185 h 239"/>
                  <a:gd name="T108" fmla="*/ 43 w 187"/>
                  <a:gd name="T109" fmla="*/ 170 h 239"/>
                  <a:gd name="T110" fmla="*/ 42 w 187"/>
                  <a:gd name="T111" fmla="*/ 161 h 239"/>
                  <a:gd name="T112" fmla="*/ 46 w 187"/>
                  <a:gd name="T113" fmla="*/ 146 h 239"/>
                  <a:gd name="T114" fmla="*/ 55 w 187"/>
                  <a:gd name="T115" fmla="*/ 135 h 239"/>
                  <a:gd name="T116" fmla="*/ 70 w 187"/>
                  <a:gd name="T117" fmla="*/ 128 h 239"/>
                  <a:gd name="T118" fmla="*/ 90 w 187"/>
                  <a:gd name="T119" fmla="*/ 126 h 239"/>
                  <a:gd name="T120" fmla="*/ 106 w 187"/>
                  <a:gd name="T121" fmla="*/ 126 h 239"/>
                  <a:gd name="T122" fmla="*/ 120 w 187"/>
                  <a:gd name="T123" fmla="*/ 128 h 239"/>
                  <a:gd name="T124" fmla="*/ 142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5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6" y="67"/>
                    </a:lnTo>
                    <a:lnTo>
                      <a:pt x="185" y="58"/>
                    </a:lnTo>
                    <a:lnTo>
                      <a:pt x="183" y="50"/>
                    </a:lnTo>
                    <a:lnTo>
                      <a:pt x="181" y="43"/>
                    </a:lnTo>
                    <a:lnTo>
                      <a:pt x="177" y="36"/>
                    </a:lnTo>
                    <a:lnTo>
                      <a:pt x="173" y="29"/>
                    </a:lnTo>
                    <a:lnTo>
                      <a:pt x="168" y="24"/>
                    </a:lnTo>
                    <a:lnTo>
                      <a:pt x="163" y="19"/>
                    </a:lnTo>
                    <a:lnTo>
                      <a:pt x="156" y="14"/>
                    </a:lnTo>
                    <a:lnTo>
                      <a:pt x="150" y="10"/>
                    </a:lnTo>
                    <a:lnTo>
                      <a:pt x="143" y="7"/>
                    </a:lnTo>
                    <a:lnTo>
                      <a:pt x="135" y="5"/>
                    </a:lnTo>
                    <a:lnTo>
                      <a:pt x="127" y="2"/>
                    </a:lnTo>
                    <a:lnTo>
                      <a:pt x="118" y="1"/>
                    </a:lnTo>
                    <a:lnTo>
                      <a:pt x="109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8" y="0"/>
                    </a:lnTo>
                    <a:lnTo>
                      <a:pt x="77" y="1"/>
                    </a:lnTo>
                    <a:lnTo>
                      <a:pt x="67" y="3"/>
                    </a:lnTo>
                    <a:lnTo>
                      <a:pt x="57" y="5"/>
                    </a:lnTo>
                    <a:lnTo>
                      <a:pt x="47" y="8"/>
                    </a:lnTo>
                    <a:lnTo>
                      <a:pt x="38" y="11"/>
                    </a:lnTo>
                    <a:lnTo>
                      <a:pt x="30" y="16"/>
                    </a:lnTo>
                    <a:lnTo>
                      <a:pt x="22" y="20"/>
                    </a:lnTo>
                    <a:lnTo>
                      <a:pt x="39" y="54"/>
                    </a:lnTo>
                    <a:lnTo>
                      <a:pt x="39" y="54"/>
                    </a:lnTo>
                    <a:lnTo>
                      <a:pt x="53" y="48"/>
                    </a:lnTo>
                    <a:lnTo>
                      <a:pt x="67" y="43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9" y="41"/>
                    </a:lnTo>
                    <a:lnTo>
                      <a:pt x="117" y="43"/>
                    </a:lnTo>
                    <a:lnTo>
                      <a:pt x="125" y="46"/>
                    </a:lnTo>
                    <a:lnTo>
                      <a:pt x="131" y="50"/>
                    </a:lnTo>
                    <a:lnTo>
                      <a:pt x="136" y="56"/>
                    </a:lnTo>
                    <a:lnTo>
                      <a:pt x="139" y="62"/>
                    </a:lnTo>
                    <a:lnTo>
                      <a:pt x="141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3" y="92"/>
                    </a:lnTo>
                    <a:lnTo>
                      <a:pt x="121" y="89"/>
                    </a:lnTo>
                    <a:lnTo>
                      <a:pt x="107" y="88"/>
                    </a:lnTo>
                    <a:lnTo>
                      <a:pt x="91" y="87"/>
                    </a:lnTo>
                    <a:lnTo>
                      <a:pt x="91" y="87"/>
                    </a:lnTo>
                    <a:lnTo>
                      <a:pt x="72" y="88"/>
                    </a:lnTo>
                    <a:lnTo>
                      <a:pt x="63" y="89"/>
                    </a:lnTo>
                    <a:lnTo>
                      <a:pt x="55" y="91"/>
                    </a:lnTo>
                    <a:lnTo>
                      <a:pt x="47" y="94"/>
                    </a:lnTo>
                    <a:lnTo>
                      <a:pt x="39" y="97"/>
                    </a:lnTo>
                    <a:lnTo>
                      <a:pt x="32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5"/>
                    </a:lnTo>
                    <a:lnTo>
                      <a:pt x="10" y="121"/>
                    </a:lnTo>
                    <a:lnTo>
                      <a:pt x="7" y="128"/>
                    </a:lnTo>
                    <a:lnTo>
                      <a:pt x="4" y="135"/>
                    </a:lnTo>
                    <a:lnTo>
                      <a:pt x="1" y="143"/>
                    </a:lnTo>
                    <a:lnTo>
                      <a:pt x="0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2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1" y="205"/>
                    </a:lnTo>
                    <a:lnTo>
                      <a:pt x="15" y="211"/>
                    </a:lnTo>
                    <a:lnTo>
                      <a:pt x="20" y="217"/>
                    </a:lnTo>
                    <a:lnTo>
                      <a:pt x="25" y="222"/>
                    </a:lnTo>
                    <a:lnTo>
                      <a:pt x="31" y="226"/>
                    </a:lnTo>
                    <a:lnTo>
                      <a:pt x="38" y="230"/>
                    </a:lnTo>
                    <a:lnTo>
                      <a:pt x="44" y="233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9"/>
                    </a:lnTo>
                    <a:lnTo>
                      <a:pt x="100" y="237"/>
                    </a:lnTo>
                    <a:lnTo>
                      <a:pt x="108" y="234"/>
                    </a:lnTo>
                    <a:lnTo>
                      <a:pt x="115" y="231"/>
                    </a:lnTo>
                    <a:lnTo>
                      <a:pt x="115" y="231"/>
                    </a:lnTo>
                    <a:lnTo>
                      <a:pt x="127" y="224"/>
                    </a:lnTo>
                    <a:lnTo>
                      <a:pt x="134" y="219"/>
                    </a:lnTo>
                    <a:lnTo>
                      <a:pt x="142" y="212"/>
                    </a:lnTo>
                    <a:lnTo>
                      <a:pt x="142" y="235"/>
                    </a:lnTo>
                    <a:lnTo>
                      <a:pt x="187" y="235"/>
                    </a:lnTo>
                    <a:close/>
                    <a:moveTo>
                      <a:pt x="142" y="170"/>
                    </a:moveTo>
                    <a:lnTo>
                      <a:pt x="142" y="170"/>
                    </a:lnTo>
                    <a:lnTo>
                      <a:pt x="138" y="175"/>
                    </a:lnTo>
                    <a:lnTo>
                      <a:pt x="132" y="180"/>
                    </a:lnTo>
                    <a:lnTo>
                      <a:pt x="126" y="185"/>
                    </a:lnTo>
                    <a:lnTo>
                      <a:pt x="119" y="190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5" y="198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77" y="198"/>
                    </a:lnTo>
                    <a:lnTo>
                      <a:pt x="68" y="196"/>
                    </a:lnTo>
                    <a:lnTo>
                      <a:pt x="61" y="194"/>
                    </a:lnTo>
                    <a:lnTo>
                      <a:pt x="55" y="190"/>
                    </a:lnTo>
                    <a:lnTo>
                      <a:pt x="55" y="190"/>
                    </a:lnTo>
                    <a:lnTo>
                      <a:pt x="50" y="185"/>
                    </a:lnTo>
                    <a:lnTo>
                      <a:pt x="46" y="178"/>
                    </a:lnTo>
                    <a:lnTo>
                      <a:pt x="43" y="170"/>
                    </a:lnTo>
                    <a:lnTo>
                      <a:pt x="42" y="161"/>
                    </a:lnTo>
                    <a:lnTo>
                      <a:pt x="42" y="161"/>
                    </a:lnTo>
                    <a:lnTo>
                      <a:pt x="43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5" y="135"/>
                    </a:lnTo>
                    <a:lnTo>
                      <a:pt x="62" y="131"/>
                    </a:lnTo>
                    <a:lnTo>
                      <a:pt x="70" y="128"/>
                    </a:lnTo>
                    <a:lnTo>
                      <a:pt x="79" y="126"/>
                    </a:lnTo>
                    <a:lnTo>
                      <a:pt x="90" y="126"/>
                    </a:lnTo>
                    <a:lnTo>
                      <a:pt x="90" y="126"/>
                    </a:lnTo>
                    <a:lnTo>
                      <a:pt x="106" y="126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30" y="131"/>
                    </a:lnTo>
                    <a:lnTo>
                      <a:pt x="142" y="136"/>
                    </a:lnTo>
                    <a:lnTo>
                      <a:pt x="142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1" name="Freeform 60"/>
              <p:cNvSpPr>
                <a:spLocks noEditPoints="1"/>
              </p:cNvSpPr>
              <p:nvPr userDrawn="1"/>
            </p:nvSpPr>
            <p:spPr bwMode="auto">
              <a:xfrm>
                <a:off x="2106612" y="6363507"/>
                <a:ext cx="95250" cy="114300"/>
              </a:xfrm>
              <a:custGeom>
                <a:avLst/>
                <a:gdLst>
                  <a:gd name="T0" fmla="*/ 52 w 238"/>
                  <a:gd name="T1" fmla="*/ 0 h 291"/>
                  <a:gd name="T2" fmla="*/ 46 w 238"/>
                  <a:gd name="T3" fmla="*/ 87 h 291"/>
                  <a:gd name="T4" fmla="*/ 46 w 238"/>
                  <a:gd name="T5" fmla="*/ 87 h 291"/>
                  <a:gd name="T6" fmla="*/ 44 w 238"/>
                  <a:gd name="T7" fmla="*/ 105 h 291"/>
                  <a:gd name="T8" fmla="*/ 41 w 238"/>
                  <a:gd name="T9" fmla="*/ 120 h 291"/>
                  <a:gd name="T10" fmla="*/ 38 w 238"/>
                  <a:gd name="T11" fmla="*/ 135 h 291"/>
                  <a:gd name="T12" fmla="*/ 35 w 238"/>
                  <a:gd name="T13" fmla="*/ 149 h 291"/>
                  <a:gd name="T14" fmla="*/ 27 w 238"/>
                  <a:gd name="T15" fmla="*/ 172 h 291"/>
                  <a:gd name="T16" fmla="*/ 20 w 238"/>
                  <a:gd name="T17" fmla="*/ 190 h 291"/>
                  <a:gd name="T18" fmla="*/ 0 w 238"/>
                  <a:gd name="T19" fmla="*/ 190 h 291"/>
                  <a:gd name="T20" fmla="*/ 0 w 238"/>
                  <a:gd name="T21" fmla="*/ 291 h 291"/>
                  <a:gd name="T22" fmla="*/ 42 w 238"/>
                  <a:gd name="T23" fmla="*/ 270 h 291"/>
                  <a:gd name="T24" fmla="*/ 42 w 238"/>
                  <a:gd name="T25" fmla="*/ 230 h 291"/>
                  <a:gd name="T26" fmla="*/ 196 w 238"/>
                  <a:gd name="T27" fmla="*/ 230 h 291"/>
                  <a:gd name="T28" fmla="*/ 196 w 238"/>
                  <a:gd name="T29" fmla="*/ 291 h 291"/>
                  <a:gd name="T30" fmla="*/ 238 w 238"/>
                  <a:gd name="T31" fmla="*/ 270 h 291"/>
                  <a:gd name="T32" fmla="*/ 238 w 238"/>
                  <a:gd name="T33" fmla="*/ 190 h 291"/>
                  <a:gd name="T34" fmla="*/ 208 w 238"/>
                  <a:gd name="T35" fmla="*/ 190 h 291"/>
                  <a:gd name="T36" fmla="*/ 208 w 238"/>
                  <a:gd name="T37" fmla="*/ 0 h 291"/>
                  <a:gd name="T38" fmla="*/ 52 w 238"/>
                  <a:gd name="T39" fmla="*/ 0 h 291"/>
                  <a:gd name="T40" fmla="*/ 163 w 238"/>
                  <a:gd name="T41" fmla="*/ 190 h 291"/>
                  <a:gd name="T42" fmla="*/ 67 w 238"/>
                  <a:gd name="T43" fmla="*/ 190 h 291"/>
                  <a:gd name="T44" fmla="*/ 67 w 238"/>
                  <a:gd name="T45" fmla="*/ 190 h 291"/>
                  <a:gd name="T46" fmla="*/ 74 w 238"/>
                  <a:gd name="T47" fmla="*/ 172 h 291"/>
                  <a:gd name="T48" fmla="*/ 80 w 238"/>
                  <a:gd name="T49" fmla="*/ 150 h 291"/>
                  <a:gd name="T50" fmla="*/ 83 w 238"/>
                  <a:gd name="T51" fmla="*/ 136 h 291"/>
                  <a:gd name="T52" fmla="*/ 86 w 238"/>
                  <a:gd name="T53" fmla="*/ 122 h 291"/>
                  <a:gd name="T54" fmla="*/ 88 w 238"/>
                  <a:gd name="T55" fmla="*/ 105 h 291"/>
                  <a:gd name="T56" fmla="*/ 89 w 238"/>
                  <a:gd name="T57" fmla="*/ 87 h 291"/>
                  <a:gd name="T58" fmla="*/ 93 w 238"/>
                  <a:gd name="T59" fmla="*/ 39 h 291"/>
                  <a:gd name="T60" fmla="*/ 163 w 238"/>
                  <a:gd name="T61" fmla="*/ 39 h 291"/>
                  <a:gd name="T62" fmla="*/ 163 w 238"/>
                  <a:gd name="T63" fmla="*/ 190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8" h="291">
                    <a:moveTo>
                      <a:pt x="52" y="0"/>
                    </a:moveTo>
                    <a:lnTo>
                      <a:pt x="46" y="87"/>
                    </a:lnTo>
                    <a:lnTo>
                      <a:pt x="46" y="87"/>
                    </a:lnTo>
                    <a:lnTo>
                      <a:pt x="44" y="105"/>
                    </a:lnTo>
                    <a:lnTo>
                      <a:pt x="41" y="120"/>
                    </a:lnTo>
                    <a:lnTo>
                      <a:pt x="38" y="135"/>
                    </a:lnTo>
                    <a:lnTo>
                      <a:pt x="35" y="149"/>
                    </a:lnTo>
                    <a:lnTo>
                      <a:pt x="27" y="172"/>
                    </a:lnTo>
                    <a:lnTo>
                      <a:pt x="20" y="190"/>
                    </a:lnTo>
                    <a:lnTo>
                      <a:pt x="0" y="190"/>
                    </a:lnTo>
                    <a:lnTo>
                      <a:pt x="0" y="291"/>
                    </a:lnTo>
                    <a:lnTo>
                      <a:pt x="42" y="270"/>
                    </a:lnTo>
                    <a:lnTo>
                      <a:pt x="42" y="230"/>
                    </a:lnTo>
                    <a:lnTo>
                      <a:pt x="196" y="230"/>
                    </a:lnTo>
                    <a:lnTo>
                      <a:pt x="196" y="291"/>
                    </a:lnTo>
                    <a:lnTo>
                      <a:pt x="238" y="270"/>
                    </a:lnTo>
                    <a:lnTo>
                      <a:pt x="238" y="190"/>
                    </a:lnTo>
                    <a:lnTo>
                      <a:pt x="208" y="190"/>
                    </a:lnTo>
                    <a:lnTo>
                      <a:pt x="208" y="0"/>
                    </a:lnTo>
                    <a:lnTo>
                      <a:pt x="52" y="0"/>
                    </a:lnTo>
                    <a:close/>
                    <a:moveTo>
                      <a:pt x="163" y="190"/>
                    </a:moveTo>
                    <a:lnTo>
                      <a:pt x="67" y="190"/>
                    </a:lnTo>
                    <a:lnTo>
                      <a:pt x="67" y="190"/>
                    </a:lnTo>
                    <a:lnTo>
                      <a:pt x="74" y="172"/>
                    </a:lnTo>
                    <a:lnTo>
                      <a:pt x="80" y="150"/>
                    </a:lnTo>
                    <a:lnTo>
                      <a:pt x="83" y="136"/>
                    </a:lnTo>
                    <a:lnTo>
                      <a:pt x="86" y="122"/>
                    </a:lnTo>
                    <a:lnTo>
                      <a:pt x="88" y="105"/>
                    </a:lnTo>
                    <a:lnTo>
                      <a:pt x="89" y="87"/>
                    </a:lnTo>
                    <a:lnTo>
                      <a:pt x="93" y="39"/>
                    </a:lnTo>
                    <a:lnTo>
                      <a:pt x="163" y="39"/>
                    </a:lnTo>
                    <a:lnTo>
                      <a:pt x="163" y="19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2" name="Freeform 61"/>
              <p:cNvSpPr>
                <a:spLocks noEditPoints="1"/>
              </p:cNvSpPr>
              <p:nvPr userDrawn="1"/>
            </p:nvSpPr>
            <p:spPr bwMode="auto">
              <a:xfrm>
                <a:off x="2211387" y="6360332"/>
                <a:ext cx="73025" cy="95250"/>
              </a:xfrm>
              <a:custGeom>
                <a:avLst/>
                <a:gdLst>
                  <a:gd name="T0" fmla="*/ 187 w 187"/>
                  <a:gd name="T1" fmla="*/ 77 h 239"/>
                  <a:gd name="T2" fmla="*/ 187 w 187"/>
                  <a:gd name="T3" fmla="*/ 67 h 239"/>
                  <a:gd name="T4" fmla="*/ 184 w 187"/>
                  <a:gd name="T5" fmla="*/ 50 h 239"/>
                  <a:gd name="T6" fmla="*/ 177 w 187"/>
                  <a:gd name="T7" fmla="*/ 36 h 239"/>
                  <a:gd name="T8" fmla="*/ 168 w 187"/>
                  <a:gd name="T9" fmla="*/ 24 h 239"/>
                  <a:gd name="T10" fmla="*/ 156 w 187"/>
                  <a:gd name="T11" fmla="*/ 14 h 239"/>
                  <a:gd name="T12" fmla="*/ 143 w 187"/>
                  <a:gd name="T13" fmla="*/ 7 h 239"/>
                  <a:gd name="T14" fmla="*/ 127 w 187"/>
                  <a:gd name="T15" fmla="*/ 2 h 239"/>
                  <a:gd name="T16" fmla="*/ 110 w 187"/>
                  <a:gd name="T17" fmla="*/ 0 h 239"/>
                  <a:gd name="T18" fmla="*/ 100 w 187"/>
                  <a:gd name="T19" fmla="*/ 0 h 239"/>
                  <a:gd name="T20" fmla="*/ 78 w 187"/>
                  <a:gd name="T21" fmla="*/ 1 h 239"/>
                  <a:gd name="T22" fmla="*/ 57 w 187"/>
                  <a:gd name="T23" fmla="*/ 5 h 239"/>
                  <a:gd name="T24" fmla="*/ 39 w 187"/>
                  <a:gd name="T25" fmla="*/ 11 h 239"/>
                  <a:gd name="T26" fmla="*/ 22 w 187"/>
                  <a:gd name="T27" fmla="*/ 20 h 239"/>
                  <a:gd name="T28" fmla="*/ 39 w 187"/>
                  <a:gd name="T29" fmla="*/ 54 h 239"/>
                  <a:gd name="T30" fmla="*/ 67 w 187"/>
                  <a:gd name="T31" fmla="*/ 43 h 239"/>
                  <a:gd name="T32" fmla="*/ 99 w 187"/>
                  <a:gd name="T33" fmla="*/ 40 h 239"/>
                  <a:gd name="T34" fmla="*/ 109 w 187"/>
                  <a:gd name="T35" fmla="*/ 41 h 239"/>
                  <a:gd name="T36" fmla="*/ 125 w 187"/>
                  <a:gd name="T37" fmla="*/ 46 h 239"/>
                  <a:gd name="T38" fmla="*/ 136 w 187"/>
                  <a:gd name="T39" fmla="*/ 56 h 239"/>
                  <a:gd name="T40" fmla="*/ 141 w 187"/>
                  <a:gd name="T41" fmla="*/ 70 h 239"/>
                  <a:gd name="T42" fmla="*/ 142 w 187"/>
                  <a:gd name="T43" fmla="*/ 96 h 239"/>
                  <a:gd name="T44" fmla="*/ 133 w 187"/>
                  <a:gd name="T45" fmla="*/ 92 h 239"/>
                  <a:gd name="T46" fmla="*/ 108 w 187"/>
                  <a:gd name="T47" fmla="*/ 88 h 239"/>
                  <a:gd name="T48" fmla="*/ 91 w 187"/>
                  <a:gd name="T49" fmla="*/ 87 h 239"/>
                  <a:gd name="T50" fmla="*/ 64 w 187"/>
                  <a:gd name="T51" fmla="*/ 89 h 239"/>
                  <a:gd name="T52" fmla="*/ 47 w 187"/>
                  <a:gd name="T53" fmla="*/ 94 h 239"/>
                  <a:gd name="T54" fmla="*/ 33 w 187"/>
                  <a:gd name="T55" fmla="*/ 101 h 239"/>
                  <a:gd name="T56" fmla="*/ 20 w 187"/>
                  <a:gd name="T57" fmla="*/ 110 h 239"/>
                  <a:gd name="T58" fmla="*/ 11 w 187"/>
                  <a:gd name="T59" fmla="*/ 121 h 239"/>
                  <a:gd name="T60" fmla="*/ 4 w 187"/>
                  <a:gd name="T61" fmla="*/ 135 h 239"/>
                  <a:gd name="T62" fmla="*/ 1 w 187"/>
                  <a:gd name="T63" fmla="*/ 153 h 239"/>
                  <a:gd name="T64" fmla="*/ 0 w 187"/>
                  <a:gd name="T65" fmla="*/ 162 h 239"/>
                  <a:gd name="T66" fmla="*/ 2 w 187"/>
                  <a:gd name="T67" fmla="*/ 182 h 239"/>
                  <a:gd name="T68" fmla="*/ 7 w 187"/>
                  <a:gd name="T69" fmla="*/ 198 h 239"/>
                  <a:gd name="T70" fmla="*/ 15 w 187"/>
                  <a:gd name="T71" fmla="*/ 211 h 239"/>
                  <a:gd name="T72" fmla="*/ 26 w 187"/>
                  <a:gd name="T73" fmla="*/ 222 h 239"/>
                  <a:gd name="T74" fmla="*/ 38 w 187"/>
                  <a:gd name="T75" fmla="*/ 230 h 239"/>
                  <a:gd name="T76" fmla="*/ 51 w 187"/>
                  <a:gd name="T77" fmla="*/ 235 h 239"/>
                  <a:gd name="T78" fmla="*/ 79 w 187"/>
                  <a:gd name="T79" fmla="*/ 239 h 239"/>
                  <a:gd name="T80" fmla="*/ 90 w 187"/>
                  <a:gd name="T81" fmla="*/ 239 h 239"/>
                  <a:gd name="T82" fmla="*/ 109 w 187"/>
                  <a:gd name="T83" fmla="*/ 234 h 239"/>
                  <a:gd name="T84" fmla="*/ 116 w 187"/>
                  <a:gd name="T85" fmla="*/ 231 h 239"/>
                  <a:gd name="T86" fmla="*/ 134 w 187"/>
                  <a:gd name="T87" fmla="*/ 219 h 239"/>
                  <a:gd name="T88" fmla="*/ 142 w 187"/>
                  <a:gd name="T89" fmla="*/ 235 h 239"/>
                  <a:gd name="T90" fmla="*/ 142 w 187"/>
                  <a:gd name="T91" fmla="*/ 170 h 239"/>
                  <a:gd name="T92" fmla="*/ 138 w 187"/>
                  <a:gd name="T93" fmla="*/ 175 h 239"/>
                  <a:gd name="T94" fmla="*/ 127 w 187"/>
                  <a:gd name="T95" fmla="*/ 185 h 239"/>
                  <a:gd name="T96" fmla="*/ 112 w 187"/>
                  <a:gd name="T97" fmla="*/ 193 h 239"/>
                  <a:gd name="T98" fmla="*/ 96 w 187"/>
                  <a:gd name="T99" fmla="*/ 198 h 239"/>
                  <a:gd name="T100" fmla="*/ 87 w 187"/>
                  <a:gd name="T101" fmla="*/ 199 h 239"/>
                  <a:gd name="T102" fmla="*/ 69 w 187"/>
                  <a:gd name="T103" fmla="*/ 196 h 239"/>
                  <a:gd name="T104" fmla="*/ 55 w 187"/>
                  <a:gd name="T105" fmla="*/ 190 h 239"/>
                  <a:gd name="T106" fmla="*/ 50 w 187"/>
                  <a:gd name="T107" fmla="*/ 185 h 239"/>
                  <a:gd name="T108" fmla="*/ 44 w 187"/>
                  <a:gd name="T109" fmla="*/ 170 h 239"/>
                  <a:gd name="T110" fmla="*/ 43 w 187"/>
                  <a:gd name="T111" fmla="*/ 161 h 239"/>
                  <a:gd name="T112" fmla="*/ 46 w 187"/>
                  <a:gd name="T113" fmla="*/ 146 h 239"/>
                  <a:gd name="T114" fmla="*/ 55 w 187"/>
                  <a:gd name="T115" fmla="*/ 135 h 239"/>
                  <a:gd name="T116" fmla="*/ 70 w 187"/>
                  <a:gd name="T117" fmla="*/ 128 h 239"/>
                  <a:gd name="T118" fmla="*/ 90 w 187"/>
                  <a:gd name="T119" fmla="*/ 126 h 239"/>
                  <a:gd name="T120" fmla="*/ 107 w 187"/>
                  <a:gd name="T121" fmla="*/ 126 h 239"/>
                  <a:gd name="T122" fmla="*/ 120 w 187"/>
                  <a:gd name="T123" fmla="*/ 128 h 239"/>
                  <a:gd name="T124" fmla="*/ 142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5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7" y="67"/>
                    </a:lnTo>
                    <a:lnTo>
                      <a:pt x="186" y="58"/>
                    </a:lnTo>
                    <a:lnTo>
                      <a:pt x="184" y="50"/>
                    </a:lnTo>
                    <a:lnTo>
                      <a:pt x="181" y="43"/>
                    </a:lnTo>
                    <a:lnTo>
                      <a:pt x="177" y="36"/>
                    </a:lnTo>
                    <a:lnTo>
                      <a:pt x="173" y="29"/>
                    </a:lnTo>
                    <a:lnTo>
                      <a:pt x="168" y="24"/>
                    </a:lnTo>
                    <a:lnTo>
                      <a:pt x="162" y="19"/>
                    </a:lnTo>
                    <a:lnTo>
                      <a:pt x="156" y="14"/>
                    </a:lnTo>
                    <a:lnTo>
                      <a:pt x="150" y="10"/>
                    </a:lnTo>
                    <a:lnTo>
                      <a:pt x="143" y="7"/>
                    </a:lnTo>
                    <a:lnTo>
                      <a:pt x="135" y="5"/>
                    </a:lnTo>
                    <a:lnTo>
                      <a:pt x="127" y="2"/>
                    </a:lnTo>
                    <a:lnTo>
                      <a:pt x="119" y="1"/>
                    </a:lnTo>
                    <a:lnTo>
                      <a:pt x="11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8" y="1"/>
                    </a:lnTo>
                    <a:lnTo>
                      <a:pt x="67" y="3"/>
                    </a:lnTo>
                    <a:lnTo>
                      <a:pt x="57" y="5"/>
                    </a:lnTo>
                    <a:lnTo>
                      <a:pt x="48" y="8"/>
                    </a:lnTo>
                    <a:lnTo>
                      <a:pt x="39" y="11"/>
                    </a:lnTo>
                    <a:lnTo>
                      <a:pt x="30" y="16"/>
                    </a:lnTo>
                    <a:lnTo>
                      <a:pt x="22" y="20"/>
                    </a:lnTo>
                    <a:lnTo>
                      <a:pt x="39" y="54"/>
                    </a:lnTo>
                    <a:lnTo>
                      <a:pt x="39" y="54"/>
                    </a:lnTo>
                    <a:lnTo>
                      <a:pt x="53" y="48"/>
                    </a:lnTo>
                    <a:lnTo>
                      <a:pt x="67" y="43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9" y="41"/>
                    </a:lnTo>
                    <a:lnTo>
                      <a:pt x="118" y="43"/>
                    </a:lnTo>
                    <a:lnTo>
                      <a:pt x="125" y="46"/>
                    </a:lnTo>
                    <a:lnTo>
                      <a:pt x="131" y="50"/>
                    </a:lnTo>
                    <a:lnTo>
                      <a:pt x="136" y="56"/>
                    </a:lnTo>
                    <a:lnTo>
                      <a:pt x="139" y="62"/>
                    </a:lnTo>
                    <a:lnTo>
                      <a:pt x="141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3" y="92"/>
                    </a:lnTo>
                    <a:lnTo>
                      <a:pt x="122" y="89"/>
                    </a:lnTo>
                    <a:lnTo>
                      <a:pt x="108" y="88"/>
                    </a:lnTo>
                    <a:lnTo>
                      <a:pt x="91" y="87"/>
                    </a:lnTo>
                    <a:lnTo>
                      <a:pt x="91" y="87"/>
                    </a:lnTo>
                    <a:lnTo>
                      <a:pt x="72" y="88"/>
                    </a:lnTo>
                    <a:lnTo>
                      <a:pt x="64" y="89"/>
                    </a:lnTo>
                    <a:lnTo>
                      <a:pt x="55" y="91"/>
                    </a:lnTo>
                    <a:lnTo>
                      <a:pt x="47" y="94"/>
                    </a:lnTo>
                    <a:lnTo>
                      <a:pt x="40" y="97"/>
                    </a:lnTo>
                    <a:lnTo>
                      <a:pt x="33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5"/>
                    </a:lnTo>
                    <a:lnTo>
                      <a:pt x="11" y="121"/>
                    </a:lnTo>
                    <a:lnTo>
                      <a:pt x="7" y="128"/>
                    </a:lnTo>
                    <a:lnTo>
                      <a:pt x="4" y="135"/>
                    </a:lnTo>
                    <a:lnTo>
                      <a:pt x="2" y="143"/>
                    </a:lnTo>
                    <a:lnTo>
                      <a:pt x="1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1" y="172"/>
                    </a:lnTo>
                    <a:lnTo>
                      <a:pt x="2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1" y="205"/>
                    </a:lnTo>
                    <a:lnTo>
                      <a:pt x="15" y="211"/>
                    </a:lnTo>
                    <a:lnTo>
                      <a:pt x="20" y="217"/>
                    </a:lnTo>
                    <a:lnTo>
                      <a:pt x="26" y="222"/>
                    </a:lnTo>
                    <a:lnTo>
                      <a:pt x="32" y="226"/>
                    </a:lnTo>
                    <a:lnTo>
                      <a:pt x="38" y="230"/>
                    </a:lnTo>
                    <a:lnTo>
                      <a:pt x="45" y="233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9"/>
                    </a:lnTo>
                    <a:lnTo>
                      <a:pt x="100" y="237"/>
                    </a:lnTo>
                    <a:lnTo>
                      <a:pt x="109" y="234"/>
                    </a:lnTo>
                    <a:lnTo>
                      <a:pt x="116" y="231"/>
                    </a:lnTo>
                    <a:lnTo>
                      <a:pt x="116" y="231"/>
                    </a:lnTo>
                    <a:lnTo>
                      <a:pt x="128" y="224"/>
                    </a:lnTo>
                    <a:lnTo>
                      <a:pt x="134" y="219"/>
                    </a:lnTo>
                    <a:lnTo>
                      <a:pt x="142" y="212"/>
                    </a:lnTo>
                    <a:lnTo>
                      <a:pt x="142" y="235"/>
                    </a:lnTo>
                    <a:lnTo>
                      <a:pt x="187" y="235"/>
                    </a:lnTo>
                    <a:close/>
                    <a:moveTo>
                      <a:pt x="142" y="170"/>
                    </a:moveTo>
                    <a:lnTo>
                      <a:pt x="142" y="170"/>
                    </a:lnTo>
                    <a:lnTo>
                      <a:pt x="138" y="175"/>
                    </a:lnTo>
                    <a:lnTo>
                      <a:pt x="133" y="180"/>
                    </a:lnTo>
                    <a:lnTo>
                      <a:pt x="127" y="185"/>
                    </a:lnTo>
                    <a:lnTo>
                      <a:pt x="120" y="190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6" y="198"/>
                    </a:lnTo>
                    <a:lnTo>
                      <a:pt x="87" y="199"/>
                    </a:lnTo>
                    <a:lnTo>
                      <a:pt x="87" y="199"/>
                    </a:lnTo>
                    <a:lnTo>
                      <a:pt x="77" y="198"/>
                    </a:lnTo>
                    <a:lnTo>
                      <a:pt x="69" y="196"/>
                    </a:lnTo>
                    <a:lnTo>
                      <a:pt x="61" y="194"/>
                    </a:lnTo>
                    <a:lnTo>
                      <a:pt x="55" y="190"/>
                    </a:lnTo>
                    <a:lnTo>
                      <a:pt x="55" y="190"/>
                    </a:lnTo>
                    <a:lnTo>
                      <a:pt x="50" y="185"/>
                    </a:lnTo>
                    <a:lnTo>
                      <a:pt x="46" y="178"/>
                    </a:lnTo>
                    <a:lnTo>
                      <a:pt x="44" y="170"/>
                    </a:lnTo>
                    <a:lnTo>
                      <a:pt x="43" y="161"/>
                    </a:lnTo>
                    <a:lnTo>
                      <a:pt x="43" y="161"/>
                    </a:lnTo>
                    <a:lnTo>
                      <a:pt x="44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5" y="135"/>
                    </a:lnTo>
                    <a:lnTo>
                      <a:pt x="62" y="131"/>
                    </a:lnTo>
                    <a:lnTo>
                      <a:pt x="70" y="128"/>
                    </a:lnTo>
                    <a:lnTo>
                      <a:pt x="79" y="126"/>
                    </a:lnTo>
                    <a:lnTo>
                      <a:pt x="90" y="126"/>
                    </a:lnTo>
                    <a:lnTo>
                      <a:pt x="90" y="126"/>
                    </a:lnTo>
                    <a:lnTo>
                      <a:pt x="107" y="126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31" y="131"/>
                    </a:lnTo>
                    <a:lnTo>
                      <a:pt x="142" y="136"/>
                    </a:lnTo>
                    <a:lnTo>
                      <a:pt x="142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3" name="Freeform 62"/>
              <p:cNvSpPr>
                <a:spLocks/>
              </p:cNvSpPr>
              <p:nvPr userDrawn="1"/>
            </p:nvSpPr>
            <p:spPr bwMode="auto">
              <a:xfrm>
                <a:off x="2303462" y="6363507"/>
                <a:ext cx="69850" cy="90488"/>
              </a:xfrm>
              <a:custGeom>
                <a:avLst/>
                <a:gdLst>
                  <a:gd name="T0" fmla="*/ 178 w 178"/>
                  <a:gd name="T1" fmla="*/ 0 h 230"/>
                  <a:gd name="T2" fmla="*/ 133 w 178"/>
                  <a:gd name="T3" fmla="*/ 0 h 230"/>
                  <a:gd name="T4" fmla="*/ 133 w 178"/>
                  <a:gd name="T5" fmla="*/ 92 h 230"/>
                  <a:gd name="T6" fmla="*/ 133 w 178"/>
                  <a:gd name="T7" fmla="*/ 92 h 230"/>
                  <a:gd name="T8" fmla="*/ 123 w 178"/>
                  <a:gd name="T9" fmla="*/ 98 h 230"/>
                  <a:gd name="T10" fmla="*/ 112 w 178"/>
                  <a:gd name="T11" fmla="*/ 102 h 230"/>
                  <a:gd name="T12" fmla="*/ 99 w 178"/>
                  <a:gd name="T13" fmla="*/ 105 h 230"/>
                  <a:gd name="T14" fmla="*/ 85 w 178"/>
                  <a:gd name="T15" fmla="*/ 106 h 230"/>
                  <a:gd name="T16" fmla="*/ 85 w 178"/>
                  <a:gd name="T17" fmla="*/ 106 h 230"/>
                  <a:gd name="T18" fmla="*/ 76 w 178"/>
                  <a:gd name="T19" fmla="*/ 105 h 230"/>
                  <a:gd name="T20" fmla="*/ 68 w 178"/>
                  <a:gd name="T21" fmla="*/ 103 h 230"/>
                  <a:gd name="T22" fmla="*/ 61 w 178"/>
                  <a:gd name="T23" fmla="*/ 101 h 230"/>
                  <a:gd name="T24" fmla="*/ 55 w 178"/>
                  <a:gd name="T25" fmla="*/ 97 h 230"/>
                  <a:gd name="T26" fmla="*/ 51 w 178"/>
                  <a:gd name="T27" fmla="*/ 91 h 230"/>
                  <a:gd name="T28" fmla="*/ 48 w 178"/>
                  <a:gd name="T29" fmla="*/ 85 h 230"/>
                  <a:gd name="T30" fmla="*/ 46 w 178"/>
                  <a:gd name="T31" fmla="*/ 76 h 230"/>
                  <a:gd name="T32" fmla="*/ 45 w 178"/>
                  <a:gd name="T33" fmla="*/ 66 h 230"/>
                  <a:gd name="T34" fmla="*/ 45 w 178"/>
                  <a:gd name="T35" fmla="*/ 0 h 230"/>
                  <a:gd name="T36" fmla="*/ 0 w 178"/>
                  <a:gd name="T37" fmla="*/ 0 h 230"/>
                  <a:gd name="T38" fmla="*/ 0 w 178"/>
                  <a:gd name="T39" fmla="*/ 64 h 230"/>
                  <a:gd name="T40" fmla="*/ 0 w 178"/>
                  <a:gd name="T41" fmla="*/ 64 h 230"/>
                  <a:gd name="T42" fmla="*/ 0 w 178"/>
                  <a:gd name="T43" fmla="*/ 74 h 230"/>
                  <a:gd name="T44" fmla="*/ 1 w 178"/>
                  <a:gd name="T45" fmla="*/ 83 h 230"/>
                  <a:gd name="T46" fmla="*/ 3 w 178"/>
                  <a:gd name="T47" fmla="*/ 91 h 230"/>
                  <a:gd name="T48" fmla="*/ 5 w 178"/>
                  <a:gd name="T49" fmla="*/ 99 h 230"/>
                  <a:gd name="T50" fmla="*/ 7 w 178"/>
                  <a:gd name="T51" fmla="*/ 106 h 230"/>
                  <a:gd name="T52" fmla="*/ 11 w 178"/>
                  <a:gd name="T53" fmla="*/ 113 h 230"/>
                  <a:gd name="T54" fmla="*/ 14 w 178"/>
                  <a:gd name="T55" fmla="*/ 119 h 230"/>
                  <a:gd name="T56" fmla="*/ 19 w 178"/>
                  <a:gd name="T57" fmla="*/ 124 h 230"/>
                  <a:gd name="T58" fmla="*/ 24 w 178"/>
                  <a:gd name="T59" fmla="*/ 129 h 230"/>
                  <a:gd name="T60" fmla="*/ 29 w 178"/>
                  <a:gd name="T61" fmla="*/ 133 h 230"/>
                  <a:gd name="T62" fmla="*/ 35 w 178"/>
                  <a:gd name="T63" fmla="*/ 137 h 230"/>
                  <a:gd name="T64" fmla="*/ 42 w 178"/>
                  <a:gd name="T65" fmla="*/ 140 h 230"/>
                  <a:gd name="T66" fmla="*/ 49 w 178"/>
                  <a:gd name="T67" fmla="*/ 142 h 230"/>
                  <a:gd name="T68" fmla="*/ 57 w 178"/>
                  <a:gd name="T69" fmla="*/ 145 h 230"/>
                  <a:gd name="T70" fmla="*/ 65 w 178"/>
                  <a:gd name="T71" fmla="*/ 145 h 230"/>
                  <a:gd name="T72" fmla="*/ 74 w 178"/>
                  <a:gd name="T73" fmla="*/ 146 h 230"/>
                  <a:gd name="T74" fmla="*/ 74 w 178"/>
                  <a:gd name="T75" fmla="*/ 146 h 230"/>
                  <a:gd name="T76" fmla="*/ 91 w 178"/>
                  <a:gd name="T77" fmla="*/ 145 h 230"/>
                  <a:gd name="T78" fmla="*/ 106 w 178"/>
                  <a:gd name="T79" fmla="*/ 141 h 230"/>
                  <a:gd name="T80" fmla="*/ 120 w 178"/>
                  <a:gd name="T81" fmla="*/ 137 h 230"/>
                  <a:gd name="T82" fmla="*/ 133 w 178"/>
                  <a:gd name="T83" fmla="*/ 131 h 230"/>
                  <a:gd name="T84" fmla="*/ 133 w 178"/>
                  <a:gd name="T85" fmla="*/ 230 h 230"/>
                  <a:gd name="T86" fmla="*/ 178 w 178"/>
                  <a:gd name="T87" fmla="*/ 230 h 230"/>
                  <a:gd name="T88" fmla="*/ 178 w 178"/>
                  <a:gd name="T8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78" h="230">
                    <a:moveTo>
                      <a:pt x="178" y="0"/>
                    </a:moveTo>
                    <a:lnTo>
                      <a:pt x="133" y="0"/>
                    </a:lnTo>
                    <a:lnTo>
                      <a:pt x="133" y="92"/>
                    </a:lnTo>
                    <a:lnTo>
                      <a:pt x="133" y="92"/>
                    </a:lnTo>
                    <a:lnTo>
                      <a:pt x="123" y="98"/>
                    </a:lnTo>
                    <a:lnTo>
                      <a:pt x="112" y="102"/>
                    </a:lnTo>
                    <a:lnTo>
                      <a:pt x="99" y="105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6" y="105"/>
                    </a:lnTo>
                    <a:lnTo>
                      <a:pt x="68" y="103"/>
                    </a:lnTo>
                    <a:lnTo>
                      <a:pt x="61" y="101"/>
                    </a:lnTo>
                    <a:lnTo>
                      <a:pt x="55" y="97"/>
                    </a:lnTo>
                    <a:lnTo>
                      <a:pt x="51" y="91"/>
                    </a:lnTo>
                    <a:lnTo>
                      <a:pt x="48" y="85"/>
                    </a:lnTo>
                    <a:lnTo>
                      <a:pt x="46" y="76"/>
                    </a:lnTo>
                    <a:lnTo>
                      <a:pt x="45" y="66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74"/>
                    </a:lnTo>
                    <a:lnTo>
                      <a:pt x="1" y="83"/>
                    </a:lnTo>
                    <a:lnTo>
                      <a:pt x="3" y="91"/>
                    </a:lnTo>
                    <a:lnTo>
                      <a:pt x="5" y="99"/>
                    </a:lnTo>
                    <a:lnTo>
                      <a:pt x="7" y="106"/>
                    </a:lnTo>
                    <a:lnTo>
                      <a:pt x="11" y="113"/>
                    </a:lnTo>
                    <a:lnTo>
                      <a:pt x="14" y="119"/>
                    </a:lnTo>
                    <a:lnTo>
                      <a:pt x="19" y="124"/>
                    </a:lnTo>
                    <a:lnTo>
                      <a:pt x="24" y="129"/>
                    </a:lnTo>
                    <a:lnTo>
                      <a:pt x="29" y="133"/>
                    </a:lnTo>
                    <a:lnTo>
                      <a:pt x="35" y="137"/>
                    </a:lnTo>
                    <a:lnTo>
                      <a:pt x="42" y="140"/>
                    </a:lnTo>
                    <a:lnTo>
                      <a:pt x="49" y="142"/>
                    </a:lnTo>
                    <a:lnTo>
                      <a:pt x="57" y="145"/>
                    </a:lnTo>
                    <a:lnTo>
                      <a:pt x="65" y="145"/>
                    </a:lnTo>
                    <a:lnTo>
                      <a:pt x="74" y="146"/>
                    </a:lnTo>
                    <a:lnTo>
                      <a:pt x="74" y="146"/>
                    </a:lnTo>
                    <a:lnTo>
                      <a:pt x="91" y="145"/>
                    </a:lnTo>
                    <a:lnTo>
                      <a:pt x="106" y="141"/>
                    </a:lnTo>
                    <a:lnTo>
                      <a:pt x="120" y="137"/>
                    </a:lnTo>
                    <a:lnTo>
                      <a:pt x="133" y="131"/>
                    </a:lnTo>
                    <a:lnTo>
                      <a:pt x="133" y="230"/>
                    </a:lnTo>
                    <a:lnTo>
                      <a:pt x="178" y="230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4" name="Freeform 63"/>
              <p:cNvSpPr>
                <a:spLocks/>
              </p:cNvSpPr>
              <p:nvPr userDrawn="1"/>
            </p:nvSpPr>
            <p:spPr bwMode="auto">
              <a:xfrm>
                <a:off x="2397125" y="6363507"/>
                <a:ext cx="74613" cy="90488"/>
              </a:xfrm>
              <a:custGeom>
                <a:avLst/>
                <a:gdLst>
                  <a:gd name="T0" fmla="*/ 0 w 186"/>
                  <a:gd name="T1" fmla="*/ 0 h 230"/>
                  <a:gd name="T2" fmla="*/ 0 w 186"/>
                  <a:gd name="T3" fmla="*/ 230 h 230"/>
                  <a:gd name="T4" fmla="*/ 45 w 186"/>
                  <a:gd name="T5" fmla="*/ 230 h 230"/>
                  <a:gd name="T6" fmla="*/ 125 w 186"/>
                  <a:gd name="T7" fmla="*/ 101 h 230"/>
                  <a:gd name="T8" fmla="*/ 125 w 186"/>
                  <a:gd name="T9" fmla="*/ 101 h 230"/>
                  <a:gd name="T10" fmla="*/ 142 w 186"/>
                  <a:gd name="T11" fmla="*/ 72 h 230"/>
                  <a:gd name="T12" fmla="*/ 142 w 186"/>
                  <a:gd name="T13" fmla="*/ 72 h 230"/>
                  <a:gd name="T14" fmla="*/ 142 w 186"/>
                  <a:gd name="T15" fmla="*/ 120 h 230"/>
                  <a:gd name="T16" fmla="*/ 142 w 186"/>
                  <a:gd name="T17" fmla="*/ 230 h 230"/>
                  <a:gd name="T18" fmla="*/ 186 w 186"/>
                  <a:gd name="T19" fmla="*/ 230 h 230"/>
                  <a:gd name="T20" fmla="*/ 186 w 186"/>
                  <a:gd name="T21" fmla="*/ 0 h 230"/>
                  <a:gd name="T22" fmla="*/ 142 w 186"/>
                  <a:gd name="T23" fmla="*/ 0 h 230"/>
                  <a:gd name="T24" fmla="*/ 62 w 186"/>
                  <a:gd name="T25" fmla="*/ 127 h 230"/>
                  <a:gd name="T26" fmla="*/ 62 w 186"/>
                  <a:gd name="T27" fmla="*/ 127 h 230"/>
                  <a:gd name="T28" fmla="*/ 52 w 186"/>
                  <a:gd name="T29" fmla="*/ 143 h 230"/>
                  <a:gd name="T30" fmla="*/ 44 w 186"/>
                  <a:gd name="T31" fmla="*/ 158 h 230"/>
                  <a:gd name="T32" fmla="*/ 44 w 186"/>
                  <a:gd name="T33" fmla="*/ 158 h 230"/>
                  <a:gd name="T34" fmla="*/ 45 w 186"/>
                  <a:gd name="T35" fmla="*/ 108 h 230"/>
                  <a:gd name="T36" fmla="*/ 45 w 186"/>
                  <a:gd name="T37" fmla="*/ 0 h 230"/>
                  <a:gd name="T38" fmla="*/ 0 w 186"/>
                  <a:gd name="T3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6" h="230">
                    <a:moveTo>
                      <a:pt x="0" y="0"/>
                    </a:moveTo>
                    <a:lnTo>
                      <a:pt x="0" y="230"/>
                    </a:lnTo>
                    <a:lnTo>
                      <a:pt x="45" y="230"/>
                    </a:lnTo>
                    <a:lnTo>
                      <a:pt x="125" y="101"/>
                    </a:lnTo>
                    <a:lnTo>
                      <a:pt x="125" y="101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42" y="120"/>
                    </a:lnTo>
                    <a:lnTo>
                      <a:pt x="142" y="230"/>
                    </a:lnTo>
                    <a:lnTo>
                      <a:pt x="186" y="230"/>
                    </a:lnTo>
                    <a:lnTo>
                      <a:pt x="186" y="0"/>
                    </a:lnTo>
                    <a:lnTo>
                      <a:pt x="142" y="0"/>
                    </a:lnTo>
                    <a:lnTo>
                      <a:pt x="62" y="127"/>
                    </a:lnTo>
                    <a:lnTo>
                      <a:pt x="62" y="127"/>
                    </a:lnTo>
                    <a:lnTo>
                      <a:pt x="52" y="143"/>
                    </a:lnTo>
                    <a:lnTo>
                      <a:pt x="44" y="158"/>
                    </a:lnTo>
                    <a:lnTo>
                      <a:pt x="44" y="158"/>
                    </a:lnTo>
                    <a:lnTo>
                      <a:pt x="45" y="108"/>
                    </a:lnTo>
                    <a:lnTo>
                      <a:pt x="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5" name="Freeform 64"/>
              <p:cNvSpPr>
                <a:spLocks noEditPoints="1"/>
              </p:cNvSpPr>
              <p:nvPr userDrawn="1"/>
            </p:nvSpPr>
            <p:spPr bwMode="auto">
              <a:xfrm>
                <a:off x="2535237" y="6325407"/>
                <a:ext cx="79375" cy="130175"/>
              </a:xfrm>
              <a:custGeom>
                <a:avLst/>
                <a:gdLst>
                  <a:gd name="T0" fmla="*/ 159 w 198"/>
                  <a:gd name="T1" fmla="*/ 4 h 328"/>
                  <a:gd name="T2" fmla="*/ 124 w 198"/>
                  <a:gd name="T3" fmla="*/ 5 h 328"/>
                  <a:gd name="T4" fmla="*/ 83 w 198"/>
                  <a:gd name="T5" fmla="*/ 13 h 328"/>
                  <a:gd name="T6" fmla="*/ 48 w 198"/>
                  <a:gd name="T7" fmla="*/ 31 h 328"/>
                  <a:gd name="T8" fmla="*/ 22 w 198"/>
                  <a:gd name="T9" fmla="*/ 59 h 328"/>
                  <a:gd name="T10" fmla="*/ 6 w 198"/>
                  <a:gd name="T11" fmla="*/ 96 h 328"/>
                  <a:gd name="T12" fmla="*/ 0 w 198"/>
                  <a:gd name="T13" fmla="*/ 143 h 328"/>
                  <a:gd name="T14" fmla="*/ 1 w 198"/>
                  <a:gd name="T15" fmla="*/ 223 h 328"/>
                  <a:gd name="T16" fmla="*/ 8 w 198"/>
                  <a:gd name="T17" fmla="*/ 259 h 328"/>
                  <a:gd name="T18" fmla="*/ 22 w 198"/>
                  <a:gd name="T19" fmla="*/ 288 h 328"/>
                  <a:gd name="T20" fmla="*/ 42 w 198"/>
                  <a:gd name="T21" fmla="*/ 310 h 328"/>
                  <a:gd name="T22" fmla="*/ 68 w 198"/>
                  <a:gd name="T23" fmla="*/ 324 h 328"/>
                  <a:gd name="T24" fmla="*/ 98 w 198"/>
                  <a:gd name="T25" fmla="*/ 328 h 328"/>
                  <a:gd name="T26" fmla="*/ 118 w 198"/>
                  <a:gd name="T27" fmla="*/ 326 h 328"/>
                  <a:gd name="T28" fmla="*/ 146 w 198"/>
                  <a:gd name="T29" fmla="*/ 316 h 328"/>
                  <a:gd name="T30" fmla="*/ 169 w 198"/>
                  <a:gd name="T31" fmla="*/ 297 h 328"/>
                  <a:gd name="T32" fmla="*/ 186 w 198"/>
                  <a:gd name="T33" fmla="*/ 271 h 328"/>
                  <a:gd name="T34" fmla="*/ 196 w 198"/>
                  <a:gd name="T35" fmla="*/ 236 h 328"/>
                  <a:gd name="T36" fmla="*/ 198 w 198"/>
                  <a:gd name="T37" fmla="*/ 210 h 328"/>
                  <a:gd name="T38" fmla="*/ 194 w 198"/>
                  <a:gd name="T39" fmla="*/ 173 h 328"/>
                  <a:gd name="T40" fmla="*/ 184 w 198"/>
                  <a:gd name="T41" fmla="*/ 142 h 328"/>
                  <a:gd name="T42" fmla="*/ 167 w 198"/>
                  <a:gd name="T43" fmla="*/ 118 h 328"/>
                  <a:gd name="T44" fmla="*/ 144 w 198"/>
                  <a:gd name="T45" fmla="*/ 102 h 328"/>
                  <a:gd name="T46" fmla="*/ 117 w 198"/>
                  <a:gd name="T47" fmla="*/ 94 h 328"/>
                  <a:gd name="T48" fmla="*/ 96 w 198"/>
                  <a:gd name="T49" fmla="*/ 94 h 328"/>
                  <a:gd name="T50" fmla="*/ 69 w 198"/>
                  <a:gd name="T51" fmla="*/ 103 h 328"/>
                  <a:gd name="T52" fmla="*/ 48 w 198"/>
                  <a:gd name="T53" fmla="*/ 123 h 328"/>
                  <a:gd name="T54" fmla="*/ 42 w 198"/>
                  <a:gd name="T55" fmla="*/ 123 h 328"/>
                  <a:gd name="T56" fmla="*/ 47 w 198"/>
                  <a:gd name="T57" fmla="*/ 97 h 328"/>
                  <a:gd name="T58" fmla="*/ 59 w 198"/>
                  <a:gd name="T59" fmla="*/ 76 h 328"/>
                  <a:gd name="T60" fmla="*/ 78 w 198"/>
                  <a:gd name="T61" fmla="*/ 59 h 328"/>
                  <a:gd name="T62" fmla="*/ 105 w 198"/>
                  <a:gd name="T63" fmla="*/ 48 h 328"/>
                  <a:gd name="T64" fmla="*/ 139 w 198"/>
                  <a:gd name="T65" fmla="*/ 44 h 328"/>
                  <a:gd name="T66" fmla="*/ 162 w 198"/>
                  <a:gd name="T67" fmla="*/ 43 h 328"/>
                  <a:gd name="T68" fmla="*/ 153 w 198"/>
                  <a:gd name="T69" fmla="*/ 211 h 328"/>
                  <a:gd name="T70" fmla="*/ 149 w 198"/>
                  <a:gd name="T71" fmla="*/ 241 h 328"/>
                  <a:gd name="T72" fmla="*/ 135 w 198"/>
                  <a:gd name="T73" fmla="*/ 270 h 328"/>
                  <a:gd name="T74" fmla="*/ 121 w 198"/>
                  <a:gd name="T75" fmla="*/ 281 h 328"/>
                  <a:gd name="T76" fmla="*/ 105 w 198"/>
                  <a:gd name="T77" fmla="*/ 286 h 328"/>
                  <a:gd name="T78" fmla="*/ 93 w 198"/>
                  <a:gd name="T79" fmla="*/ 287 h 328"/>
                  <a:gd name="T80" fmla="*/ 77 w 198"/>
                  <a:gd name="T81" fmla="*/ 282 h 328"/>
                  <a:gd name="T82" fmla="*/ 63 w 198"/>
                  <a:gd name="T83" fmla="*/ 272 h 328"/>
                  <a:gd name="T84" fmla="*/ 53 w 198"/>
                  <a:gd name="T85" fmla="*/ 256 h 328"/>
                  <a:gd name="T86" fmla="*/ 45 w 198"/>
                  <a:gd name="T87" fmla="*/ 227 h 328"/>
                  <a:gd name="T88" fmla="*/ 45 w 198"/>
                  <a:gd name="T89" fmla="*/ 193 h 328"/>
                  <a:gd name="T90" fmla="*/ 55 w 198"/>
                  <a:gd name="T91" fmla="*/ 161 h 328"/>
                  <a:gd name="T92" fmla="*/ 66 w 198"/>
                  <a:gd name="T93" fmla="*/ 147 h 328"/>
                  <a:gd name="T94" fmla="*/ 82 w 198"/>
                  <a:gd name="T95" fmla="*/ 138 h 328"/>
                  <a:gd name="T96" fmla="*/ 101 w 198"/>
                  <a:gd name="T97" fmla="*/ 135 h 328"/>
                  <a:gd name="T98" fmla="*/ 113 w 198"/>
                  <a:gd name="T99" fmla="*/ 136 h 328"/>
                  <a:gd name="T100" fmla="*/ 128 w 198"/>
                  <a:gd name="T101" fmla="*/ 143 h 328"/>
                  <a:gd name="T102" fmla="*/ 139 w 198"/>
                  <a:gd name="T103" fmla="*/ 156 h 328"/>
                  <a:gd name="T104" fmla="*/ 152 w 198"/>
                  <a:gd name="T105" fmla="*/ 194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8" h="328">
                    <a:moveTo>
                      <a:pt x="182" y="0"/>
                    </a:moveTo>
                    <a:lnTo>
                      <a:pt x="182" y="0"/>
                    </a:lnTo>
                    <a:lnTo>
                      <a:pt x="159" y="4"/>
                    </a:lnTo>
                    <a:lnTo>
                      <a:pt x="139" y="5"/>
                    </a:lnTo>
                    <a:lnTo>
                      <a:pt x="139" y="5"/>
                    </a:lnTo>
                    <a:lnTo>
                      <a:pt x="124" y="5"/>
                    </a:lnTo>
                    <a:lnTo>
                      <a:pt x="109" y="7"/>
                    </a:lnTo>
                    <a:lnTo>
                      <a:pt x="96" y="10"/>
                    </a:lnTo>
                    <a:lnTo>
                      <a:pt x="83" y="13"/>
                    </a:lnTo>
                    <a:lnTo>
                      <a:pt x="70" y="18"/>
                    </a:lnTo>
                    <a:lnTo>
                      <a:pt x="59" y="24"/>
                    </a:lnTo>
                    <a:lnTo>
                      <a:pt x="48" y="31"/>
                    </a:lnTo>
                    <a:lnTo>
                      <a:pt x="39" y="39"/>
                    </a:lnTo>
                    <a:lnTo>
                      <a:pt x="30" y="48"/>
                    </a:lnTo>
                    <a:lnTo>
                      <a:pt x="22" y="59"/>
                    </a:lnTo>
                    <a:lnTo>
                      <a:pt x="16" y="70"/>
                    </a:lnTo>
                    <a:lnTo>
                      <a:pt x="10" y="82"/>
                    </a:lnTo>
                    <a:lnTo>
                      <a:pt x="6" y="96"/>
                    </a:lnTo>
                    <a:lnTo>
                      <a:pt x="3" y="111"/>
                    </a:lnTo>
                    <a:lnTo>
                      <a:pt x="1" y="126"/>
                    </a:lnTo>
                    <a:lnTo>
                      <a:pt x="0" y="143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1" y="223"/>
                    </a:lnTo>
                    <a:lnTo>
                      <a:pt x="2" y="236"/>
                    </a:lnTo>
                    <a:lnTo>
                      <a:pt x="4" y="248"/>
                    </a:lnTo>
                    <a:lnTo>
                      <a:pt x="8" y="259"/>
                    </a:lnTo>
                    <a:lnTo>
                      <a:pt x="12" y="270"/>
                    </a:lnTo>
                    <a:lnTo>
                      <a:pt x="16" y="279"/>
                    </a:lnTo>
                    <a:lnTo>
                      <a:pt x="22" y="288"/>
                    </a:lnTo>
                    <a:lnTo>
                      <a:pt x="28" y="296"/>
                    </a:lnTo>
                    <a:lnTo>
                      <a:pt x="35" y="303"/>
                    </a:lnTo>
                    <a:lnTo>
                      <a:pt x="42" y="310"/>
                    </a:lnTo>
                    <a:lnTo>
                      <a:pt x="50" y="315"/>
                    </a:lnTo>
                    <a:lnTo>
                      <a:pt x="59" y="320"/>
                    </a:lnTo>
                    <a:lnTo>
                      <a:pt x="68" y="324"/>
                    </a:lnTo>
                    <a:lnTo>
                      <a:pt x="78" y="326"/>
                    </a:lnTo>
                    <a:lnTo>
                      <a:pt x="87" y="328"/>
                    </a:lnTo>
                    <a:lnTo>
                      <a:pt x="98" y="328"/>
                    </a:lnTo>
                    <a:lnTo>
                      <a:pt x="98" y="328"/>
                    </a:lnTo>
                    <a:lnTo>
                      <a:pt x="108" y="328"/>
                    </a:lnTo>
                    <a:lnTo>
                      <a:pt x="118" y="326"/>
                    </a:lnTo>
                    <a:lnTo>
                      <a:pt x="128" y="324"/>
                    </a:lnTo>
                    <a:lnTo>
                      <a:pt x="138" y="320"/>
                    </a:lnTo>
                    <a:lnTo>
                      <a:pt x="146" y="316"/>
                    </a:lnTo>
                    <a:lnTo>
                      <a:pt x="155" y="311"/>
                    </a:lnTo>
                    <a:lnTo>
                      <a:pt x="162" y="304"/>
                    </a:lnTo>
                    <a:lnTo>
                      <a:pt x="169" y="297"/>
                    </a:lnTo>
                    <a:lnTo>
                      <a:pt x="176" y="289"/>
                    </a:lnTo>
                    <a:lnTo>
                      <a:pt x="181" y="280"/>
                    </a:lnTo>
                    <a:lnTo>
                      <a:pt x="186" y="271"/>
                    </a:lnTo>
                    <a:lnTo>
                      <a:pt x="190" y="260"/>
                    </a:lnTo>
                    <a:lnTo>
                      <a:pt x="194" y="249"/>
                    </a:lnTo>
                    <a:lnTo>
                      <a:pt x="196" y="236"/>
                    </a:lnTo>
                    <a:lnTo>
                      <a:pt x="198" y="223"/>
                    </a:lnTo>
                    <a:lnTo>
                      <a:pt x="198" y="210"/>
                    </a:lnTo>
                    <a:lnTo>
                      <a:pt x="198" y="210"/>
                    </a:lnTo>
                    <a:lnTo>
                      <a:pt x="198" y="197"/>
                    </a:lnTo>
                    <a:lnTo>
                      <a:pt x="196" y="184"/>
                    </a:lnTo>
                    <a:lnTo>
                      <a:pt x="194" y="173"/>
                    </a:lnTo>
                    <a:lnTo>
                      <a:pt x="191" y="162"/>
                    </a:lnTo>
                    <a:lnTo>
                      <a:pt x="188" y="152"/>
                    </a:lnTo>
                    <a:lnTo>
                      <a:pt x="184" y="142"/>
                    </a:lnTo>
                    <a:lnTo>
                      <a:pt x="179" y="133"/>
                    </a:lnTo>
                    <a:lnTo>
                      <a:pt x="173" y="125"/>
                    </a:lnTo>
                    <a:lnTo>
                      <a:pt x="167" y="118"/>
                    </a:lnTo>
                    <a:lnTo>
                      <a:pt x="160" y="112"/>
                    </a:lnTo>
                    <a:lnTo>
                      <a:pt x="152" y="106"/>
                    </a:lnTo>
                    <a:lnTo>
                      <a:pt x="144" y="102"/>
                    </a:lnTo>
                    <a:lnTo>
                      <a:pt x="135" y="98"/>
                    </a:lnTo>
                    <a:lnTo>
                      <a:pt x="126" y="96"/>
                    </a:lnTo>
                    <a:lnTo>
                      <a:pt x="117" y="94"/>
                    </a:lnTo>
                    <a:lnTo>
                      <a:pt x="106" y="94"/>
                    </a:lnTo>
                    <a:lnTo>
                      <a:pt x="106" y="94"/>
                    </a:lnTo>
                    <a:lnTo>
                      <a:pt x="96" y="94"/>
                    </a:lnTo>
                    <a:lnTo>
                      <a:pt x="87" y="96"/>
                    </a:lnTo>
                    <a:lnTo>
                      <a:pt x="78" y="99"/>
                    </a:lnTo>
                    <a:lnTo>
                      <a:pt x="69" y="103"/>
                    </a:lnTo>
                    <a:lnTo>
                      <a:pt x="62" y="108"/>
                    </a:lnTo>
                    <a:lnTo>
                      <a:pt x="54" y="115"/>
                    </a:lnTo>
                    <a:lnTo>
                      <a:pt x="48" y="123"/>
                    </a:lnTo>
                    <a:lnTo>
                      <a:pt x="42" y="133"/>
                    </a:lnTo>
                    <a:lnTo>
                      <a:pt x="42" y="133"/>
                    </a:lnTo>
                    <a:lnTo>
                      <a:pt x="42" y="123"/>
                    </a:lnTo>
                    <a:lnTo>
                      <a:pt x="43" y="114"/>
                    </a:lnTo>
                    <a:lnTo>
                      <a:pt x="45" y="106"/>
                    </a:lnTo>
                    <a:lnTo>
                      <a:pt x="47" y="97"/>
                    </a:lnTo>
                    <a:lnTo>
                      <a:pt x="50" y="90"/>
                    </a:lnTo>
                    <a:lnTo>
                      <a:pt x="54" y="82"/>
                    </a:lnTo>
                    <a:lnTo>
                      <a:pt x="59" y="76"/>
                    </a:lnTo>
                    <a:lnTo>
                      <a:pt x="65" y="69"/>
                    </a:lnTo>
                    <a:lnTo>
                      <a:pt x="71" y="64"/>
                    </a:lnTo>
                    <a:lnTo>
                      <a:pt x="78" y="59"/>
                    </a:lnTo>
                    <a:lnTo>
                      <a:pt x="86" y="54"/>
                    </a:lnTo>
                    <a:lnTo>
                      <a:pt x="95" y="51"/>
                    </a:lnTo>
                    <a:lnTo>
                      <a:pt x="105" y="48"/>
                    </a:lnTo>
                    <a:lnTo>
                      <a:pt x="115" y="46"/>
                    </a:lnTo>
                    <a:lnTo>
                      <a:pt x="127" y="44"/>
                    </a:lnTo>
                    <a:lnTo>
                      <a:pt x="139" y="44"/>
                    </a:lnTo>
                    <a:lnTo>
                      <a:pt x="139" y="44"/>
                    </a:lnTo>
                    <a:lnTo>
                      <a:pt x="151" y="44"/>
                    </a:lnTo>
                    <a:lnTo>
                      <a:pt x="162" y="43"/>
                    </a:lnTo>
                    <a:lnTo>
                      <a:pt x="182" y="40"/>
                    </a:lnTo>
                    <a:lnTo>
                      <a:pt x="182" y="0"/>
                    </a:lnTo>
                    <a:close/>
                    <a:moveTo>
                      <a:pt x="153" y="211"/>
                    </a:moveTo>
                    <a:lnTo>
                      <a:pt x="153" y="211"/>
                    </a:lnTo>
                    <a:lnTo>
                      <a:pt x="152" y="226"/>
                    </a:lnTo>
                    <a:lnTo>
                      <a:pt x="149" y="241"/>
                    </a:lnTo>
                    <a:lnTo>
                      <a:pt x="145" y="254"/>
                    </a:lnTo>
                    <a:lnTo>
                      <a:pt x="138" y="265"/>
                    </a:lnTo>
                    <a:lnTo>
                      <a:pt x="135" y="270"/>
                    </a:lnTo>
                    <a:lnTo>
                      <a:pt x="131" y="274"/>
                    </a:lnTo>
                    <a:lnTo>
                      <a:pt x="126" y="278"/>
                    </a:lnTo>
                    <a:lnTo>
                      <a:pt x="121" y="281"/>
                    </a:lnTo>
                    <a:lnTo>
                      <a:pt x="116" y="283"/>
                    </a:lnTo>
                    <a:lnTo>
                      <a:pt x="111" y="285"/>
                    </a:lnTo>
                    <a:lnTo>
                      <a:pt x="105" y="286"/>
                    </a:lnTo>
                    <a:lnTo>
                      <a:pt x="99" y="287"/>
                    </a:lnTo>
                    <a:lnTo>
                      <a:pt x="99" y="287"/>
                    </a:lnTo>
                    <a:lnTo>
                      <a:pt x="93" y="287"/>
                    </a:lnTo>
                    <a:lnTo>
                      <a:pt x="87" y="286"/>
                    </a:lnTo>
                    <a:lnTo>
                      <a:pt x="82" y="284"/>
                    </a:lnTo>
                    <a:lnTo>
                      <a:pt x="77" y="282"/>
                    </a:lnTo>
                    <a:lnTo>
                      <a:pt x="72" y="279"/>
                    </a:lnTo>
                    <a:lnTo>
                      <a:pt x="67" y="276"/>
                    </a:lnTo>
                    <a:lnTo>
                      <a:pt x="63" y="272"/>
                    </a:lnTo>
                    <a:lnTo>
                      <a:pt x="59" y="267"/>
                    </a:lnTo>
                    <a:lnTo>
                      <a:pt x="56" y="262"/>
                    </a:lnTo>
                    <a:lnTo>
                      <a:pt x="53" y="256"/>
                    </a:lnTo>
                    <a:lnTo>
                      <a:pt x="50" y="250"/>
                    </a:lnTo>
                    <a:lnTo>
                      <a:pt x="48" y="243"/>
                    </a:lnTo>
                    <a:lnTo>
                      <a:pt x="45" y="227"/>
                    </a:lnTo>
                    <a:lnTo>
                      <a:pt x="44" y="209"/>
                    </a:lnTo>
                    <a:lnTo>
                      <a:pt x="44" y="209"/>
                    </a:lnTo>
                    <a:lnTo>
                      <a:pt x="45" y="193"/>
                    </a:lnTo>
                    <a:lnTo>
                      <a:pt x="48" y="179"/>
                    </a:lnTo>
                    <a:lnTo>
                      <a:pt x="52" y="166"/>
                    </a:lnTo>
                    <a:lnTo>
                      <a:pt x="55" y="161"/>
                    </a:lnTo>
                    <a:lnTo>
                      <a:pt x="58" y="155"/>
                    </a:lnTo>
                    <a:lnTo>
                      <a:pt x="62" y="151"/>
                    </a:lnTo>
                    <a:lnTo>
                      <a:pt x="66" y="147"/>
                    </a:lnTo>
                    <a:lnTo>
                      <a:pt x="71" y="143"/>
                    </a:lnTo>
                    <a:lnTo>
                      <a:pt x="76" y="140"/>
                    </a:lnTo>
                    <a:lnTo>
                      <a:pt x="82" y="138"/>
                    </a:lnTo>
                    <a:lnTo>
                      <a:pt x="88" y="136"/>
                    </a:lnTo>
                    <a:lnTo>
                      <a:pt x="94" y="135"/>
                    </a:lnTo>
                    <a:lnTo>
                      <a:pt x="101" y="135"/>
                    </a:lnTo>
                    <a:lnTo>
                      <a:pt x="101" y="135"/>
                    </a:lnTo>
                    <a:lnTo>
                      <a:pt x="107" y="135"/>
                    </a:lnTo>
                    <a:lnTo>
                      <a:pt x="113" y="136"/>
                    </a:lnTo>
                    <a:lnTo>
                      <a:pt x="118" y="138"/>
                    </a:lnTo>
                    <a:lnTo>
                      <a:pt x="123" y="140"/>
                    </a:lnTo>
                    <a:lnTo>
                      <a:pt x="128" y="143"/>
                    </a:lnTo>
                    <a:lnTo>
                      <a:pt x="132" y="147"/>
                    </a:lnTo>
                    <a:lnTo>
                      <a:pt x="136" y="151"/>
                    </a:lnTo>
                    <a:lnTo>
                      <a:pt x="139" y="156"/>
                    </a:lnTo>
                    <a:lnTo>
                      <a:pt x="145" y="167"/>
                    </a:lnTo>
                    <a:lnTo>
                      <a:pt x="150" y="180"/>
                    </a:lnTo>
                    <a:lnTo>
                      <a:pt x="152" y="194"/>
                    </a:lnTo>
                    <a:lnTo>
                      <a:pt x="153" y="211"/>
                    </a:lnTo>
                    <a:lnTo>
                      <a:pt x="153" y="211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6" name="Freeform 65"/>
              <p:cNvSpPr>
                <a:spLocks/>
              </p:cNvSpPr>
              <p:nvPr userDrawn="1"/>
            </p:nvSpPr>
            <p:spPr bwMode="auto">
              <a:xfrm>
                <a:off x="2633662" y="6363507"/>
                <a:ext cx="74613" cy="90488"/>
              </a:xfrm>
              <a:custGeom>
                <a:avLst/>
                <a:gdLst>
                  <a:gd name="T0" fmla="*/ 0 w 188"/>
                  <a:gd name="T1" fmla="*/ 0 h 230"/>
                  <a:gd name="T2" fmla="*/ 0 w 188"/>
                  <a:gd name="T3" fmla="*/ 230 h 230"/>
                  <a:gd name="T4" fmla="*/ 45 w 188"/>
                  <a:gd name="T5" fmla="*/ 230 h 230"/>
                  <a:gd name="T6" fmla="*/ 126 w 188"/>
                  <a:gd name="T7" fmla="*/ 101 h 230"/>
                  <a:gd name="T8" fmla="*/ 126 w 188"/>
                  <a:gd name="T9" fmla="*/ 101 h 230"/>
                  <a:gd name="T10" fmla="*/ 143 w 188"/>
                  <a:gd name="T11" fmla="*/ 72 h 230"/>
                  <a:gd name="T12" fmla="*/ 143 w 188"/>
                  <a:gd name="T13" fmla="*/ 72 h 230"/>
                  <a:gd name="T14" fmla="*/ 143 w 188"/>
                  <a:gd name="T15" fmla="*/ 120 h 230"/>
                  <a:gd name="T16" fmla="*/ 143 w 188"/>
                  <a:gd name="T17" fmla="*/ 230 h 230"/>
                  <a:gd name="T18" fmla="*/ 188 w 188"/>
                  <a:gd name="T19" fmla="*/ 230 h 230"/>
                  <a:gd name="T20" fmla="*/ 188 w 188"/>
                  <a:gd name="T21" fmla="*/ 0 h 230"/>
                  <a:gd name="T22" fmla="*/ 143 w 188"/>
                  <a:gd name="T23" fmla="*/ 0 h 230"/>
                  <a:gd name="T24" fmla="*/ 62 w 188"/>
                  <a:gd name="T25" fmla="*/ 127 h 230"/>
                  <a:gd name="T26" fmla="*/ 62 w 188"/>
                  <a:gd name="T27" fmla="*/ 127 h 230"/>
                  <a:gd name="T28" fmla="*/ 52 w 188"/>
                  <a:gd name="T29" fmla="*/ 143 h 230"/>
                  <a:gd name="T30" fmla="*/ 45 w 188"/>
                  <a:gd name="T31" fmla="*/ 158 h 230"/>
                  <a:gd name="T32" fmla="*/ 45 w 188"/>
                  <a:gd name="T33" fmla="*/ 158 h 230"/>
                  <a:gd name="T34" fmla="*/ 45 w 188"/>
                  <a:gd name="T35" fmla="*/ 108 h 230"/>
                  <a:gd name="T36" fmla="*/ 45 w 188"/>
                  <a:gd name="T37" fmla="*/ 0 h 230"/>
                  <a:gd name="T38" fmla="*/ 0 w 188"/>
                  <a:gd name="T3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8" h="230">
                    <a:moveTo>
                      <a:pt x="0" y="0"/>
                    </a:moveTo>
                    <a:lnTo>
                      <a:pt x="0" y="230"/>
                    </a:lnTo>
                    <a:lnTo>
                      <a:pt x="45" y="230"/>
                    </a:lnTo>
                    <a:lnTo>
                      <a:pt x="126" y="101"/>
                    </a:lnTo>
                    <a:lnTo>
                      <a:pt x="126" y="101"/>
                    </a:lnTo>
                    <a:lnTo>
                      <a:pt x="143" y="72"/>
                    </a:lnTo>
                    <a:lnTo>
                      <a:pt x="143" y="72"/>
                    </a:lnTo>
                    <a:lnTo>
                      <a:pt x="143" y="120"/>
                    </a:lnTo>
                    <a:lnTo>
                      <a:pt x="143" y="230"/>
                    </a:lnTo>
                    <a:lnTo>
                      <a:pt x="188" y="230"/>
                    </a:lnTo>
                    <a:lnTo>
                      <a:pt x="188" y="0"/>
                    </a:lnTo>
                    <a:lnTo>
                      <a:pt x="143" y="0"/>
                    </a:lnTo>
                    <a:lnTo>
                      <a:pt x="62" y="127"/>
                    </a:lnTo>
                    <a:lnTo>
                      <a:pt x="62" y="127"/>
                    </a:lnTo>
                    <a:lnTo>
                      <a:pt x="52" y="143"/>
                    </a:lnTo>
                    <a:lnTo>
                      <a:pt x="45" y="158"/>
                    </a:lnTo>
                    <a:lnTo>
                      <a:pt x="45" y="158"/>
                    </a:lnTo>
                    <a:lnTo>
                      <a:pt x="45" y="108"/>
                    </a:lnTo>
                    <a:lnTo>
                      <a:pt x="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7" name="Freeform 66"/>
              <p:cNvSpPr>
                <a:spLocks/>
              </p:cNvSpPr>
              <p:nvPr userDrawn="1"/>
            </p:nvSpPr>
            <p:spPr bwMode="auto">
              <a:xfrm>
                <a:off x="2722562" y="6360332"/>
                <a:ext cx="69850" cy="95250"/>
              </a:xfrm>
              <a:custGeom>
                <a:avLst/>
                <a:gdLst>
                  <a:gd name="T0" fmla="*/ 93 w 177"/>
                  <a:gd name="T1" fmla="*/ 131 h 239"/>
                  <a:gd name="T2" fmla="*/ 117 w 177"/>
                  <a:gd name="T3" fmla="*/ 137 h 239"/>
                  <a:gd name="T4" fmla="*/ 130 w 177"/>
                  <a:gd name="T5" fmla="*/ 153 h 239"/>
                  <a:gd name="T6" fmla="*/ 132 w 177"/>
                  <a:gd name="T7" fmla="*/ 166 h 239"/>
                  <a:gd name="T8" fmla="*/ 126 w 177"/>
                  <a:gd name="T9" fmla="*/ 185 h 239"/>
                  <a:gd name="T10" fmla="*/ 106 w 177"/>
                  <a:gd name="T11" fmla="*/ 198 h 239"/>
                  <a:gd name="T12" fmla="*/ 85 w 177"/>
                  <a:gd name="T13" fmla="*/ 201 h 239"/>
                  <a:gd name="T14" fmla="*/ 61 w 177"/>
                  <a:gd name="T15" fmla="*/ 197 h 239"/>
                  <a:gd name="T16" fmla="*/ 36 w 177"/>
                  <a:gd name="T17" fmla="*/ 187 h 239"/>
                  <a:gd name="T18" fmla="*/ 0 w 177"/>
                  <a:gd name="T19" fmla="*/ 210 h 239"/>
                  <a:gd name="T20" fmla="*/ 18 w 177"/>
                  <a:gd name="T21" fmla="*/ 222 h 239"/>
                  <a:gd name="T22" fmla="*/ 50 w 177"/>
                  <a:gd name="T23" fmla="*/ 235 h 239"/>
                  <a:gd name="T24" fmla="*/ 83 w 177"/>
                  <a:gd name="T25" fmla="*/ 239 h 239"/>
                  <a:gd name="T26" fmla="*/ 106 w 177"/>
                  <a:gd name="T27" fmla="*/ 238 h 239"/>
                  <a:gd name="T28" fmla="*/ 134 w 177"/>
                  <a:gd name="T29" fmla="*/ 231 h 239"/>
                  <a:gd name="T30" fmla="*/ 154 w 177"/>
                  <a:gd name="T31" fmla="*/ 218 h 239"/>
                  <a:gd name="T32" fmla="*/ 168 w 177"/>
                  <a:gd name="T33" fmla="*/ 202 h 239"/>
                  <a:gd name="T34" fmla="*/ 176 w 177"/>
                  <a:gd name="T35" fmla="*/ 182 h 239"/>
                  <a:gd name="T36" fmla="*/ 177 w 177"/>
                  <a:gd name="T37" fmla="*/ 168 h 239"/>
                  <a:gd name="T38" fmla="*/ 168 w 177"/>
                  <a:gd name="T39" fmla="*/ 137 h 239"/>
                  <a:gd name="T40" fmla="*/ 149 w 177"/>
                  <a:gd name="T41" fmla="*/ 118 h 239"/>
                  <a:gd name="T42" fmla="*/ 133 w 177"/>
                  <a:gd name="T43" fmla="*/ 112 h 239"/>
                  <a:gd name="T44" fmla="*/ 154 w 177"/>
                  <a:gd name="T45" fmla="*/ 99 h 239"/>
                  <a:gd name="T46" fmla="*/ 167 w 177"/>
                  <a:gd name="T47" fmla="*/ 80 h 239"/>
                  <a:gd name="T48" fmla="*/ 170 w 177"/>
                  <a:gd name="T49" fmla="*/ 64 h 239"/>
                  <a:gd name="T50" fmla="*/ 167 w 177"/>
                  <a:gd name="T51" fmla="*/ 45 h 239"/>
                  <a:gd name="T52" fmla="*/ 159 w 177"/>
                  <a:gd name="T53" fmla="*/ 28 h 239"/>
                  <a:gd name="T54" fmla="*/ 144 w 177"/>
                  <a:gd name="T55" fmla="*/ 15 h 239"/>
                  <a:gd name="T56" fmla="*/ 123 w 177"/>
                  <a:gd name="T57" fmla="*/ 5 h 239"/>
                  <a:gd name="T58" fmla="*/ 96 w 177"/>
                  <a:gd name="T59" fmla="*/ 0 h 239"/>
                  <a:gd name="T60" fmla="*/ 74 w 177"/>
                  <a:gd name="T61" fmla="*/ 0 h 239"/>
                  <a:gd name="T62" fmla="*/ 43 w 177"/>
                  <a:gd name="T63" fmla="*/ 7 h 239"/>
                  <a:gd name="T64" fmla="*/ 15 w 177"/>
                  <a:gd name="T65" fmla="*/ 20 h 239"/>
                  <a:gd name="T66" fmla="*/ 27 w 177"/>
                  <a:gd name="T67" fmla="*/ 60 h 239"/>
                  <a:gd name="T68" fmla="*/ 56 w 177"/>
                  <a:gd name="T69" fmla="*/ 44 h 239"/>
                  <a:gd name="T70" fmla="*/ 79 w 177"/>
                  <a:gd name="T71" fmla="*/ 39 h 239"/>
                  <a:gd name="T72" fmla="*/ 97 w 177"/>
                  <a:gd name="T73" fmla="*/ 39 h 239"/>
                  <a:gd name="T74" fmla="*/ 117 w 177"/>
                  <a:gd name="T75" fmla="*/ 47 h 239"/>
                  <a:gd name="T76" fmla="*/ 125 w 177"/>
                  <a:gd name="T77" fmla="*/ 62 h 239"/>
                  <a:gd name="T78" fmla="*/ 125 w 177"/>
                  <a:gd name="T79" fmla="*/ 72 h 239"/>
                  <a:gd name="T80" fmla="*/ 118 w 177"/>
                  <a:gd name="T81" fmla="*/ 86 h 239"/>
                  <a:gd name="T82" fmla="*/ 99 w 177"/>
                  <a:gd name="T83" fmla="*/ 94 h 239"/>
                  <a:gd name="T84" fmla="*/ 61 w 177"/>
                  <a:gd name="T85" fmla="*/ 131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7" h="239">
                    <a:moveTo>
                      <a:pt x="61" y="131"/>
                    </a:moveTo>
                    <a:lnTo>
                      <a:pt x="93" y="131"/>
                    </a:lnTo>
                    <a:lnTo>
                      <a:pt x="93" y="131"/>
                    </a:lnTo>
                    <a:lnTo>
                      <a:pt x="102" y="132"/>
                    </a:lnTo>
                    <a:lnTo>
                      <a:pt x="111" y="134"/>
                    </a:lnTo>
                    <a:lnTo>
                      <a:pt x="117" y="137"/>
                    </a:lnTo>
                    <a:lnTo>
                      <a:pt x="123" y="142"/>
                    </a:lnTo>
                    <a:lnTo>
                      <a:pt x="127" y="147"/>
                    </a:lnTo>
                    <a:lnTo>
                      <a:pt x="130" y="153"/>
                    </a:lnTo>
                    <a:lnTo>
                      <a:pt x="131" y="159"/>
                    </a:lnTo>
                    <a:lnTo>
                      <a:pt x="132" y="166"/>
                    </a:lnTo>
                    <a:lnTo>
                      <a:pt x="132" y="166"/>
                    </a:lnTo>
                    <a:lnTo>
                      <a:pt x="131" y="173"/>
                    </a:lnTo>
                    <a:lnTo>
                      <a:pt x="129" y="179"/>
                    </a:lnTo>
                    <a:lnTo>
                      <a:pt x="126" y="185"/>
                    </a:lnTo>
                    <a:lnTo>
                      <a:pt x="121" y="190"/>
                    </a:lnTo>
                    <a:lnTo>
                      <a:pt x="115" y="194"/>
                    </a:lnTo>
                    <a:lnTo>
                      <a:pt x="106" y="198"/>
                    </a:lnTo>
                    <a:lnTo>
                      <a:pt x="97" y="200"/>
                    </a:lnTo>
                    <a:lnTo>
                      <a:pt x="85" y="201"/>
                    </a:lnTo>
                    <a:lnTo>
                      <a:pt x="85" y="201"/>
                    </a:lnTo>
                    <a:lnTo>
                      <a:pt x="77" y="200"/>
                    </a:lnTo>
                    <a:lnTo>
                      <a:pt x="69" y="199"/>
                    </a:lnTo>
                    <a:lnTo>
                      <a:pt x="61" y="197"/>
                    </a:lnTo>
                    <a:lnTo>
                      <a:pt x="53" y="194"/>
                    </a:lnTo>
                    <a:lnTo>
                      <a:pt x="44" y="191"/>
                    </a:lnTo>
                    <a:lnTo>
                      <a:pt x="36" y="187"/>
                    </a:lnTo>
                    <a:lnTo>
                      <a:pt x="28" y="182"/>
                    </a:lnTo>
                    <a:lnTo>
                      <a:pt x="20" y="176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9" y="216"/>
                    </a:lnTo>
                    <a:lnTo>
                      <a:pt x="18" y="222"/>
                    </a:lnTo>
                    <a:lnTo>
                      <a:pt x="28" y="227"/>
                    </a:lnTo>
                    <a:lnTo>
                      <a:pt x="39" y="231"/>
                    </a:lnTo>
                    <a:lnTo>
                      <a:pt x="50" y="235"/>
                    </a:lnTo>
                    <a:lnTo>
                      <a:pt x="61" y="237"/>
                    </a:lnTo>
                    <a:lnTo>
                      <a:pt x="72" y="239"/>
                    </a:lnTo>
                    <a:lnTo>
                      <a:pt x="83" y="239"/>
                    </a:lnTo>
                    <a:lnTo>
                      <a:pt x="83" y="239"/>
                    </a:lnTo>
                    <a:lnTo>
                      <a:pt x="95" y="239"/>
                    </a:lnTo>
                    <a:lnTo>
                      <a:pt x="106" y="238"/>
                    </a:lnTo>
                    <a:lnTo>
                      <a:pt x="116" y="236"/>
                    </a:lnTo>
                    <a:lnTo>
                      <a:pt x="125" y="234"/>
                    </a:lnTo>
                    <a:lnTo>
                      <a:pt x="134" y="231"/>
                    </a:lnTo>
                    <a:lnTo>
                      <a:pt x="141" y="227"/>
                    </a:lnTo>
                    <a:lnTo>
                      <a:pt x="148" y="223"/>
                    </a:lnTo>
                    <a:lnTo>
                      <a:pt x="154" y="218"/>
                    </a:lnTo>
                    <a:lnTo>
                      <a:pt x="160" y="213"/>
                    </a:lnTo>
                    <a:lnTo>
                      <a:pt x="164" y="208"/>
                    </a:lnTo>
                    <a:lnTo>
                      <a:pt x="168" y="202"/>
                    </a:lnTo>
                    <a:lnTo>
                      <a:pt x="171" y="196"/>
                    </a:lnTo>
                    <a:lnTo>
                      <a:pt x="174" y="189"/>
                    </a:lnTo>
                    <a:lnTo>
                      <a:pt x="176" y="182"/>
                    </a:lnTo>
                    <a:lnTo>
                      <a:pt x="177" y="175"/>
                    </a:lnTo>
                    <a:lnTo>
                      <a:pt x="177" y="168"/>
                    </a:lnTo>
                    <a:lnTo>
                      <a:pt x="177" y="168"/>
                    </a:lnTo>
                    <a:lnTo>
                      <a:pt x="176" y="157"/>
                    </a:lnTo>
                    <a:lnTo>
                      <a:pt x="173" y="145"/>
                    </a:lnTo>
                    <a:lnTo>
                      <a:pt x="168" y="137"/>
                    </a:lnTo>
                    <a:lnTo>
                      <a:pt x="163" y="129"/>
                    </a:lnTo>
                    <a:lnTo>
                      <a:pt x="156" y="123"/>
                    </a:lnTo>
                    <a:lnTo>
                      <a:pt x="149" y="118"/>
                    </a:lnTo>
                    <a:lnTo>
                      <a:pt x="141" y="114"/>
                    </a:lnTo>
                    <a:lnTo>
                      <a:pt x="133" y="112"/>
                    </a:lnTo>
                    <a:lnTo>
                      <a:pt x="133" y="112"/>
                    </a:lnTo>
                    <a:lnTo>
                      <a:pt x="141" y="108"/>
                    </a:lnTo>
                    <a:lnTo>
                      <a:pt x="148" y="104"/>
                    </a:lnTo>
                    <a:lnTo>
                      <a:pt x="154" y="99"/>
                    </a:lnTo>
                    <a:lnTo>
                      <a:pt x="159" y="94"/>
                    </a:lnTo>
                    <a:lnTo>
                      <a:pt x="164" y="88"/>
                    </a:lnTo>
                    <a:lnTo>
                      <a:pt x="167" y="80"/>
                    </a:lnTo>
                    <a:lnTo>
                      <a:pt x="169" y="73"/>
                    </a:lnTo>
                    <a:lnTo>
                      <a:pt x="170" y="64"/>
                    </a:lnTo>
                    <a:lnTo>
                      <a:pt x="170" y="64"/>
                    </a:lnTo>
                    <a:lnTo>
                      <a:pt x="170" y="57"/>
                    </a:lnTo>
                    <a:lnTo>
                      <a:pt x="169" y="51"/>
                    </a:lnTo>
                    <a:lnTo>
                      <a:pt x="167" y="45"/>
                    </a:lnTo>
                    <a:lnTo>
                      <a:pt x="165" y="39"/>
                    </a:lnTo>
                    <a:lnTo>
                      <a:pt x="162" y="34"/>
                    </a:lnTo>
                    <a:lnTo>
                      <a:pt x="159" y="28"/>
                    </a:lnTo>
                    <a:lnTo>
                      <a:pt x="155" y="23"/>
                    </a:lnTo>
                    <a:lnTo>
                      <a:pt x="150" y="19"/>
                    </a:lnTo>
                    <a:lnTo>
                      <a:pt x="144" y="15"/>
                    </a:lnTo>
                    <a:lnTo>
                      <a:pt x="138" y="11"/>
                    </a:lnTo>
                    <a:lnTo>
                      <a:pt x="131" y="8"/>
                    </a:lnTo>
                    <a:lnTo>
                      <a:pt x="123" y="5"/>
                    </a:lnTo>
                    <a:lnTo>
                      <a:pt x="115" y="3"/>
                    </a:lnTo>
                    <a:lnTo>
                      <a:pt x="106" y="1"/>
                    </a:lnTo>
                    <a:lnTo>
                      <a:pt x="96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74" y="0"/>
                    </a:lnTo>
                    <a:lnTo>
                      <a:pt x="64" y="2"/>
                    </a:lnTo>
                    <a:lnTo>
                      <a:pt x="53" y="4"/>
                    </a:lnTo>
                    <a:lnTo>
                      <a:pt x="43" y="7"/>
                    </a:lnTo>
                    <a:lnTo>
                      <a:pt x="33" y="11"/>
                    </a:lnTo>
                    <a:lnTo>
                      <a:pt x="24" y="15"/>
                    </a:lnTo>
                    <a:lnTo>
                      <a:pt x="15" y="20"/>
                    </a:lnTo>
                    <a:lnTo>
                      <a:pt x="7" y="25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41" y="50"/>
                    </a:lnTo>
                    <a:lnTo>
                      <a:pt x="49" y="47"/>
                    </a:lnTo>
                    <a:lnTo>
                      <a:pt x="56" y="44"/>
                    </a:lnTo>
                    <a:lnTo>
                      <a:pt x="63" y="42"/>
                    </a:lnTo>
                    <a:lnTo>
                      <a:pt x="71" y="40"/>
                    </a:lnTo>
                    <a:lnTo>
                      <a:pt x="79" y="39"/>
                    </a:lnTo>
                    <a:lnTo>
                      <a:pt x="87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5" y="41"/>
                    </a:lnTo>
                    <a:lnTo>
                      <a:pt x="111" y="44"/>
                    </a:lnTo>
                    <a:lnTo>
                      <a:pt x="117" y="47"/>
                    </a:lnTo>
                    <a:lnTo>
                      <a:pt x="121" y="52"/>
                    </a:lnTo>
                    <a:lnTo>
                      <a:pt x="124" y="56"/>
                    </a:lnTo>
                    <a:lnTo>
                      <a:pt x="125" y="62"/>
                    </a:lnTo>
                    <a:lnTo>
                      <a:pt x="126" y="67"/>
                    </a:lnTo>
                    <a:lnTo>
                      <a:pt x="126" y="67"/>
                    </a:lnTo>
                    <a:lnTo>
                      <a:pt x="125" y="72"/>
                    </a:lnTo>
                    <a:lnTo>
                      <a:pt x="124" y="77"/>
                    </a:lnTo>
                    <a:lnTo>
                      <a:pt x="121" y="82"/>
                    </a:lnTo>
                    <a:lnTo>
                      <a:pt x="118" y="86"/>
                    </a:lnTo>
                    <a:lnTo>
                      <a:pt x="113" y="89"/>
                    </a:lnTo>
                    <a:lnTo>
                      <a:pt x="107" y="92"/>
                    </a:lnTo>
                    <a:lnTo>
                      <a:pt x="99" y="94"/>
                    </a:lnTo>
                    <a:lnTo>
                      <a:pt x="91" y="94"/>
                    </a:lnTo>
                    <a:lnTo>
                      <a:pt x="61" y="94"/>
                    </a:lnTo>
                    <a:lnTo>
                      <a:pt x="61" y="131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8" name="Freeform 67"/>
              <p:cNvSpPr>
                <a:spLocks/>
              </p:cNvSpPr>
              <p:nvPr userDrawn="1"/>
            </p:nvSpPr>
            <p:spPr bwMode="auto">
              <a:xfrm>
                <a:off x="2809875" y="6363507"/>
                <a:ext cx="73025" cy="90488"/>
              </a:xfrm>
              <a:custGeom>
                <a:avLst/>
                <a:gdLst>
                  <a:gd name="T0" fmla="*/ 139 w 185"/>
                  <a:gd name="T1" fmla="*/ 0 h 230"/>
                  <a:gd name="T2" fmla="*/ 139 w 185"/>
                  <a:gd name="T3" fmla="*/ 87 h 230"/>
                  <a:gd name="T4" fmla="*/ 45 w 185"/>
                  <a:gd name="T5" fmla="*/ 87 h 230"/>
                  <a:gd name="T6" fmla="*/ 45 w 185"/>
                  <a:gd name="T7" fmla="*/ 0 h 230"/>
                  <a:gd name="T8" fmla="*/ 0 w 185"/>
                  <a:gd name="T9" fmla="*/ 0 h 230"/>
                  <a:gd name="T10" fmla="*/ 0 w 185"/>
                  <a:gd name="T11" fmla="*/ 230 h 230"/>
                  <a:gd name="T12" fmla="*/ 45 w 185"/>
                  <a:gd name="T13" fmla="*/ 230 h 230"/>
                  <a:gd name="T14" fmla="*/ 45 w 185"/>
                  <a:gd name="T15" fmla="*/ 126 h 230"/>
                  <a:gd name="T16" fmla="*/ 139 w 185"/>
                  <a:gd name="T17" fmla="*/ 126 h 230"/>
                  <a:gd name="T18" fmla="*/ 139 w 185"/>
                  <a:gd name="T19" fmla="*/ 230 h 230"/>
                  <a:gd name="T20" fmla="*/ 185 w 185"/>
                  <a:gd name="T21" fmla="*/ 230 h 230"/>
                  <a:gd name="T22" fmla="*/ 185 w 185"/>
                  <a:gd name="T23" fmla="*/ 0 h 230"/>
                  <a:gd name="T24" fmla="*/ 139 w 185"/>
                  <a:gd name="T25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5" h="230">
                    <a:moveTo>
                      <a:pt x="139" y="0"/>
                    </a:moveTo>
                    <a:lnTo>
                      <a:pt x="139" y="87"/>
                    </a:lnTo>
                    <a:lnTo>
                      <a:pt x="45" y="87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5" y="230"/>
                    </a:lnTo>
                    <a:lnTo>
                      <a:pt x="45" y="126"/>
                    </a:lnTo>
                    <a:lnTo>
                      <a:pt x="139" y="126"/>
                    </a:lnTo>
                    <a:lnTo>
                      <a:pt x="139" y="230"/>
                    </a:lnTo>
                    <a:lnTo>
                      <a:pt x="185" y="230"/>
                    </a:lnTo>
                    <a:lnTo>
                      <a:pt x="185" y="0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69" name="Freeform 68"/>
              <p:cNvSpPr>
                <a:spLocks noEditPoints="1"/>
              </p:cNvSpPr>
              <p:nvPr userDrawn="1"/>
            </p:nvSpPr>
            <p:spPr bwMode="auto">
              <a:xfrm>
                <a:off x="2901950" y="6360332"/>
                <a:ext cx="77788" cy="95250"/>
              </a:xfrm>
              <a:custGeom>
                <a:avLst/>
                <a:gdLst>
                  <a:gd name="T0" fmla="*/ 197 w 197"/>
                  <a:gd name="T1" fmla="*/ 114 h 239"/>
                  <a:gd name="T2" fmla="*/ 195 w 197"/>
                  <a:gd name="T3" fmla="*/ 92 h 239"/>
                  <a:gd name="T4" fmla="*/ 191 w 197"/>
                  <a:gd name="T5" fmla="*/ 70 h 239"/>
                  <a:gd name="T6" fmla="*/ 183 w 197"/>
                  <a:gd name="T7" fmla="*/ 51 h 239"/>
                  <a:gd name="T8" fmla="*/ 173 w 197"/>
                  <a:gd name="T9" fmla="*/ 34 h 239"/>
                  <a:gd name="T10" fmla="*/ 159 w 197"/>
                  <a:gd name="T11" fmla="*/ 20 h 239"/>
                  <a:gd name="T12" fmla="*/ 143 w 197"/>
                  <a:gd name="T13" fmla="*/ 9 h 239"/>
                  <a:gd name="T14" fmla="*/ 123 w 197"/>
                  <a:gd name="T15" fmla="*/ 2 h 239"/>
                  <a:gd name="T16" fmla="*/ 100 w 197"/>
                  <a:gd name="T17" fmla="*/ 0 h 239"/>
                  <a:gd name="T18" fmla="*/ 89 w 197"/>
                  <a:gd name="T19" fmla="*/ 0 h 239"/>
                  <a:gd name="T20" fmla="*/ 69 w 197"/>
                  <a:gd name="T21" fmla="*/ 4 h 239"/>
                  <a:gd name="T22" fmla="*/ 51 w 197"/>
                  <a:gd name="T23" fmla="*/ 12 h 239"/>
                  <a:gd name="T24" fmla="*/ 35 w 197"/>
                  <a:gd name="T25" fmla="*/ 23 h 239"/>
                  <a:gd name="T26" fmla="*/ 22 w 197"/>
                  <a:gd name="T27" fmla="*/ 38 h 239"/>
                  <a:gd name="T28" fmla="*/ 11 w 197"/>
                  <a:gd name="T29" fmla="*/ 57 h 239"/>
                  <a:gd name="T30" fmla="*/ 4 w 197"/>
                  <a:gd name="T31" fmla="*/ 79 h 239"/>
                  <a:gd name="T32" fmla="*/ 1 w 197"/>
                  <a:gd name="T33" fmla="*/ 105 h 239"/>
                  <a:gd name="T34" fmla="*/ 0 w 197"/>
                  <a:gd name="T35" fmla="*/ 119 h 239"/>
                  <a:gd name="T36" fmla="*/ 2 w 197"/>
                  <a:gd name="T37" fmla="*/ 147 h 239"/>
                  <a:gd name="T38" fmla="*/ 9 w 197"/>
                  <a:gd name="T39" fmla="*/ 173 h 239"/>
                  <a:gd name="T40" fmla="*/ 19 w 197"/>
                  <a:gd name="T41" fmla="*/ 193 h 239"/>
                  <a:gd name="T42" fmla="*/ 30 w 197"/>
                  <a:gd name="T43" fmla="*/ 209 h 239"/>
                  <a:gd name="T44" fmla="*/ 36 w 197"/>
                  <a:gd name="T45" fmla="*/ 215 h 239"/>
                  <a:gd name="T46" fmla="*/ 51 w 197"/>
                  <a:gd name="T47" fmla="*/ 226 h 239"/>
                  <a:gd name="T48" fmla="*/ 68 w 197"/>
                  <a:gd name="T49" fmla="*/ 234 h 239"/>
                  <a:gd name="T50" fmla="*/ 88 w 197"/>
                  <a:gd name="T51" fmla="*/ 239 h 239"/>
                  <a:gd name="T52" fmla="*/ 99 w 197"/>
                  <a:gd name="T53" fmla="*/ 239 h 239"/>
                  <a:gd name="T54" fmla="*/ 124 w 197"/>
                  <a:gd name="T55" fmla="*/ 237 h 239"/>
                  <a:gd name="T56" fmla="*/ 145 w 197"/>
                  <a:gd name="T57" fmla="*/ 231 h 239"/>
                  <a:gd name="T58" fmla="*/ 154 w 197"/>
                  <a:gd name="T59" fmla="*/ 227 h 239"/>
                  <a:gd name="T60" fmla="*/ 170 w 197"/>
                  <a:gd name="T61" fmla="*/ 217 h 239"/>
                  <a:gd name="T62" fmla="*/ 151 w 197"/>
                  <a:gd name="T63" fmla="*/ 180 h 239"/>
                  <a:gd name="T64" fmla="*/ 139 w 197"/>
                  <a:gd name="T65" fmla="*/ 188 h 239"/>
                  <a:gd name="T66" fmla="*/ 128 w 197"/>
                  <a:gd name="T67" fmla="*/ 194 h 239"/>
                  <a:gd name="T68" fmla="*/ 116 w 197"/>
                  <a:gd name="T69" fmla="*/ 197 h 239"/>
                  <a:gd name="T70" fmla="*/ 102 w 197"/>
                  <a:gd name="T71" fmla="*/ 199 h 239"/>
                  <a:gd name="T72" fmla="*/ 91 w 197"/>
                  <a:gd name="T73" fmla="*/ 198 h 239"/>
                  <a:gd name="T74" fmla="*/ 73 w 197"/>
                  <a:gd name="T75" fmla="*/ 191 h 239"/>
                  <a:gd name="T76" fmla="*/ 57 w 197"/>
                  <a:gd name="T77" fmla="*/ 175 h 239"/>
                  <a:gd name="T78" fmla="*/ 47 w 197"/>
                  <a:gd name="T79" fmla="*/ 151 h 239"/>
                  <a:gd name="T80" fmla="*/ 195 w 197"/>
                  <a:gd name="T81" fmla="*/ 135 h 239"/>
                  <a:gd name="T82" fmla="*/ 196 w 197"/>
                  <a:gd name="T83" fmla="*/ 126 h 239"/>
                  <a:gd name="T84" fmla="*/ 197 w 197"/>
                  <a:gd name="T85" fmla="*/ 114 h 239"/>
                  <a:gd name="T86" fmla="*/ 45 w 197"/>
                  <a:gd name="T87" fmla="*/ 98 h 239"/>
                  <a:gd name="T88" fmla="*/ 50 w 197"/>
                  <a:gd name="T89" fmla="*/ 73 h 239"/>
                  <a:gd name="T90" fmla="*/ 61 w 197"/>
                  <a:gd name="T91" fmla="*/ 55 h 239"/>
                  <a:gd name="T92" fmla="*/ 77 w 197"/>
                  <a:gd name="T93" fmla="*/ 44 h 239"/>
                  <a:gd name="T94" fmla="*/ 97 w 197"/>
                  <a:gd name="T95" fmla="*/ 40 h 239"/>
                  <a:gd name="T96" fmla="*/ 104 w 197"/>
                  <a:gd name="T97" fmla="*/ 41 h 239"/>
                  <a:gd name="T98" fmla="*/ 116 w 197"/>
                  <a:gd name="T99" fmla="*/ 43 h 239"/>
                  <a:gd name="T100" fmla="*/ 126 w 197"/>
                  <a:gd name="T101" fmla="*/ 47 h 239"/>
                  <a:gd name="T102" fmla="*/ 137 w 197"/>
                  <a:gd name="T103" fmla="*/ 57 h 239"/>
                  <a:gd name="T104" fmla="*/ 147 w 197"/>
                  <a:gd name="T105" fmla="*/ 76 h 239"/>
                  <a:gd name="T106" fmla="*/ 151 w 197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7" h="239">
                    <a:moveTo>
                      <a:pt x="197" y="114"/>
                    </a:moveTo>
                    <a:lnTo>
                      <a:pt x="197" y="114"/>
                    </a:lnTo>
                    <a:lnTo>
                      <a:pt x="196" y="103"/>
                    </a:lnTo>
                    <a:lnTo>
                      <a:pt x="195" y="92"/>
                    </a:lnTo>
                    <a:lnTo>
                      <a:pt x="193" y="81"/>
                    </a:lnTo>
                    <a:lnTo>
                      <a:pt x="191" y="70"/>
                    </a:lnTo>
                    <a:lnTo>
                      <a:pt x="187" y="60"/>
                    </a:lnTo>
                    <a:lnTo>
                      <a:pt x="183" y="51"/>
                    </a:lnTo>
                    <a:lnTo>
                      <a:pt x="178" y="42"/>
                    </a:lnTo>
                    <a:lnTo>
                      <a:pt x="173" y="34"/>
                    </a:lnTo>
                    <a:lnTo>
                      <a:pt x="166" y="26"/>
                    </a:lnTo>
                    <a:lnTo>
                      <a:pt x="159" y="20"/>
                    </a:lnTo>
                    <a:lnTo>
                      <a:pt x="151" y="14"/>
                    </a:lnTo>
                    <a:lnTo>
                      <a:pt x="143" y="9"/>
                    </a:lnTo>
                    <a:lnTo>
                      <a:pt x="133" y="5"/>
                    </a:lnTo>
                    <a:lnTo>
                      <a:pt x="123" y="2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9" y="2"/>
                    </a:lnTo>
                    <a:lnTo>
                      <a:pt x="69" y="4"/>
                    </a:lnTo>
                    <a:lnTo>
                      <a:pt x="60" y="8"/>
                    </a:lnTo>
                    <a:lnTo>
                      <a:pt x="51" y="12"/>
                    </a:lnTo>
                    <a:lnTo>
                      <a:pt x="43" y="17"/>
                    </a:lnTo>
                    <a:lnTo>
                      <a:pt x="35" y="23"/>
                    </a:lnTo>
                    <a:lnTo>
                      <a:pt x="28" y="30"/>
                    </a:lnTo>
                    <a:lnTo>
                      <a:pt x="22" y="38"/>
                    </a:lnTo>
                    <a:lnTo>
                      <a:pt x="16" y="47"/>
                    </a:lnTo>
                    <a:lnTo>
                      <a:pt x="11" y="57"/>
                    </a:lnTo>
                    <a:lnTo>
                      <a:pt x="7" y="68"/>
                    </a:lnTo>
                    <a:lnTo>
                      <a:pt x="4" y="79"/>
                    </a:lnTo>
                    <a:lnTo>
                      <a:pt x="2" y="92"/>
                    </a:lnTo>
                    <a:lnTo>
                      <a:pt x="1" y="105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0" y="134"/>
                    </a:lnTo>
                    <a:lnTo>
                      <a:pt x="2" y="147"/>
                    </a:lnTo>
                    <a:lnTo>
                      <a:pt x="5" y="161"/>
                    </a:lnTo>
                    <a:lnTo>
                      <a:pt x="9" y="173"/>
                    </a:lnTo>
                    <a:lnTo>
                      <a:pt x="13" y="184"/>
                    </a:lnTo>
                    <a:lnTo>
                      <a:pt x="19" y="193"/>
                    </a:lnTo>
                    <a:lnTo>
                      <a:pt x="24" y="202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6" y="215"/>
                    </a:lnTo>
                    <a:lnTo>
                      <a:pt x="43" y="221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8" y="237"/>
                    </a:lnTo>
                    <a:lnTo>
                      <a:pt x="88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9"/>
                    </a:lnTo>
                    <a:lnTo>
                      <a:pt x="124" y="237"/>
                    </a:lnTo>
                    <a:lnTo>
                      <a:pt x="135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4" y="227"/>
                    </a:lnTo>
                    <a:lnTo>
                      <a:pt x="162" y="222"/>
                    </a:lnTo>
                    <a:lnTo>
                      <a:pt x="170" y="217"/>
                    </a:lnTo>
                    <a:lnTo>
                      <a:pt x="178" y="209"/>
                    </a:lnTo>
                    <a:lnTo>
                      <a:pt x="151" y="180"/>
                    </a:lnTo>
                    <a:lnTo>
                      <a:pt x="151" y="180"/>
                    </a:lnTo>
                    <a:lnTo>
                      <a:pt x="139" y="188"/>
                    </a:lnTo>
                    <a:lnTo>
                      <a:pt x="128" y="194"/>
                    </a:lnTo>
                    <a:lnTo>
                      <a:pt x="128" y="194"/>
                    </a:lnTo>
                    <a:lnTo>
                      <a:pt x="122" y="196"/>
                    </a:lnTo>
                    <a:lnTo>
                      <a:pt x="116" y="197"/>
                    </a:lnTo>
                    <a:lnTo>
                      <a:pt x="109" y="198"/>
                    </a:lnTo>
                    <a:lnTo>
                      <a:pt x="102" y="199"/>
                    </a:lnTo>
                    <a:lnTo>
                      <a:pt x="102" y="199"/>
                    </a:lnTo>
                    <a:lnTo>
                      <a:pt x="91" y="198"/>
                    </a:lnTo>
                    <a:lnTo>
                      <a:pt x="82" y="195"/>
                    </a:lnTo>
                    <a:lnTo>
                      <a:pt x="73" y="191"/>
                    </a:lnTo>
                    <a:lnTo>
                      <a:pt x="64" y="184"/>
                    </a:lnTo>
                    <a:lnTo>
                      <a:pt x="57" y="175"/>
                    </a:lnTo>
                    <a:lnTo>
                      <a:pt x="51" y="164"/>
                    </a:lnTo>
                    <a:lnTo>
                      <a:pt x="47" y="151"/>
                    </a:lnTo>
                    <a:lnTo>
                      <a:pt x="44" y="135"/>
                    </a:lnTo>
                    <a:lnTo>
                      <a:pt x="195" y="135"/>
                    </a:lnTo>
                    <a:lnTo>
                      <a:pt x="195" y="135"/>
                    </a:lnTo>
                    <a:lnTo>
                      <a:pt x="196" y="126"/>
                    </a:lnTo>
                    <a:lnTo>
                      <a:pt x="197" y="114"/>
                    </a:lnTo>
                    <a:lnTo>
                      <a:pt x="197" y="114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0" y="73"/>
                    </a:lnTo>
                    <a:lnTo>
                      <a:pt x="55" y="64"/>
                    </a:lnTo>
                    <a:lnTo>
                      <a:pt x="61" y="55"/>
                    </a:lnTo>
                    <a:lnTo>
                      <a:pt x="68" y="49"/>
                    </a:lnTo>
                    <a:lnTo>
                      <a:pt x="77" y="44"/>
                    </a:lnTo>
                    <a:lnTo>
                      <a:pt x="86" y="41"/>
                    </a:lnTo>
                    <a:lnTo>
                      <a:pt x="97" y="40"/>
                    </a:lnTo>
                    <a:lnTo>
                      <a:pt x="97" y="40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21" y="45"/>
                    </a:lnTo>
                    <a:lnTo>
                      <a:pt x="126" y="47"/>
                    </a:lnTo>
                    <a:lnTo>
                      <a:pt x="130" y="50"/>
                    </a:lnTo>
                    <a:lnTo>
                      <a:pt x="137" y="57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6"/>
                    </a:lnTo>
                    <a:lnTo>
                      <a:pt x="151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0" name="Freeform 69"/>
              <p:cNvSpPr>
                <a:spLocks/>
              </p:cNvSpPr>
              <p:nvPr userDrawn="1"/>
            </p:nvSpPr>
            <p:spPr bwMode="auto">
              <a:xfrm>
                <a:off x="2994025" y="6360332"/>
                <a:ext cx="73025" cy="95250"/>
              </a:xfrm>
              <a:custGeom>
                <a:avLst/>
                <a:gdLst>
                  <a:gd name="T0" fmla="*/ 182 w 182"/>
                  <a:gd name="T1" fmla="*/ 39 h 239"/>
                  <a:gd name="T2" fmla="*/ 165 w 182"/>
                  <a:gd name="T3" fmla="*/ 22 h 239"/>
                  <a:gd name="T4" fmla="*/ 146 w 182"/>
                  <a:gd name="T5" fmla="*/ 10 h 239"/>
                  <a:gd name="T6" fmla="*/ 124 w 182"/>
                  <a:gd name="T7" fmla="*/ 2 h 239"/>
                  <a:gd name="T8" fmla="*/ 101 w 182"/>
                  <a:gd name="T9" fmla="*/ 0 h 239"/>
                  <a:gd name="T10" fmla="*/ 90 w 182"/>
                  <a:gd name="T11" fmla="*/ 0 h 239"/>
                  <a:gd name="T12" fmla="*/ 71 w 182"/>
                  <a:gd name="T13" fmla="*/ 4 h 239"/>
                  <a:gd name="T14" fmla="*/ 53 w 182"/>
                  <a:gd name="T15" fmla="*/ 12 h 239"/>
                  <a:gd name="T16" fmla="*/ 37 w 182"/>
                  <a:gd name="T17" fmla="*/ 24 h 239"/>
                  <a:gd name="T18" fmla="*/ 23 w 182"/>
                  <a:gd name="T19" fmla="*/ 39 h 239"/>
                  <a:gd name="T20" fmla="*/ 12 w 182"/>
                  <a:gd name="T21" fmla="*/ 58 h 239"/>
                  <a:gd name="T22" fmla="*/ 5 w 182"/>
                  <a:gd name="T23" fmla="*/ 80 h 239"/>
                  <a:gd name="T24" fmla="*/ 1 w 182"/>
                  <a:gd name="T25" fmla="*/ 106 h 239"/>
                  <a:gd name="T26" fmla="*/ 0 w 182"/>
                  <a:gd name="T27" fmla="*/ 120 h 239"/>
                  <a:gd name="T28" fmla="*/ 2 w 182"/>
                  <a:gd name="T29" fmla="*/ 145 h 239"/>
                  <a:gd name="T30" fmla="*/ 8 w 182"/>
                  <a:gd name="T31" fmla="*/ 169 h 239"/>
                  <a:gd name="T32" fmla="*/ 17 w 182"/>
                  <a:gd name="T33" fmla="*/ 190 h 239"/>
                  <a:gd name="T34" fmla="*/ 29 w 182"/>
                  <a:gd name="T35" fmla="*/ 207 h 239"/>
                  <a:gd name="T36" fmla="*/ 43 w 182"/>
                  <a:gd name="T37" fmla="*/ 221 h 239"/>
                  <a:gd name="T38" fmla="*/ 60 w 182"/>
                  <a:gd name="T39" fmla="*/ 231 h 239"/>
                  <a:gd name="T40" fmla="*/ 79 w 182"/>
                  <a:gd name="T41" fmla="*/ 237 h 239"/>
                  <a:gd name="T42" fmla="*/ 99 w 182"/>
                  <a:gd name="T43" fmla="*/ 239 h 239"/>
                  <a:gd name="T44" fmla="*/ 114 w 182"/>
                  <a:gd name="T45" fmla="*/ 238 h 239"/>
                  <a:gd name="T46" fmla="*/ 139 w 182"/>
                  <a:gd name="T47" fmla="*/ 232 h 239"/>
                  <a:gd name="T48" fmla="*/ 158 w 182"/>
                  <a:gd name="T49" fmla="*/ 220 h 239"/>
                  <a:gd name="T50" fmla="*/ 174 w 182"/>
                  <a:gd name="T51" fmla="*/ 205 h 239"/>
                  <a:gd name="T52" fmla="*/ 152 w 182"/>
                  <a:gd name="T53" fmla="*/ 168 h 239"/>
                  <a:gd name="T54" fmla="*/ 140 w 182"/>
                  <a:gd name="T55" fmla="*/ 181 h 239"/>
                  <a:gd name="T56" fmla="*/ 128 w 182"/>
                  <a:gd name="T57" fmla="*/ 189 h 239"/>
                  <a:gd name="T58" fmla="*/ 115 w 182"/>
                  <a:gd name="T59" fmla="*/ 195 h 239"/>
                  <a:gd name="T60" fmla="*/ 101 w 182"/>
                  <a:gd name="T61" fmla="*/ 197 h 239"/>
                  <a:gd name="T62" fmla="*/ 94 w 182"/>
                  <a:gd name="T63" fmla="*/ 196 h 239"/>
                  <a:gd name="T64" fmla="*/ 82 w 182"/>
                  <a:gd name="T65" fmla="*/ 193 h 239"/>
                  <a:gd name="T66" fmla="*/ 72 w 182"/>
                  <a:gd name="T67" fmla="*/ 188 h 239"/>
                  <a:gd name="T68" fmla="*/ 63 w 182"/>
                  <a:gd name="T69" fmla="*/ 180 h 239"/>
                  <a:gd name="T70" fmla="*/ 56 w 182"/>
                  <a:gd name="T71" fmla="*/ 169 h 239"/>
                  <a:gd name="T72" fmla="*/ 49 w 182"/>
                  <a:gd name="T73" fmla="*/ 150 h 239"/>
                  <a:gd name="T74" fmla="*/ 46 w 182"/>
                  <a:gd name="T75" fmla="*/ 118 h 239"/>
                  <a:gd name="T76" fmla="*/ 47 w 182"/>
                  <a:gd name="T77" fmla="*/ 102 h 239"/>
                  <a:gd name="T78" fmla="*/ 54 w 182"/>
                  <a:gd name="T79" fmla="*/ 74 h 239"/>
                  <a:gd name="T80" fmla="*/ 60 w 182"/>
                  <a:gd name="T81" fmla="*/ 63 h 239"/>
                  <a:gd name="T82" fmla="*/ 68 w 182"/>
                  <a:gd name="T83" fmla="*/ 54 h 239"/>
                  <a:gd name="T84" fmla="*/ 77 w 182"/>
                  <a:gd name="T85" fmla="*/ 48 h 239"/>
                  <a:gd name="T86" fmla="*/ 88 w 182"/>
                  <a:gd name="T87" fmla="*/ 44 h 239"/>
                  <a:gd name="T88" fmla="*/ 99 w 182"/>
                  <a:gd name="T89" fmla="*/ 43 h 239"/>
                  <a:gd name="T90" fmla="*/ 107 w 182"/>
                  <a:gd name="T91" fmla="*/ 43 h 239"/>
                  <a:gd name="T92" fmla="*/ 121 w 182"/>
                  <a:gd name="T93" fmla="*/ 46 h 239"/>
                  <a:gd name="T94" fmla="*/ 135 w 182"/>
                  <a:gd name="T95" fmla="*/ 53 h 239"/>
                  <a:gd name="T96" fmla="*/ 148 w 182"/>
                  <a:gd name="T97" fmla="*/ 64 h 239"/>
                  <a:gd name="T98" fmla="*/ 182 w 182"/>
                  <a:gd name="T99" fmla="*/ 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2" h="239">
                    <a:moveTo>
                      <a:pt x="182" y="39"/>
                    </a:moveTo>
                    <a:lnTo>
                      <a:pt x="182" y="39"/>
                    </a:lnTo>
                    <a:lnTo>
                      <a:pt x="173" y="30"/>
                    </a:lnTo>
                    <a:lnTo>
                      <a:pt x="165" y="22"/>
                    </a:lnTo>
                    <a:lnTo>
                      <a:pt x="155" y="15"/>
                    </a:lnTo>
                    <a:lnTo>
                      <a:pt x="146" y="10"/>
                    </a:lnTo>
                    <a:lnTo>
                      <a:pt x="135" y="5"/>
                    </a:lnTo>
                    <a:lnTo>
                      <a:pt x="124" y="2"/>
                    </a:lnTo>
                    <a:lnTo>
                      <a:pt x="113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90" y="0"/>
                    </a:lnTo>
                    <a:lnTo>
                      <a:pt x="80" y="2"/>
                    </a:lnTo>
                    <a:lnTo>
                      <a:pt x="71" y="4"/>
                    </a:lnTo>
                    <a:lnTo>
                      <a:pt x="61" y="8"/>
                    </a:lnTo>
                    <a:lnTo>
                      <a:pt x="53" y="12"/>
                    </a:lnTo>
                    <a:lnTo>
                      <a:pt x="44" y="18"/>
                    </a:lnTo>
                    <a:lnTo>
                      <a:pt x="37" y="24"/>
                    </a:lnTo>
                    <a:lnTo>
                      <a:pt x="30" y="31"/>
                    </a:lnTo>
                    <a:lnTo>
                      <a:pt x="23" y="39"/>
                    </a:lnTo>
                    <a:lnTo>
                      <a:pt x="17" y="48"/>
                    </a:lnTo>
                    <a:lnTo>
                      <a:pt x="12" y="58"/>
                    </a:lnTo>
                    <a:lnTo>
                      <a:pt x="8" y="69"/>
                    </a:lnTo>
                    <a:lnTo>
                      <a:pt x="5" y="80"/>
                    </a:lnTo>
                    <a:lnTo>
                      <a:pt x="2" y="93"/>
                    </a:lnTo>
                    <a:lnTo>
                      <a:pt x="1" y="10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33"/>
                    </a:lnTo>
                    <a:lnTo>
                      <a:pt x="2" y="145"/>
                    </a:lnTo>
                    <a:lnTo>
                      <a:pt x="5" y="158"/>
                    </a:lnTo>
                    <a:lnTo>
                      <a:pt x="8" y="169"/>
                    </a:lnTo>
                    <a:lnTo>
                      <a:pt x="12" y="180"/>
                    </a:lnTo>
                    <a:lnTo>
                      <a:pt x="17" y="190"/>
                    </a:lnTo>
                    <a:lnTo>
                      <a:pt x="23" y="199"/>
                    </a:lnTo>
                    <a:lnTo>
                      <a:pt x="29" y="207"/>
                    </a:lnTo>
                    <a:lnTo>
                      <a:pt x="36" y="214"/>
                    </a:lnTo>
                    <a:lnTo>
                      <a:pt x="43" y="221"/>
                    </a:lnTo>
                    <a:lnTo>
                      <a:pt x="52" y="226"/>
                    </a:lnTo>
                    <a:lnTo>
                      <a:pt x="60" y="231"/>
                    </a:lnTo>
                    <a:lnTo>
                      <a:pt x="69" y="234"/>
                    </a:lnTo>
                    <a:lnTo>
                      <a:pt x="79" y="237"/>
                    </a:lnTo>
                    <a:lnTo>
                      <a:pt x="89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4" y="238"/>
                    </a:lnTo>
                    <a:lnTo>
                      <a:pt x="127" y="236"/>
                    </a:lnTo>
                    <a:lnTo>
                      <a:pt x="139" y="232"/>
                    </a:lnTo>
                    <a:lnTo>
                      <a:pt x="149" y="226"/>
                    </a:lnTo>
                    <a:lnTo>
                      <a:pt x="158" y="220"/>
                    </a:lnTo>
                    <a:lnTo>
                      <a:pt x="167" y="213"/>
                    </a:lnTo>
                    <a:lnTo>
                      <a:pt x="174" y="205"/>
                    </a:lnTo>
                    <a:lnTo>
                      <a:pt x="181" y="197"/>
                    </a:lnTo>
                    <a:lnTo>
                      <a:pt x="152" y="168"/>
                    </a:lnTo>
                    <a:lnTo>
                      <a:pt x="152" y="168"/>
                    </a:lnTo>
                    <a:lnTo>
                      <a:pt x="140" y="181"/>
                    </a:lnTo>
                    <a:lnTo>
                      <a:pt x="134" y="185"/>
                    </a:lnTo>
                    <a:lnTo>
                      <a:pt x="128" y="189"/>
                    </a:lnTo>
                    <a:lnTo>
                      <a:pt x="122" y="193"/>
                    </a:lnTo>
                    <a:lnTo>
                      <a:pt x="115" y="195"/>
                    </a:lnTo>
                    <a:lnTo>
                      <a:pt x="108" y="196"/>
                    </a:lnTo>
                    <a:lnTo>
                      <a:pt x="101" y="197"/>
                    </a:lnTo>
                    <a:lnTo>
                      <a:pt x="101" y="197"/>
                    </a:lnTo>
                    <a:lnTo>
                      <a:pt x="94" y="196"/>
                    </a:lnTo>
                    <a:lnTo>
                      <a:pt x="88" y="195"/>
                    </a:lnTo>
                    <a:lnTo>
                      <a:pt x="82" y="193"/>
                    </a:lnTo>
                    <a:lnTo>
                      <a:pt x="77" y="191"/>
                    </a:lnTo>
                    <a:lnTo>
                      <a:pt x="72" y="188"/>
                    </a:lnTo>
                    <a:lnTo>
                      <a:pt x="67" y="184"/>
                    </a:lnTo>
                    <a:lnTo>
                      <a:pt x="63" y="180"/>
                    </a:lnTo>
                    <a:lnTo>
                      <a:pt x="60" y="175"/>
                    </a:lnTo>
                    <a:lnTo>
                      <a:pt x="56" y="169"/>
                    </a:lnTo>
                    <a:lnTo>
                      <a:pt x="54" y="164"/>
                    </a:lnTo>
                    <a:lnTo>
                      <a:pt x="49" y="150"/>
                    </a:lnTo>
                    <a:lnTo>
                      <a:pt x="47" y="135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47" y="102"/>
                    </a:lnTo>
                    <a:lnTo>
                      <a:pt x="49" y="87"/>
                    </a:lnTo>
                    <a:lnTo>
                      <a:pt x="54" y="74"/>
                    </a:lnTo>
                    <a:lnTo>
                      <a:pt x="57" y="68"/>
                    </a:lnTo>
                    <a:lnTo>
                      <a:pt x="60" y="63"/>
                    </a:lnTo>
                    <a:lnTo>
                      <a:pt x="64" y="58"/>
                    </a:lnTo>
                    <a:lnTo>
                      <a:pt x="68" y="54"/>
                    </a:lnTo>
                    <a:lnTo>
                      <a:pt x="72" y="51"/>
                    </a:lnTo>
                    <a:lnTo>
                      <a:pt x="77" y="48"/>
                    </a:lnTo>
                    <a:lnTo>
                      <a:pt x="82" y="46"/>
                    </a:lnTo>
                    <a:lnTo>
                      <a:pt x="88" y="44"/>
                    </a:lnTo>
                    <a:lnTo>
                      <a:pt x="93" y="43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107" y="43"/>
                    </a:lnTo>
                    <a:lnTo>
                      <a:pt x="114" y="44"/>
                    </a:lnTo>
                    <a:lnTo>
                      <a:pt x="121" y="46"/>
                    </a:lnTo>
                    <a:lnTo>
                      <a:pt x="128" y="49"/>
                    </a:lnTo>
                    <a:lnTo>
                      <a:pt x="135" y="53"/>
                    </a:lnTo>
                    <a:lnTo>
                      <a:pt x="141" y="58"/>
                    </a:lnTo>
                    <a:lnTo>
                      <a:pt x="148" y="64"/>
                    </a:lnTo>
                    <a:lnTo>
                      <a:pt x="155" y="70"/>
                    </a:lnTo>
                    <a:lnTo>
                      <a:pt x="182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1" name="Freeform 70"/>
              <p:cNvSpPr>
                <a:spLocks noEditPoints="1"/>
              </p:cNvSpPr>
              <p:nvPr userDrawn="1"/>
            </p:nvSpPr>
            <p:spPr bwMode="auto">
              <a:xfrm>
                <a:off x="3081337" y="6360332"/>
                <a:ext cx="74613" cy="95250"/>
              </a:xfrm>
              <a:custGeom>
                <a:avLst/>
                <a:gdLst>
                  <a:gd name="T0" fmla="*/ 186 w 186"/>
                  <a:gd name="T1" fmla="*/ 77 h 239"/>
                  <a:gd name="T2" fmla="*/ 185 w 186"/>
                  <a:gd name="T3" fmla="*/ 67 h 239"/>
                  <a:gd name="T4" fmla="*/ 182 w 186"/>
                  <a:gd name="T5" fmla="*/ 50 h 239"/>
                  <a:gd name="T6" fmla="*/ 176 w 186"/>
                  <a:gd name="T7" fmla="*/ 36 h 239"/>
                  <a:gd name="T8" fmla="*/ 167 w 186"/>
                  <a:gd name="T9" fmla="*/ 24 h 239"/>
                  <a:gd name="T10" fmla="*/ 156 w 186"/>
                  <a:gd name="T11" fmla="*/ 14 h 239"/>
                  <a:gd name="T12" fmla="*/ 142 w 186"/>
                  <a:gd name="T13" fmla="*/ 7 h 239"/>
                  <a:gd name="T14" fmla="*/ 127 w 186"/>
                  <a:gd name="T15" fmla="*/ 2 h 239"/>
                  <a:gd name="T16" fmla="*/ 109 w 186"/>
                  <a:gd name="T17" fmla="*/ 0 h 239"/>
                  <a:gd name="T18" fmla="*/ 100 w 186"/>
                  <a:gd name="T19" fmla="*/ 0 h 239"/>
                  <a:gd name="T20" fmla="*/ 77 w 186"/>
                  <a:gd name="T21" fmla="*/ 1 h 239"/>
                  <a:gd name="T22" fmla="*/ 57 w 186"/>
                  <a:gd name="T23" fmla="*/ 5 h 239"/>
                  <a:gd name="T24" fmla="*/ 38 w 186"/>
                  <a:gd name="T25" fmla="*/ 11 h 239"/>
                  <a:gd name="T26" fmla="*/ 21 w 186"/>
                  <a:gd name="T27" fmla="*/ 20 h 239"/>
                  <a:gd name="T28" fmla="*/ 39 w 186"/>
                  <a:gd name="T29" fmla="*/ 54 h 239"/>
                  <a:gd name="T30" fmla="*/ 67 w 186"/>
                  <a:gd name="T31" fmla="*/ 43 h 239"/>
                  <a:gd name="T32" fmla="*/ 99 w 186"/>
                  <a:gd name="T33" fmla="*/ 40 h 239"/>
                  <a:gd name="T34" fmla="*/ 108 w 186"/>
                  <a:gd name="T35" fmla="*/ 41 h 239"/>
                  <a:gd name="T36" fmla="*/ 125 w 186"/>
                  <a:gd name="T37" fmla="*/ 46 h 239"/>
                  <a:gd name="T38" fmla="*/ 135 w 186"/>
                  <a:gd name="T39" fmla="*/ 56 h 239"/>
                  <a:gd name="T40" fmla="*/ 141 w 186"/>
                  <a:gd name="T41" fmla="*/ 70 h 239"/>
                  <a:gd name="T42" fmla="*/ 142 w 186"/>
                  <a:gd name="T43" fmla="*/ 96 h 239"/>
                  <a:gd name="T44" fmla="*/ 133 w 186"/>
                  <a:gd name="T45" fmla="*/ 92 h 239"/>
                  <a:gd name="T46" fmla="*/ 107 w 186"/>
                  <a:gd name="T47" fmla="*/ 88 h 239"/>
                  <a:gd name="T48" fmla="*/ 91 w 186"/>
                  <a:gd name="T49" fmla="*/ 87 h 239"/>
                  <a:gd name="T50" fmla="*/ 63 w 186"/>
                  <a:gd name="T51" fmla="*/ 89 h 239"/>
                  <a:gd name="T52" fmla="*/ 47 w 186"/>
                  <a:gd name="T53" fmla="*/ 94 h 239"/>
                  <a:gd name="T54" fmla="*/ 32 w 186"/>
                  <a:gd name="T55" fmla="*/ 101 h 239"/>
                  <a:gd name="T56" fmla="*/ 20 w 186"/>
                  <a:gd name="T57" fmla="*/ 110 h 239"/>
                  <a:gd name="T58" fmla="*/ 10 w 186"/>
                  <a:gd name="T59" fmla="*/ 121 h 239"/>
                  <a:gd name="T60" fmla="*/ 4 w 186"/>
                  <a:gd name="T61" fmla="*/ 135 h 239"/>
                  <a:gd name="T62" fmla="*/ 0 w 186"/>
                  <a:gd name="T63" fmla="*/ 153 h 239"/>
                  <a:gd name="T64" fmla="*/ 0 w 186"/>
                  <a:gd name="T65" fmla="*/ 162 h 239"/>
                  <a:gd name="T66" fmla="*/ 2 w 186"/>
                  <a:gd name="T67" fmla="*/ 182 h 239"/>
                  <a:gd name="T68" fmla="*/ 7 w 186"/>
                  <a:gd name="T69" fmla="*/ 198 h 239"/>
                  <a:gd name="T70" fmla="*/ 15 w 186"/>
                  <a:gd name="T71" fmla="*/ 211 h 239"/>
                  <a:gd name="T72" fmla="*/ 25 w 186"/>
                  <a:gd name="T73" fmla="*/ 222 h 239"/>
                  <a:gd name="T74" fmla="*/ 38 w 186"/>
                  <a:gd name="T75" fmla="*/ 230 h 239"/>
                  <a:gd name="T76" fmla="*/ 51 w 186"/>
                  <a:gd name="T77" fmla="*/ 235 h 239"/>
                  <a:gd name="T78" fmla="*/ 79 w 186"/>
                  <a:gd name="T79" fmla="*/ 239 h 239"/>
                  <a:gd name="T80" fmla="*/ 90 w 186"/>
                  <a:gd name="T81" fmla="*/ 239 h 239"/>
                  <a:gd name="T82" fmla="*/ 108 w 186"/>
                  <a:gd name="T83" fmla="*/ 234 h 239"/>
                  <a:gd name="T84" fmla="*/ 115 w 186"/>
                  <a:gd name="T85" fmla="*/ 231 h 239"/>
                  <a:gd name="T86" fmla="*/ 134 w 186"/>
                  <a:gd name="T87" fmla="*/ 219 h 239"/>
                  <a:gd name="T88" fmla="*/ 142 w 186"/>
                  <a:gd name="T89" fmla="*/ 235 h 239"/>
                  <a:gd name="T90" fmla="*/ 142 w 186"/>
                  <a:gd name="T91" fmla="*/ 170 h 239"/>
                  <a:gd name="T92" fmla="*/ 137 w 186"/>
                  <a:gd name="T93" fmla="*/ 175 h 239"/>
                  <a:gd name="T94" fmla="*/ 126 w 186"/>
                  <a:gd name="T95" fmla="*/ 185 h 239"/>
                  <a:gd name="T96" fmla="*/ 112 w 186"/>
                  <a:gd name="T97" fmla="*/ 193 h 239"/>
                  <a:gd name="T98" fmla="*/ 95 w 186"/>
                  <a:gd name="T99" fmla="*/ 198 h 239"/>
                  <a:gd name="T100" fmla="*/ 86 w 186"/>
                  <a:gd name="T101" fmla="*/ 199 h 239"/>
                  <a:gd name="T102" fmla="*/ 68 w 186"/>
                  <a:gd name="T103" fmla="*/ 196 h 239"/>
                  <a:gd name="T104" fmla="*/ 55 w 186"/>
                  <a:gd name="T105" fmla="*/ 190 h 239"/>
                  <a:gd name="T106" fmla="*/ 50 w 186"/>
                  <a:gd name="T107" fmla="*/ 185 h 239"/>
                  <a:gd name="T108" fmla="*/ 43 w 186"/>
                  <a:gd name="T109" fmla="*/ 170 h 239"/>
                  <a:gd name="T110" fmla="*/ 42 w 186"/>
                  <a:gd name="T111" fmla="*/ 161 h 239"/>
                  <a:gd name="T112" fmla="*/ 46 w 186"/>
                  <a:gd name="T113" fmla="*/ 146 h 239"/>
                  <a:gd name="T114" fmla="*/ 55 w 186"/>
                  <a:gd name="T115" fmla="*/ 135 h 239"/>
                  <a:gd name="T116" fmla="*/ 70 w 186"/>
                  <a:gd name="T117" fmla="*/ 128 h 239"/>
                  <a:gd name="T118" fmla="*/ 89 w 186"/>
                  <a:gd name="T119" fmla="*/ 126 h 239"/>
                  <a:gd name="T120" fmla="*/ 106 w 186"/>
                  <a:gd name="T121" fmla="*/ 126 h 239"/>
                  <a:gd name="T122" fmla="*/ 120 w 186"/>
                  <a:gd name="T123" fmla="*/ 128 h 239"/>
                  <a:gd name="T124" fmla="*/ 142 w 186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6" h="239">
                    <a:moveTo>
                      <a:pt x="186" y="235"/>
                    </a:moveTo>
                    <a:lnTo>
                      <a:pt x="186" y="77"/>
                    </a:lnTo>
                    <a:lnTo>
                      <a:pt x="186" y="77"/>
                    </a:lnTo>
                    <a:lnTo>
                      <a:pt x="185" y="67"/>
                    </a:lnTo>
                    <a:lnTo>
                      <a:pt x="184" y="58"/>
                    </a:lnTo>
                    <a:lnTo>
                      <a:pt x="182" y="50"/>
                    </a:lnTo>
                    <a:lnTo>
                      <a:pt x="180" y="43"/>
                    </a:lnTo>
                    <a:lnTo>
                      <a:pt x="176" y="36"/>
                    </a:lnTo>
                    <a:lnTo>
                      <a:pt x="172" y="29"/>
                    </a:lnTo>
                    <a:lnTo>
                      <a:pt x="167" y="24"/>
                    </a:lnTo>
                    <a:lnTo>
                      <a:pt x="162" y="19"/>
                    </a:lnTo>
                    <a:lnTo>
                      <a:pt x="156" y="14"/>
                    </a:lnTo>
                    <a:lnTo>
                      <a:pt x="149" y="10"/>
                    </a:lnTo>
                    <a:lnTo>
                      <a:pt x="142" y="7"/>
                    </a:lnTo>
                    <a:lnTo>
                      <a:pt x="135" y="5"/>
                    </a:lnTo>
                    <a:lnTo>
                      <a:pt x="127" y="2"/>
                    </a:lnTo>
                    <a:lnTo>
                      <a:pt x="118" y="1"/>
                    </a:lnTo>
                    <a:lnTo>
                      <a:pt x="109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88" y="0"/>
                    </a:lnTo>
                    <a:lnTo>
                      <a:pt x="77" y="1"/>
                    </a:lnTo>
                    <a:lnTo>
                      <a:pt x="67" y="3"/>
                    </a:lnTo>
                    <a:lnTo>
                      <a:pt x="57" y="5"/>
                    </a:lnTo>
                    <a:lnTo>
                      <a:pt x="47" y="8"/>
                    </a:lnTo>
                    <a:lnTo>
                      <a:pt x="38" y="11"/>
                    </a:lnTo>
                    <a:lnTo>
                      <a:pt x="30" y="16"/>
                    </a:lnTo>
                    <a:lnTo>
                      <a:pt x="21" y="20"/>
                    </a:lnTo>
                    <a:lnTo>
                      <a:pt x="39" y="54"/>
                    </a:lnTo>
                    <a:lnTo>
                      <a:pt x="39" y="54"/>
                    </a:lnTo>
                    <a:lnTo>
                      <a:pt x="52" y="48"/>
                    </a:lnTo>
                    <a:lnTo>
                      <a:pt x="67" y="43"/>
                    </a:lnTo>
                    <a:lnTo>
                      <a:pt x="82" y="41"/>
                    </a:lnTo>
                    <a:lnTo>
                      <a:pt x="99" y="40"/>
                    </a:lnTo>
                    <a:lnTo>
                      <a:pt x="99" y="40"/>
                    </a:lnTo>
                    <a:lnTo>
                      <a:pt x="108" y="41"/>
                    </a:lnTo>
                    <a:lnTo>
                      <a:pt x="117" y="43"/>
                    </a:lnTo>
                    <a:lnTo>
                      <a:pt x="125" y="46"/>
                    </a:lnTo>
                    <a:lnTo>
                      <a:pt x="131" y="50"/>
                    </a:lnTo>
                    <a:lnTo>
                      <a:pt x="135" y="56"/>
                    </a:lnTo>
                    <a:lnTo>
                      <a:pt x="139" y="62"/>
                    </a:lnTo>
                    <a:lnTo>
                      <a:pt x="141" y="70"/>
                    </a:lnTo>
                    <a:lnTo>
                      <a:pt x="142" y="79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33" y="92"/>
                    </a:lnTo>
                    <a:lnTo>
                      <a:pt x="121" y="89"/>
                    </a:lnTo>
                    <a:lnTo>
                      <a:pt x="107" y="88"/>
                    </a:lnTo>
                    <a:lnTo>
                      <a:pt x="91" y="87"/>
                    </a:lnTo>
                    <a:lnTo>
                      <a:pt x="91" y="87"/>
                    </a:lnTo>
                    <a:lnTo>
                      <a:pt x="72" y="88"/>
                    </a:lnTo>
                    <a:lnTo>
                      <a:pt x="63" y="89"/>
                    </a:lnTo>
                    <a:lnTo>
                      <a:pt x="55" y="91"/>
                    </a:lnTo>
                    <a:lnTo>
                      <a:pt x="47" y="94"/>
                    </a:lnTo>
                    <a:lnTo>
                      <a:pt x="39" y="97"/>
                    </a:lnTo>
                    <a:lnTo>
                      <a:pt x="32" y="101"/>
                    </a:lnTo>
                    <a:lnTo>
                      <a:pt x="26" y="105"/>
                    </a:lnTo>
                    <a:lnTo>
                      <a:pt x="20" y="110"/>
                    </a:lnTo>
                    <a:lnTo>
                      <a:pt x="15" y="115"/>
                    </a:lnTo>
                    <a:lnTo>
                      <a:pt x="10" y="121"/>
                    </a:lnTo>
                    <a:lnTo>
                      <a:pt x="7" y="128"/>
                    </a:lnTo>
                    <a:lnTo>
                      <a:pt x="4" y="135"/>
                    </a:lnTo>
                    <a:lnTo>
                      <a:pt x="1" y="143"/>
                    </a:lnTo>
                    <a:lnTo>
                      <a:pt x="0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2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1" y="205"/>
                    </a:lnTo>
                    <a:lnTo>
                      <a:pt x="15" y="211"/>
                    </a:lnTo>
                    <a:lnTo>
                      <a:pt x="20" y="217"/>
                    </a:lnTo>
                    <a:lnTo>
                      <a:pt x="25" y="222"/>
                    </a:lnTo>
                    <a:lnTo>
                      <a:pt x="31" y="226"/>
                    </a:lnTo>
                    <a:lnTo>
                      <a:pt x="38" y="230"/>
                    </a:lnTo>
                    <a:lnTo>
                      <a:pt x="44" y="233"/>
                    </a:lnTo>
                    <a:lnTo>
                      <a:pt x="51" y="235"/>
                    </a:lnTo>
                    <a:lnTo>
                      <a:pt x="65" y="238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90" y="239"/>
                    </a:lnTo>
                    <a:lnTo>
                      <a:pt x="100" y="237"/>
                    </a:lnTo>
                    <a:lnTo>
                      <a:pt x="108" y="234"/>
                    </a:lnTo>
                    <a:lnTo>
                      <a:pt x="115" y="231"/>
                    </a:lnTo>
                    <a:lnTo>
                      <a:pt x="115" y="231"/>
                    </a:lnTo>
                    <a:lnTo>
                      <a:pt x="127" y="224"/>
                    </a:lnTo>
                    <a:lnTo>
                      <a:pt x="134" y="219"/>
                    </a:lnTo>
                    <a:lnTo>
                      <a:pt x="142" y="212"/>
                    </a:lnTo>
                    <a:lnTo>
                      <a:pt x="142" y="235"/>
                    </a:lnTo>
                    <a:lnTo>
                      <a:pt x="186" y="235"/>
                    </a:lnTo>
                    <a:close/>
                    <a:moveTo>
                      <a:pt x="142" y="170"/>
                    </a:moveTo>
                    <a:lnTo>
                      <a:pt x="142" y="170"/>
                    </a:lnTo>
                    <a:lnTo>
                      <a:pt x="137" y="175"/>
                    </a:lnTo>
                    <a:lnTo>
                      <a:pt x="132" y="180"/>
                    </a:lnTo>
                    <a:lnTo>
                      <a:pt x="126" y="185"/>
                    </a:lnTo>
                    <a:lnTo>
                      <a:pt x="119" y="190"/>
                    </a:lnTo>
                    <a:lnTo>
                      <a:pt x="112" y="193"/>
                    </a:lnTo>
                    <a:lnTo>
                      <a:pt x="104" y="196"/>
                    </a:lnTo>
                    <a:lnTo>
                      <a:pt x="95" y="198"/>
                    </a:lnTo>
                    <a:lnTo>
                      <a:pt x="86" y="199"/>
                    </a:lnTo>
                    <a:lnTo>
                      <a:pt x="86" y="199"/>
                    </a:lnTo>
                    <a:lnTo>
                      <a:pt x="76" y="198"/>
                    </a:lnTo>
                    <a:lnTo>
                      <a:pt x="68" y="196"/>
                    </a:lnTo>
                    <a:lnTo>
                      <a:pt x="61" y="194"/>
                    </a:lnTo>
                    <a:lnTo>
                      <a:pt x="55" y="190"/>
                    </a:lnTo>
                    <a:lnTo>
                      <a:pt x="55" y="190"/>
                    </a:lnTo>
                    <a:lnTo>
                      <a:pt x="50" y="185"/>
                    </a:lnTo>
                    <a:lnTo>
                      <a:pt x="46" y="178"/>
                    </a:lnTo>
                    <a:lnTo>
                      <a:pt x="43" y="170"/>
                    </a:lnTo>
                    <a:lnTo>
                      <a:pt x="42" y="161"/>
                    </a:lnTo>
                    <a:lnTo>
                      <a:pt x="42" y="161"/>
                    </a:lnTo>
                    <a:lnTo>
                      <a:pt x="43" y="153"/>
                    </a:lnTo>
                    <a:lnTo>
                      <a:pt x="46" y="146"/>
                    </a:lnTo>
                    <a:lnTo>
                      <a:pt x="50" y="140"/>
                    </a:lnTo>
                    <a:lnTo>
                      <a:pt x="55" y="135"/>
                    </a:lnTo>
                    <a:lnTo>
                      <a:pt x="62" y="131"/>
                    </a:lnTo>
                    <a:lnTo>
                      <a:pt x="70" y="128"/>
                    </a:lnTo>
                    <a:lnTo>
                      <a:pt x="79" y="126"/>
                    </a:lnTo>
                    <a:lnTo>
                      <a:pt x="89" y="126"/>
                    </a:lnTo>
                    <a:lnTo>
                      <a:pt x="89" y="126"/>
                    </a:lnTo>
                    <a:lnTo>
                      <a:pt x="106" y="126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30" y="131"/>
                    </a:lnTo>
                    <a:lnTo>
                      <a:pt x="142" y="136"/>
                    </a:lnTo>
                    <a:lnTo>
                      <a:pt x="142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2" name="Freeform 71"/>
              <p:cNvSpPr>
                <a:spLocks/>
              </p:cNvSpPr>
              <p:nvPr userDrawn="1"/>
            </p:nvSpPr>
            <p:spPr bwMode="auto">
              <a:xfrm>
                <a:off x="3178175" y="6430182"/>
                <a:ext cx="25400" cy="44450"/>
              </a:xfrm>
              <a:custGeom>
                <a:avLst/>
                <a:gdLst>
                  <a:gd name="T0" fmla="*/ 64 w 64"/>
                  <a:gd name="T1" fmla="*/ 0 h 115"/>
                  <a:gd name="T2" fmla="*/ 6 w 64"/>
                  <a:gd name="T3" fmla="*/ 0 h 115"/>
                  <a:gd name="T4" fmla="*/ 0 w 64"/>
                  <a:gd name="T5" fmla="*/ 115 h 115"/>
                  <a:gd name="T6" fmla="*/ 31 w 64"/>
                  <a:gd name="T7" fmla="*/ 115 h 115"/>
                  <a:gd name="T8" fmla="*/ 64 w 64"/>
                  <a:gd name="T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115">
                    <a:moveTo>
                      <a:pt x="64" y="0"/>
                    </a:moveTo>
                    <a:lnTo>
                      <a:pt x="6" y="0"/>
                    </a:lnTo>
                    <a:lnTo>
                      <a:pt x="0" y="115"/>
                    </a:lnTo>
                    <a:lnTo>
                      <a:pt x="31" y="115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3" name="Freeform 72"/>
              <p:cNvSpPr>
                <a:spLocks/>
              </p:cNvSpPr>
              <p:nvPr userDrawn="1"/>
            </p:nvSpPr>
            <p:spPr bwMode="auto">
              <a:xfrm>
                <a:off x="3271837" y="6363507"/>
                <a:ext cx="90488" cy="92075"/>
              </a:xfrm>
              <a:custGeom>
                <a:avLst/>
                <a:gdLst>
                  <a:gd name="T0" fmla="*/ 226 w 226"/>
                  <a:gd name="T1" fmla="*/ 230 h 233"/>
                  <a:gd name="T2" fmla="*/ 226 w 226"/>
                  <a:gd name="T3" fmla="*/ 0 h 233"/>
                  <a:gd name="T4" fmla="*/ 177 w 226"/>
                  <a:gd name="T5" fmla="*/ 0 h 233"/>
                  <a:gd name="T6" fmla="*/ 128 w 226"/>
                  <a:gd name="T7" fmla="*/ 111 h 233"/>
                  <a:gd name="T8" fmla="*/ 128 w 226"/>
                  <a:gd name="T9" fmla="*/ 111 h 233"/>
                  <a:gd name="T10" fmla="*/ 113 w 226"/>
                  <a:gd name="T11" fmla="*/ 151 h 233"/>
                  <a:gd name="T12" fmla="*/ 113 w 226"/>
                  <a:gd name="T13" fmla="*/ 151 h 233"/>
                  <a:gd name="T14" fmla="*/ 106 w 226"/>
                  <a:gd name="T15" fmla="*/ 132 h 233"/>
                  <a:gd name="T16" fmla="*/ 98 w 226"/>
                  <a:gd name="T17" fmla="*/ 111 h 233"/>
                  <a:gd name="T18" fmla="*/ 49 w 226"/>
                  <a:gd name="T19" fmla="*/ 0 h 233"/>
                  <a:gd name="T20" fmla="*/ 0 w 226"/>
                  <a:gd name="T21" fmla="*/ 0 h 233"/>
                  <a:gd name="T22" fmla="*/ 0 w 226"/>
                  <a:gd name="T23" fmla="*/ 230 h 233"/>
                  <a:gd name="T24" fmla="*/ 43 w 226"/>
                  <a:gd name="T25" fmla="*/ 230 h 233"/>
                  <a:gd name="T26" fmla="*/ 43 w 226"/>
                  <a:gd name="T27" fmla="*/ 110 h 233"/>
                  <a:gd name="T28" fmla="*/ 43 w 226"/>
                  <a:gd name="T29" fmla="*/ 110 h 233"/>
                  <a:gd name="T30" fmla="*/ 42 w 226"/>
                  <a:gd name="T31" fmla="*/ 69 h 233"/>
                  <a:gd name="T32" fmla="*/ 42 w 226"/>
                  <a:gd name="T33" fmla="*/ 69 h 233"/>
                  <a:gd name="T34" fmla="*/ 48 w 226"/>
                  <a:gd name="T35" fmla="*/ 85 h 233"/>
                  <a:gd name="T36" fmla="*/ 57 w 226"/>
                  <a:gd name="T37" fmla="*/ 106 h 233"/>
                  <a:gd name="T38" fmla="*/ 112 w 226"/>
                  <a:gd name="T39" fmla="*/ 233 h 233"/>
                  <a:gd name="T40" fmla="*/ 166 w 226"/>
                  <a:gd name="T41" fmla="*/ 106 h 233"/>
                  <a:gd name="T42" fmla="*/ 166 w 226"/>
                  <a:gd name="T43" fmla="*/ 106 h 233"/>
                  <a:gd name="T44" fmla="*/ 176 w 226"/>
                  <a:gd name="T45" fmla="*/ 85 h 233"/>
                  <a:gd name="T46" fmla="*/ 182 w 226"/>
                  <a:gd name="T47" fmla="*/ 69 h 233"/>
                  <a:gd name="T48" fmla="*/ 182 w 226"/>
                  <a:gd name="T49" fmla="*/ 69 h 233"/>
                  <a:gd name="T50" fmla="*/ 181 w 226"/>
                  <a:gd name="T51" fmla="*/ 110 h 233"/>
                  <a:gd name="T52" fmla="*/ 181 w 226"/>
                  <a:gd name="T53" fmla="*/ 230 h 233"/>
                  <a:gd name="T54" fmla="*/ 226 w 226"/>
                  <a:gd name="T55" fmla="*/ 23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26" h="233">
                    <a:moveTo>
                      <a:pt x="226" y="230"/>
                    </a:moveTo>
                    <a:lnTo>
                      <a:pt x="226" y="0"/>
                    </a:lnTo>
                    <a:lnTo>
                      <a:pt x="177" y="0"/>
                    </a:lnTo>
                    <a:lnTo>
                      <a:pt x="128" y="111"/>
                    </a:lnTo>
                    <a:lnTo>
                      <a:pt x="128" y="111"/>
                    </a:lnTo>
                    <a:lnTo>
                      <a:pt x="113" y="151"/>
                    </a:lnTo>
                    <a:lnTo>
                      <a:pt x="113" y="151"/>
                    </a:lnTo>
                    <a:lnTo>
                      <a:pt x="106" y="132"/>
                    </a:lnTo>
                    <a:lnTo>
                      <a:pt x="98" y="111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3" y="230"/>
                    </a:lnTo>
                    <a:lnTo>
                      <a:pt x="43" y="110"/>
                    </a:lnTo>
                    <a:lnTo>
                      <a:pt x="43" y="110"/>
                    </a:lnTo>
                    <a:lnTo>
                      <a:pt x="42" y="69"/>
                    </a:lnTo>
                    <a:lnTo>
                      <a:pt x="42" y="69"/>
                    </a:lnTo>
                    <a:lnTo>
                      <a:pt x="48" y="85"/>
                    </a:lnTo>
                    <a:lnTo>
                      <a:pt x="57" y="106"/>
                    </a:lnTo>
                    <a:lnTo>
                      <a:pt x="112" y="233"/>
                    </a:lnTo>
                    <a:lnTo>
                      <a:pt x="166" y="106"/>
                    </a:lnTo>
                    <a:lnTo>
                      <a:pt x="166" y="106"/>
                    </a:lnTo>
                    <a:lnTo>
                      <a:pt x="176" y="85"/>
                    </a:lnTo>
                    <a:lnTo>
                      <a:pt x="182" y="69"/>
                    </a:lnTo>
                    <a:lnTo>
                      <a:pt x="182" y="69"/>
                    </a:lnTo>
                    <a:lnTo>
                      <a:pt x="181" y="110"/>
                    </a:lnTo>
                    <a:lnTo>
                      <a:pt x="181" y="230"/>
                    </a:lnTo>
                    <a:lnTo>
                      <a:pt x="226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4" name="Freeform 73"/>
              <p:cNvSpPr>
                <a:spLocks noEditPoints="1"/>
              </p:cNvSpPr>
              <p:nvPr userDrawn="1"/>
            </p:nvSpPr>
            <p:spPr bwMode="auto">
              <a:xfrm>
                <a:off x="3384550" y="6363507"/>
                <a:ext cx="98425" cy="90488"/>
              </a:xfrm>
              <a:custGeom>
                <a:avLst/>
                <a:gdLst>
                  <a:gd name="T0" fmla="*/ 0 w 248"/>
                  <a:gd name="T1" fmla="*/ 0 h 230"/>
                  <a:gd name="T2" fmla="*/ 90 w 248"/>
                  <a:gd name="T3" fmla="*/ 230 h 230"/>
                  <a:gd name="T4" fmla="*/ 99 w 248"/>
                  <a:gd name="T5" fmla="*/ 229 h 230"/>
                  <a:gd name="T6" fmla="*/ 115 w 248"/>
                  <a:gd name="T7" fmla="*/ 227 h 230"/>
                  <a:gd name="T8" fmla="*/ 129 w 248"/>
                  <a:gd name="T9" fmla="*/ 222 h 230"/>
                  <a:gd name="T10" fmla="*/ 142 w 248"/>
                  <a:gd name="T11" fmla="*/ 215 h 230"/>
                  <a:gd name="T12" fmla="*/ 152 w 248"/>
                  <a:gd name="T13" fmla="*/ 206 h 230"/>
                  <a:gd name="T14" fmla="*/ 160 w 248"/>
                  <a:gd name="T15" fmla="*/ 194 h 230"/>
                  <a:gd name="T16" fmla="*/ 166 w 248"/>
                  <a:gd name="T17" fmla="*/ 180 h 230"/>
                  <a:gd name="T18" fmla="*/ 169 w 248"/>
                  <a:gd name="T19" fmla="*/ 164 h 230"/>
                  <a:gd name="T20" fmla="*/ 169 w 248"/>
                  <a:gd name="T21" fmla="*/ 155 h 230"/>
                  <a:gd name="T22" fmla="*/ 167 w 248"/>
                  <a:gd name="T23" fmla="*/ 137 h 230"/>
                  <a:gd name="T24" fmla="*/ 163 w 248"/>
                  <a:gd name="T25" fmla="*/ 122 h 230"/>
                  <a:gd name="T26" fmla="*/ 156 w 248"/>
                  <a:gd name="T27" fmla="*/ 109 h 230"/>
                  <a:gd name="T28" fmla="*/ 147 w 248"/>
                  <a:gd name="T29" fmla="*/ 99 h 230"/>
                  <a:gd name="T30" fmla="*/ 136 w 248"/>
                  <a:gd name="T31" fmla="*/ 91 h 230"/>
                  <a:gd name="T32" fmla="*/ 123 w 248"/>
                  <a:gd name="T33" fmla="*/ 85 h 230"/>
                  <a:gd name="T34" fmla="*/ 109 w 248"/>
                  <a:gd name="T35" fmla="*/ 81 h 230"/>
                  <a:gd name="T36" fmla="*/ 93 w 248"/>
                  <a:gd name="T37" fmla="*/ 80 h 230"/>
                  <a:gd name="T38" fmla="*/ 45 w 248"/>
                  <a:gd name="T39" fmla="*/ 0 h 230"/>
                  <a:gd name="T40" fmla="*/ 45 w 248"/>
                  <a:gd name="T41" fmla="*/ 117 h 230"/>
                  <a:gd name="T42" fmla="*/ 89 w 248"/>
                  <a:gd name="T43" fmla="*/ 117 h 230"/>
                  <a:gd name="T44" fmla="*/ 104 w 248"/>
                  <a:gd name="T45" fmla="*/ 120 h 230"/>
                  <a:gd name="T46" fmla="*/ 116 w 248"/>
                  <a:gd name="T47" fmla="*/ 127 h 230"/>
                  <a:gd name="T48" fmla="*/ 124 w 248"/>
                  <a:gd name="T49" fmla="*/ 138 h 230"/>
                  <a:gd name="T50" fmla="*/ 126 w 248"/>
                  <a:gd name="T51" fmla="*/ 155 h 230"/>
                  <a:gd name="T52" fmla="*/ 126 w 248"/>
                  <a:gd name="T53" fmla="*/ 163 h 230"/>
                  <a:gd name="T54" fmla="*/ 121 w 248"/>
                  <a:gd name="T55" fmla="*/ 177 h 230"/>
                  <a:gd name="T56" fmla="*/ 112 w 248"/>
                  <a:gd name="T57" fmla="*/ 187 h 230"/>
                  <a:gd name="T58" fmla="*/ 98 w 248"/>
                  <a:gd name="T59" fmla="*/ 192 h 230"/>
                  <a:gd name="T60" fmla="*/ 45 w 248"/>
                  <a:gd name="T61" fmla="*/ 192 h 230"/>
                  <a:gd name="T62" fmla="*/ 248 w 248"/>
                  <a:gd name="T63" fmla="*/ 0 h 230"/>
                  <a:gd name="T64" fmla="*/ 202 w 248"/>
                  <a:gd name="T65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8" h="230">
                    <a:moveTo>
                      <a:pt x="45" y="0"/>
                    </a:moveTo>
                    <a:lnTo>
                      <a:pt x="0" y="0"/>
                    </a:lnTo>
                    <a:lnTo>
                      <a:pt x="0" y="230"/>
                    </a:lnTo>
                    <a:lnTo>
                      <a:pt x="90" y="230"/>
                    </a:lnTo>
                    <a:lnTo>
                      <a:pt x="90" y="230"/>
                    </a:lnTo>
                    <a:lnTo>
                      <a:pt x="99" y="229"/>
                    </a:lnTo>
                    <a:lnTo>
                      <a:pt x="107" y="228"/>
                    </a:lnTo>
                    <a:lnTo>
                      <a:pt x="115" y="227"/>
                    </a:lnTo>
                    <a:lnTo>
                      <a:pt x="122" y="225"/>
                    </a:lnTo>
                    <a:lnTo>
                      <a:pt x="129" y="222"/>
                    </a:lnTo>
                    <a:lnTo>
                      <a:pt x="136" y="219"/>
                    </a:lnTo>
                    <a:lnTo>
                      <a:pt x="142" y="215"/>
                    </a:lnTo>
                    <a:lnTo>
                      <a:pt x="147" y="211"/>
                    </a:lnTo>
                    <a:lnTo>
                      <a:pt x="152" y="206"/>
                    </a:lnTo>
                    <a:lnTo>
                      <a:pt x="156" y="200"/>
                    </a:lnTo>
                    <a:lnTo>
                      <a:pt x="160" y="194"/>
                    </a:lnTo>
                    <a:lnTo>
                      <a:pt x="163" y="187"/>
                    </a:lnTo>
                    <a:lnTo>
                      <a:pt x="166" y="180"/>
                    </a:lnTo>
                    <a:lnTo>
                      <a:pt x="167" y="172"/>
                    </a:lnTo>
                    <a:lnTo>
                      <a:pt x="169" y="164"/>
                    </a:lnTo>
                    <a:lnTo>
                      <a:pt x="169" y="155"/>
                    </a:lnTo>
                    <a:lnTo>
                      <a:pt x="169" y="155"/>
                    </a:lnTo>
                    <a:lnTo>
                      <a:pt x="169" y="146"/>
                    </a:lnTo>
                    <a:lnTo>
                      <a:pt x="167" y="137"/>
                    </a:lnTo>
                    <a:lnTo>
                      <a:pt x="166" y="129"/>
                    </a:lnTo>
                    <a:lnTo>
                      <a:pt x="163" y="122"/>
                    </a:lnTo>
                    <a:lnTo>
                      <a:pt x="160" y="115"/>
                    </a:lnTo>
                    <a:lnTo>
                      <a:pt x="156" y="109"/>
                    </a:lnTo>
                    <a:lnTo>
                      <a:pt x="152" y="104"/>
                    </a:lnTo>
                    <a:lnTo>
                      <a:pt x="147" y="99"/>
                    </a:lnTo>
                    <a:lnTo>
                      <a:pt x="142" y="94"/>
                    </a:lnTo>
                    <a:lnTo>
                      <a:pt x="136" y="91"/>
                    </a:lnTo>
                    <a:lnTo>
                      <a:pt x="130" y="88"/>
                    </a:lnTo>
                    <a:lnTo>
                      <a:pt x="123" y="85"/>
                    </a:lnTo>
                    <a:lnTo>
                      <a:pt x="116" y="83"/>
                    </a:lnTo>
                    <a:lnTo>
                      <a:pt x="109" y="81"/>
                    </a:lnTo>
                    <a:lnTo>
                      <a:pt x="101" y="81"/>
                    </a:lnTo>
                    <a:lnTo>
                      <a:pt x="93" y="80"/>
                    </a:lnTo>
                    <a:lnTo>
                      <a:pt x="45" y="80"/>
                    </a:lnTo>
                    <a:lnTo>
                      <a:pt x="45" y="0"/>
                    </a:lnTo>
                    <a:close/>
                    <a:moveTo>
                      <a:pt x="45" y="192"/>
                    </a:moveTo>
                    <a:lnTo>
                      <a:pt x="45" y="117"/>
                    </a:lnTo>
                    <a:lnTo>
                      <a:pt x="89" y="117"/>
                    </a:lnTo>
                    <a:lnTo>
                      <a:pt x="89" y="117"/>
                    </a:lnTo>
                    <a:lnTo>
                      <a:pt x="97" y="118"/>
                    </a:lnTo>
                    <a:lnTo>
                      <a:pt x="104" y="120"/>
                    </a:lnTo>
                    <a:lnTo>
                      <a:pt x="111" y="123"/>
                    </a:lnTo>
                    <a:lnTo>
                      <a:pt x="116" y="127"/>
                    </a:lnTo>
                    <a:lnTo>
                      <a:pt x="120" y="132"/>
                    </a:lnTo>
                    <a:lnTo>
                      <a:pt x="124" y="138"/>
                    </a:lnTo>
                    <a:lnTo>
                      <a:pt x="125" y="147"/>
                    </a:lnTo>
                    <a:lnTo>
                      <a:pt x="126" y="155"/>
                    </a:lnTo>
                    <a:lnTo>
                      <a:pt x="126" y="155"/>
                    </a:lnTo>
                    <a:lnTo>
                      <a:pt x="126" y="163"/>
                    </a:lnTo>
                    <a:lnTo>
                      <a:pt x="124" y="171"/>
                    </a:lnTo>
                    <a:lnTo>
                      <a:pt x="121" y="177"/>
                    </a:lnTo>
                    <a:lnTo>
                      <a:pt x="117" y="182"/>
                    </a:lnTo>
                    <a:lnTo>
                      <a:pt x="112" y="187"/>
                    </a:lnTo>
                    <a:lnTo>
                      <a:pt x="105" y="190"/>
                    </a:lnTo>
                    <a:lnTo>
                      <a:pt x="98" y="192"/>
                    </a:lnTo>
                    <a:lnTo>
                      <a:pt x="89" y="192"/>
                    </a:lnTo>
                    <a:lnTo>
                      <a:pt x="45" y="192"/>
                    </a:lnTo>
                    <a:close/>
                    <a:moveTo>
                      <a:pt x="248" y="230"/>
                    </a:moveTo>
                    <a:lnTo>
                      <a:pt x="248" y="0"/>
                    </a:lnTo>
                    <a:lnTo>
                      <a:pt x="202" y="0"/>
                    </a:lnTo>
                    <a:lnTo>
                      <a:pt x="202" y="230"/>
                    </a:lnTo>
                    <a:lnTo>
                      <a:pt x="248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5" name="Freeform 74"/>
              <p:cNvSpPr>
                <a:spLocks/>
              </p:cNvSpPr>
              <p:nvPr userDrawn="1"/>
            </p:nvSpPr>
            <p:spPr bwMode="auto">
              <a:xfrm>
                <a:off x="3541712" y="6363507"/>
                <a:ext cx="85725" cy="122238"/>
              </a:xfrm>
              <a:custGeom>
                <a:avLst/>
                <a:gdLst>
                  <a:gd name="T0" fmla="*/ 214 w 214"/>
                  <a:gd name="T1" fmla="*/ 0 h 310"/>
                  <a:gd name="T2" fmla="*/ 166 w 214"/>
                  <a:gd name="T3" fmla="*/ 0 h 310"/>
                  <a:gd name="T4" fmla="*/ 107 w 214"/>
                  <a:gd name="T5" fmla="*/ 173 h 310"/>
                  <a:gd name="T6" fmla="*/ 49 w 214"/>
                  <a:gd name="T7" fmla="*/ 0 h 310"/>
                  <a:gd name="T8" fmla="*/ 0 w 214"/>
                  <a:gd name="T9" fmla="*/ 0 h 310"/>
                  <a:gd name="T10" fmla="*/ 84 w 214"/>
                  <a:gd name="T11" fmla="*/ 225 h 310"/>
                  <a:gd name="T12" fmla="*/ 51 w 214"/>
                  <a:gd name="T13" fmla="*/ 310 h 310"/>
                  <a:gd name="T14" fmla="*/ 99 w 214"/>
                  <a:gd name="T15" fmla="*/ 310 h 310"/>
                  <a:gd name="T16" fmla="*/ 214 w 214"/>
                  <a:gd name="T17" fmla="*/ 0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4" h="310">
                    <a:moveTo>
                      <a:pt x="214" y="0"/>
                    </a:moveTo>
                    <a:lnTo>
                      <a:pt x="166" y="0"/>
                    </a:lnTo>
                    <a:lnTo>
                      <a:pt x="107" y="173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84" y="225"/>
                    </a:lnTo>
                    <a:lnTo>
                      <a:pt x="51" y="310"/>
                    </a:lnTo>
                    <a:lnTo>
                      <a:pt x="99" y="310"/>
                    </a:lnTo>
                    <a:lnTo>
                      <a:pt x="21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6" name="Freeform 75"/>
              <p:cNvSpPr>
                <a:spLocks/>
              </p:cNvSpPr>
              <p:nvPr userDrawn="1"/>
            </p:nvSpPr>
            <p:spPr bwMode="auto">
              <a:xfrm>
                <a:off x="3630612" y="6363507"/>
                <a:ext cx="82550" cy="92075"/>
              </a:xfrm>
              <a:custGeom>
                <a:avLst/>
                <a:gdLst>
                  <a:gd name="T0" fmla="*/ 94 w 209"/>
                  <a:gd name="T1" fmla="*/ 39 h 234"/>
                  <a:gd name="T2" fmla="*/ 164 w 209"/>
                  <a:gd name="T3" fmla="*/ 39 h 234"/>
                  <a:gd name="T4" fmla="*/ 164 w 209"/>
                  <a:gd name="T5" fmla="*/ 230 h 234"/>
                  <a:gd name="T6" fmla="*/ 209 w 209"/>
                  <a:gd name="T7" fmla="*/ 230 h 234"/>
                  <a:gd name="T8" fmla="*/ 209 w 209"/>
                  <a:gd name="T9" fmla="*/ 0 h 234"/>
                  <a:gd name="T10" fmla="*/ 52 w 209"/>
                  <a:gd name="T11" fmla="*/ 0 h 234"/>
                  <a:gd name="T12" fmla="*/ 47 w 209"/>
                  <a:gd name="T13" fmla="*/ 116 h 234"/>
                  <a:gd name="T14" fmla="*/ 47 w 209"/>
                  <a:gd name="T15" fmla="*/ 116 h 234"/>
                  <a:gd name="T16" fmla="*/ 45 w 209"/>
                  <a:gd name="T17" fmla="*/ 135 h 234"/>
                  <a:gd name="T18" fmla="*/ 42 w 209"/>
                  <a:gd name="T19" fmla="*/ 152 h 234"/>
                  <a:gd name="T20" fmla="*/ 38 w 209"/>
                  <a:gd name="T21" fmla="*/ 165 h 234"/>
                  <a:gd name="T22" fmla="*/ 32 w 209"/>
                  <a:gd name="T23" fmla="*/ 175 h 234"/>
                  <a:gd name="T24" fmla="*/ 26 w 209"/>
                  <a:gd name="T25" fmla="*/ 183 h 234"/>
                  <a:gd name="T26" fmla="*/ 18 w 209"/>
                  <a:gd name="T27" fmla="*/ 189 h 234"/>
                  <a:gd name="T28" fmla="*/ 9 w 209"/>
                  <a:gd name="T29" fmla="*/ 193 h 234"/>
                  <a:gd name="T30" fmla="*/ 0 w 209"/>
                  <a:gd name="T31" fmla="*/ 195 h 234"/>
                  <a:gd name="T32" fmla="*/ 12 w 209"/>
                  <a:gd name="T33" fmla="*/ 234 h 234"/>
                  <a:gd name="T34" fmla="*/ 12 w 209"/>
                  <a:gd name="T35" fmla="*/ 234 h 234"/>
                  <a:gd name="T36" fmla="*/ 19 w 209"/>
                  <a:gd name="T37" fmla="*/ 233 h 234"/>
                  <a:gd name="T38" fmla="*/ 27 w 209"/>
                  <a:gd name="T39" fmla="*/ 230 h 234"/>
                  <a:gd name="T40" fmla="*/ 34 w 209"/>
                  <a:gd name="T41" fmla="*/ 228 h 234"/>
                  <a:gd name="T42" fmla="*/ 41 w 209"/>
                  <a:gd name="T43" fmla="*/ 224 h 234"/>
                  <a:gd name="T44" fmla="*/ 48 w 209"/>
                  <a:gd name="T45" fmla="*/ 220 h 234"/>
                  <a:gd name="T46" fmla="*/ 54 w 209"/>
                  <a:gd name="T47" fmla="*/ 215 h 234"/>
                  <a:gd name="T48" fmla="*/ 60 w 209"/>
                  <a:gd name="T49" fmla="*/ 209 h 234"/>
                  <a:gd name="T50" fmla="*/ 66 w 209"/>
                  <a:gd name="T51" fmla="*/ 203 h 234"/>
                  <a:gd name="T52" fmla="*/ 71 w 209"/>
                  <a:gd name="T53" fmla="*/ 195 h 234"/>
                  <a:gd name="T54" fmla="*/ 75 w 209"/>
                  <a:gd name="T55" fmla="*/ 187 h 234"/>
                  <a:gd name="T56" fmla="*/ 79 w 209"/>
                  <a:gd name="T57" fmla="*/ 178 h 234"/>
                  <a:gd name="T58" fmla="*/ 83 w 209"/>
                  <a:gd name="T59" fmla="*/ 168 h 234"/>
                  <a:gd name="T60" fmla="*/ 86 w 209"/>
                  <a:gd name="T61" fmla="*/ 156 h 234"/>
                  <a:gd name="T62" fmla="*/ 88 w 209"/>
                  <a:gd name="T63" fmla="*/ 143 h 234"/>
                  <a:gd name="T64" fmla="*/ 89 w 209"/>
                  <a:gd name="T65" fmla="*/ 130 h 234"/>
                  <a:gd name="T66" fmla="*/ 91 w 209"/>
                  <a:gd name="T67" fmla="*/ 116 h 234"/>
                  <a:gd name="T68" fmla="*/ 94 w 209"/>
                  <a:gd name="T69" fmla="*/ 39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9" h="234">
                    <a:moveTo>
                      <a:pt x="94" y="39"/>
                    </a:moveTo>
                    <a:lnTo>
                      <a:pt x="164" y="39"/>
                    </a:lnTo>
                    <a:lnTo>
                      <a:pt x="164" y="230"/>
                    </a:lnTo>
                    <a:lnTo>
                      <a:pt x="209" y="230"/>
                    </a:lnTo>
                    <a:lnTo>
                      <a:pt x="209" y="0"/>
                    </a:lnTo>
                    <a:lnTo>
                      <a:pt x="52" y="0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5" y="135"/>
                    </a:lnTo>
                    <a:lnTo>
                      <a:pt x="42" y="152"/>
                    </a:lnTo>
                    <a:lnTo>
                      <a:pt x="38" y="165"/>
                    </a:lnTo>
                    <a:lnTo>
                      <a:pt x="32" y="175"/>
                    </a:lnTo>
                    <a:lnTo>
                      <a:pt x="26" y="183"/>
                    </a:lnTo>
                    <a:lnTo>
                      <a:pt x="18" y="189"/>
                    </a:lnTo>
                    <a:lnTo>
                      <a:pt x="9" y="193"/>
                    </a:lnTo>
                    <a:lnTo>
                      <a:pt x="0" y="195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9" y="233"/>
                    </a:lnTo>
                    <a:lnTo>
                      <a:pt x="27" y="230"/>
                    </a:lnTo>
                    <a:lnTo>
                      <a:pt x="34" y="228"/>
                    </a:lnTo>
                    <a:lnTo>
                      <a:pt x="41" y="224"/>
                    </a:lnTo>
                    <a:lnTo>
                      <a:pt x="48" y="220"/>
                    </a:lnTo>
                    <a:lnTo>
                      <a:pt x="54" y="215"/>
                    </a:lnTo>
                    <a:lnTo>
                      <a:pt x="60" y="209"/>
                    </a:lnTo>
                    <a:lnTo>
                      <a:pt x="66" y="203"/>
                    </a:lnTo>
                    <a:lnTo>
                      <a:pt x="71" y="195"/>
                    </a:lnTo>
                    <a:lnTo>
                      <a:pt x="75" y="187"/>
                    </a:lnTo>
                    <a:lnTo>
                      <a:pt x="79" y="178"/>
                    </a:lnTo>
                    <a:lnTo>
                      <a:pt x="83" y="168"/>
                    </a:lnTo>
                    <a:lnTo>
                      <a:pt x="86" y="156"/>
                    </a:lnTo>
                    <a:lnTo>
                      <a:pt x="88" y="143"/>
                    </a:lnTo>
                    <a:lnTo>
                      <a:pt x="89" y="130"/>
                    </a:lnTo>
                    <a:lnTo>
                      <a:pt x="91" y="116"/>
                    </a:lnTo>
                    <a:lnTo>
                      <a:pt x="94" y="39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7" name="Freeform 76"/>
              <p:cNvSpPr>
                <a:spLocks/>
              </p:cNvSpPr>
              <p:nvPr userDrawn="1"/>
            </p:nvSpPr>
            <p:spPr bwMode="auto">
              <a:xfrm>
                <a:off x="3729037" y="6363507"/>
                <a:ext cx="85725" cy="122238"/>
              </a:xfrm>
              <a:custGeom>
                <a:avLst/>
                <a:gdLst>
                  <a:gd name="T0" fmla="*/ 214 w 214"/>
                  <a:gd name="T1" fmla="*/ 0 h 310"/>
                  <a:gd name="T2" fmla="*/ 166 w 214"/>
                  <a:gd name="T3" fmla="*/ 0 h 310"/>
                  <a:gd name="T4" fmla="*/ 107 w 214"/>
                  <a:gd name="T5" fmla="*/ 173 h 310"/>
                  <a:gd name="T6" fmla="*/ 49 w 214"/>
                  <a:gd name="T7" fmla="*/ 0 h 310"/>
                  <a:gd name="T8" fmla="*/ 0 w 214"/>
                  <a:gd name="T9" fmla="*/ 0 h 310"/>
                  <a:gd name="T10" fmla="*/ 84 w 214"/>
                  <a:gd name="T11" fmla="*/ 225 h 310"/>
                  <a:gd name="T12" fmla="*/ 51 w 214"/>
                  <a:gd name="T13" fmla="*/ 310 h 310"/>
                  <a:gd name="T14" fmla="*/ 99 w 214"/>
                  <a:gd name="T15" fmla="*/ 310 h 310"/>
                  <a:gd name="T16" fmla="*/ 214 w 214"/>
                  <a:gd name="T17" fmla="*/ 0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4" h="310">
                    <a:moveTo>
                      <a:pt x="214" y="0"/>
                    </a:moveTo>
                    <a:lnTo>
                      <a:pt x="166" y="0"/>
                    </a:lnTo>
                    <a:lnTo>
                      <a:pt x="107" y="173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84" y="225"/>
                    </a:lnTo>
                    <a:lnTo>
                      <a:pt x="51" y="310"/>
                    </a:lnTo>
                    <a:lnTo>
                      <a:pt x="99" y="310"/>
                    </a:lnTo>
                    <a:lnTo>
                      <a:pt x="21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8" name="Freeform 77"/>
              <p:cNvSpPr>
                <a:spLocks/>
              </p:cNvSpPr>
              <p:nvPr userDrawn="1"/>
            </p:nvSpPr>
            <p:spPr bwMode="auto">
              <a:xfrm>
                <a:off x="3825875" y="6363507"/>
                <a:ext cx="69850" cy="90488"/>
              </a:xfrm>
              <a:custGeom>
                <a:avLst/>
                <a:gdLst>
                  <a:gd name="T0" fmla="*/ 179 w 179"/>
                  <a:gd name="T1" fmla="*/ 0 h 230"/>
                  <a:gd name="T2" fmla="*/ 134 w 179"/>
                  <a:gd name="T3" fmla="*/ 0 h 230"/>
                  <a:gd name="T4" fmla="*/ 134 w 179"/>
                  <a:gd name="T5" fmla="*/ 92 h 230"/>
                  <a:gd name="T6" fmla="*/ 134 w 179"/>
                  <a:gd name="T7" fmla="*/ 92 h 230"/>
                  <a:gd name="T8" fmla="*/ 125 w 179"/>
                  <a:gd name="T9" fmla="*/ 98 h 230"/>
                  <a:gd name="T10" fmla="*/ 113 w 179"/>
                  <a:gd name="T11" fmla="*/ 102 h 230"/>
                  <a:gd name="T12" fmla="*/ 100 w 179"/>
                  <a:gd name="T13" fmla="*/ 105 h 230"/>
                  <a:gd name="T14" fmla="*/ 85 w 179"/>
                  <a:gd name="T15" fmla="*/ 106 h 230"/>
                  <a:gd name="T16" fmla="*/ 85 w 179"/>
                  <a:gd name="T17" fmla="*/ 106 h 230"/>
                  <a:gd name="T18" fmla="*/ 76 w 179"/>
                  <a:gd name="T19" fmla="*/ 105 h 230"/>
                  <a:gd name="T20" fmla="*/ 68 w 179"/>
                  <a:gd name="T21" fmla="*/ 103 h 230"/>
                  <a:gd name="T22" fmla="*/ 61 w 179"/>
                  <a:gd name="T23" fmla="*/ 101 h 230"/>
                  <a:gd name="T24" fmla="*/ 56 w 179"/>
                  <a:gd name="T25" fmla="*/ 97 h 230"/>
                  <a:gd name="T26" fmla="*/ 51 w 179"/>
                  <a:gd name="T27" fmla="*/ 91 h 230"/>
                  <a:gd name="T28" fmla="*/ 48 w 179"/>
                  <a:gd name="T29" fmla="*/ 85 h 230"/>
                  <a:gd name="T30" fmla="*/ 46 w 179"/>
                  <a:gd name="T31" fmla="*/ 76 h 230"/>
                  <a:gd name="T32" fmla="*/ 45 w 179"/>
                  <a:gd name="T33" fmla="*/ 66 h 230"/>
                  <a:gd name="T34" fmla="*/ 45 w 179"/>
                  <a:gd name="T35" fmla="*/ 0 h 230"/>
                  <a:gd name="T36" fmla="*/ 0 w 179"/>
                  <a:gd name="T37" fmla="*/ 0 h 230"/>
                  <a:gd name="T38" fmla="*/ 0 w 179"/>
                  <a:gd name="T39" fmla="*/ 64 h 230"/>
                  <a:gd name="T40" fmla="*/ 0 w 179"/>
                  <a:gd name="T41" fmla="*/ 64 h 230"/>
                  <a:gd name="T42" fmla="*/ 1 w 179"/>
                  <a:gd name="T43" fmla="*/ 74 h 230"/>
                  <a:gd name="T44" fmla="*/ 2 w 179"/>
                  <a:gd name="T45" fmla="*/ 83 h 230"/>
                  <a:gd name="T46" fmla="*/ 3 w 179"/>
                  <a:gd name="T47" fmla="*/ 91 h 230"/>
                  <a:gd name="T48" fmla="*/ 5 w 179"/>
                  <a:gd name="T49" fmla="*/ 99 h 230"/>
                  <a:gd name="T50" fmla="*/ 8 w 179"/>
                  <a:gd name="T51" fmla="*/ 106 h 230"/>
                  <a:gd name="T52" fmla="*/ 11 w 179"/>
                  <a:gd name="T53" fmla="*/ 113 h 230"/>
                  <a:gd name="T54" fmla="*/ 15 w 179"/>
                  <a:gd name="T55" fmla="*/ 119 h 230"/>
                  <a:gd name="T56" fmla="*/ 19 w 179"/>
                  <a:gd name="T57" fmla="*/ 124 h 230"/>
                  <a:gd name="T58" fmla="*/ 24 w 179"/>
                  <a:gd name="T59" fmla="*/ 129 h 230"/>
                  <a:gd name="T60" fmla="*/ 30 w 179"/>
                  <a:gd name="T61" fmla="*/ 133 h 230"/>
                  <a:gd name="T62" fmla="*/ 36 w 179"/>
                  <a:gd name="T63" fmla="*/ 137 h 230"/>
                  <a:gd name="T64" fmla="*/ 42 w 179"/>
                  <a:gd name="T65" fmla="*/ 140 h 230"/>
                  <a:gd name="T66" fmla="*/ 50 w 179"/>
                  <a:gd name="T67" fmla="*/ 142 h 230"/>
                  <a:gd name="T68" fmla="*/ 57 w 179"/>
                  <a:gd name="T69" fmla="*/ 145 h 230"/>
                  <a:gd name="T70" fmla="*/ 65 w 179"/>
                  <a:gd name="T71" fmla="*/ 145 h 230"/>
                  <a:gd name="T72" fmla="*/ 74 w 179"/>
                  <a:gd name="T73" fmla="*/ 146 h 230"/>
                  <a:gd name="T74" fmla="*/ 74 w 179"/>
                  <a:gd name="T75" fmla="*/ 146 h 230"/>
                  <a:gd name="T76" fmla="*/ 91 w 179"/>
                  <a:gd name="T77" fmla="*/ 145 h 230"/>
                  <a:gd name="T78" fmla="*/ 108 w 179"/>
                  <a:gd name="T79" fmla="*/ 141 h 230"/>
                  <a:gd name="T80" fmla="*/ 122 w 179"/>
                  <a:gd name="T81" fmla="*/ 137 h 230"/>
                  <a:gd name="T82" fmla="*/ 134 w 179"/>
                  <a:gd name="T83" fmla="*/ 131 h 230"/>
                  <a:gd name="T84" fmla="*/ 134 w 179"/>
                  <a:gd name="T85" fmla="*/ 230 h 230"/>
                  <a:gd name="T86" fmla="*/ 179 w 179"/>
                  <a:gd name="T87" fmla="*/ 230 h 230"/>
                  <a:gd name="T88" fmla="*/ 179 w 179"/>
                  <a:gd name="T8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79" h="230">
                    <a:moveTo>
                      <a:pt x="179" y="0"/>
                    </a:moveTo>
                    <a:lnTo>
                      <a:pt x="134" y="0"/>
                    </a:lnTo>
                    <a:lnTo>
                      <a:pt x="134" y="92"/>
                    </a:lnTo>
                    <a:lnTo>
                      <a:pt x="134" y="92"/>
                    </a:lnTo>
                    <a:lnTo>
                      <a:pt x="125" y="98"/>
                    </a:lnTo>
                    <a:lnTo>
                      <a:pt x="113" y="102"/>
                    </a:lnTo>
                    <a:lnTo>
                      <a:pt x="100" y="105"/>
                    </a:lnTo>
                    <a:lnTo>
                      <a:pt x="85" y="106"/>
                    </a:lnTo>
                    <a:lnTo>
                      <a:pt x="85" y="106"/>
                    </a:lnTo>
                    <a:lnTo>
                      <a:pt x="76" y="105"/>
                    </a:lnTo>
                    <a:lnTo>
                      <a:pt x="68" y="103"/>
                    </a:lnTo>
                    <a:lnTo>
                      <a:pt x="61" y="101"/>
                    </a:lnTo>
                    <a:lnTo>
                      <a:pt x="56" y="97"/>
                    </a:lnTo>
                    <a:lnTo>
                      <a:pt x="51" y="91"/>
                    </a:lnTo>
                    <a:lnTo>
                      <a:pt x="48" y="85"/>
                    </a:lnTo>
                    <a:lnTo>
                      <a:pt x="46" y="76"/>
                    </a:lnTo>
                    <a:lnTo>
                      <a:pt x="45" y="66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1" y="74"/>
                    </a:lnTo>
                    <a:lnTo>
                      <a:pt x="2" y="83"/>
                    </a:lnTo>
                    <a:lnTo>
                      <a:pt x="3" y="91"/>
                    </a:lnTo>
                    <a:lnTo>
                      <a:pt x="5" y="99"/>
                    </a:lnTo>
                    <a:lnTo>
                      <a:pt x="8" y="106"/>
                    </a:lnTo>
                    <a:lnTo>
                      <a:pt x="11" y="113"/>
                    </a:lnTo>
                    <a:lnTo>
                      <a:pt x="15" y="119"/>
                    </a:lnTo>
                    <a:lnTo>
                      <a:pt x="19" y="124"/>
                    </a:lnTo>
                    <a:lnTo>
                      <a:pt x="24" y="129"/>
                    </a:lnTo>
                    <a:lnTo>
                      <a:pt x="30" y="133"/>
                    </a:lnTo>
                    <a:lnTo>
                      <a:pt x="36" y="137"/>
                    </a:lnTo>
                    <a:lnTo>
                      <a:pt x="42" y="140"/>
                    </a:lnTo>
                    <a:lnTo>
                      <a:pt x="50" y="142"/>
                    </a:lnTo>
                    <a:lnTo>
                      <a:pt x="57" y="145"/>
                    </a:lnTo>
                    <a:lnTo>
                      <a:pt x="65" y="145"/>
                    </a:lnTo>
                    <a:lnTo>
                      <a:pt x="74" y="146"/>
                    </a:lnTo>
                    <a:lnTo>
                      <a:pt x="74" y="146"/>
                    </a:lnTo>
                    <a:lnTo>
                      <a:pt x="91" y="145"/>
                    </a:lnTo>
                    <a:lnTo>
                      <a:pt x="108" y="141"/>
                    </a:lnTo>
                    <a:lnTo>
                      <a:pt x="122" y="137"/>
                    </a:lnTo>
                    <a:lnTo>
                      <a:pt x="134" y="131"/>
                    </a:lnTo>
                    <a:lnTo>
                      <a:pt x="134" y="230"/>
                    </a:lnTo>
                    <a:lnTo>
                      <a:pt x="179" y="230"/>
                    </a:lnTo>
                    <a:lnTo>
                      <a:pt x="179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79" name="Freeform 78"/>
              <p:cNvSpPr>
                <a:spLocks/>
              </p:cNvSpPr>
              <p:nvPr userDrawn="1"/>
            </p:nvSpPr>
            <p:spPr bwMode="auto">
              <a:xfrm>
                <a:off x="3919537" y="6363507"/>
                <a:ext cx="117475" cy="90488"/>
              </a:xfrm>
              <a:custGeom>
                <a:avLst/>
                <a:gdLst>
                  <a:gd name="T0" fmla="*/ 294 w 294"/>
                  <a:gd name="T1" fmla="*/ 0 h 230"/>
                  <a:gd name="T2" fmla="*/ 249 w 294"/>
                  <a:gd name="T3" fmla="*/ 0 h 230"/>
                  <a:gd name="T4" fmla="*/ 249 w 294"/>
                  <a:gd name="T5" fmla="*/ 190 h 230"/>
                  <a:gd name="T6" fmla="*/ 169 w 294"/>
                  <a:gd name="T7" fmla="*/ 190 h 230"/>
                  <a:gd name="T8" fmla="*/ 169 w 294"/>
                  <a:gd name="T9" fmla="*/ 0 h 230"/>
                  <a:gd name="T10" fmla="*/ 125 w 294"/>
                  <a:gd name="T11" fmla="*/ 0 h 230"/>
                  <a:gd name="T12" fmla="*/ 125 w 294"/>
                  <a:gd name="T13" fmla="*/ 190 h 230"/>
                  <a:gd name="T14" fmla="*/ 45 w 294"/>
                  <a:gd name="T15" fmla="*/ 190 h 230"/>
                  <a:gd name="T16" fmla="*/ 45 w 294"/>
                  <a:gd name="T17" fmla="*/ 0 h 230"/>
                  <a:gd name="T18" fmla="*/ 0 w 294"/>
                  <a:gd name="T19" fmla="*/ 0 h 230"/>
                  <a:gd name="T20" fmla="*/ 0 w 294"/>
                  <a:gd name="T21" fmla="*/ 230 h 230"/>
                  <a:gd name="T22" fmla="*/ 294 w 294"/>
                  <a:gd name="T23" fmla="*/ 230 h 230"/>
                  <a:gd name="T24" fmla="*/ 294 w 294"/>
                  <a:gd name="T25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4" h="230">
                    <a:moveTo>
                      <a:pt x="294" y="0"/>
                    </a:moveTo>
                    <a:lnTo>
                      <a:pt x="249" y="0"/>
                    </a:lnTo>
                    <a:lnTo>
                      <a:pt x="249" y="190"/>
                    </a:lnTo>
                    <a:lnTo>
                      <a:pt x="169" y="190"/>
                    </a:lnTo>
                    <a:lnTo>
                      <a:pt x="169" y="0"/>
                    </a:lnTo>
                    <a:lnTo>
                      <a:pt x="125" y="0"/>
                    </a:lnTo>
                    <a:lnTo>
                      <a:pt x="125" y="190"/>
                    </a:lnTo>
                    <a:lnTo>
                      <a:pt x="45" y="190"/>
                    </a:lnTo>
                    <a:lnTo>
                      <a:pt x="45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294" y="230"/>
                    </a:lnTo>
                    <a:lnTo>
                      <a:pt x="294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0" name="Freeform 79"/>
              <p:cNvSpPr>
                <a:spLocks noEditPoints="1"/>
              </p:cNvSpPr>
              <p:nvPr userDrawn="1"/>
            </p:nvSpPr>
            <p:spPr bwMode="auto">
              <a:xfrm>
                <a:off x="4054475" y="6360332"/>
                <a:ext cx="74613" cy="95250"/>
              </a:xfrm>
              <a:custGeom>
                <a:avLst/>
                <a:gdLst>
                  <a:gd name="T0" fmla="*/ 187 w 187"/>
                  <a:gd name="T1" fmla="*/ 77 h 239"/>
                  <a:gd name="T2" fmla="*/ 187 w 187"/>
                  <a:gd name="T3" fmla="*/ 67 h 239"/>
                  <a:gd name="T4" fmla="*/ 183 w 187"/>
                  <a:gd name="T5" fmla="*/ 50 h 239"/>
                  <a:gd name="T6" fmla="*/ 177 w 187"/>
                  <a:gd name="T7" fmla="*/ 36 h 239"/>
                  <a:gd name="T8" fmla="*/ 169 w 187"/>
                  <a:gd name="T9" fmla="*/ 24 h 239"/>
                  <a:gd name="T10" fmla="*/ 157 w 187"/>
                  <a:gd name="T11" fmla="*/ 14 h 239"/>
                  <a:gd name="T12" fmla="*/ 144 w 187"/>
                  <a:gd name="T13" fmla="*/ 7 h 239"/>
                  <a:gd name="T14" fmla="*/ 128 w 187"/>
                  <a:gd name="T15" fmla="*/ 2 h 239"/>
                  <a:gd name="T16" fmla="*/ 110 w 187"/>
                  <a:gd name="T17" fmla="*/ 0 h 239"/>
                  <a:gd name="T18" fmla="*/ 101 w 187"/>
                  <a:gd name="T19" fmla="*/ 0 h 239"/>
                  <a:gd name="T20" fmla="*/ 78 w 187"/>
                  <a:gd name="T21" fmla="*/ 1 h 239"/>
                  <a:gd name="T22" fmla="*/ 58 w 187"/>
                  <a:gd name="T23" fmla="*/ 5 h 239"/>
                  <a:gd name="T24" fmla="*/ 40 w 187"/>
                  <a:gd name="T25" fmla="*/ 11 h 239"/>
                  <a:gd name="T26" fmla="*/ 23 w 187"/>
                  <a:gd name="T27" fmla="*/ 20 h 239"/>
                  <a:gd name="T28" fmla="*/ 40 w 187"/>
                  <a:gd name="T29" fmla="*/ 54 h 239"/>
                  <a:gd name="T30" fmla="*/ 68 w 187"/>
                  <a:gd name="T31" fmla="*/ 43 h 239"/>
                  <a:gd name="T32" fmla="*/ 100 w 187"/>
                  <a:gd name="T33" fmla="*/ 40 h 239"/>
                  <a:gd name="T34" fmla="*/ 110 w 187"/>
                  <a:gd name="T35" fmla="*/ 41 h 239"/>
                  <a:gd name="T36" fmla="*/ 126 w 187"/>
                  <a:gd name="T37" fmla="*/ 46 h 239"/>
                  <a:gd name="T38" fmla="*/ 137 w 187"/>
                  <a:gd name="T39" fmla="*/ 56 h 239"/>
                  <a:gd name="T40" fmla="*/ 142 w 187"/>
                  <a:gd name="T41" fmla="*/ 70 h 239"/>
                  <a:gd name="T42" fmla="*/ 143 w 187"/>
                  <a:gd name="T43" fmla="*/ 96 h 239"/>
                  <a:gd name="T44" fmla="*/ 134 w 187"/>
                  <a:gd name="T45" fmla="*/ 92 h 239"/>
                  <a:gd name="T46" fmla="*/ 109 w 187"/>
                  <a:gd name="T47" fmla="*/ 88 h 239"/>
                  <a:gd name="T48" fmla="*/ 92 w 187"/>
                  <a:gd name="T49" fmla="*/ 87 h 239"/>
                  <a:gd name="T50" fmla="*/ 64 w 187"/>
                  <a:gd name="T51" fmla="*/ 89 h 239"/>
                  <a:gd name="T52" fmla="*/ 48 w 187"/>
                  <a:gd name="T53" fmla="*/ 94 h 239"/>
                  <a:gd name="T54" fmla="*/ 33 w 187"/>
                  <a:gd name="T55" fmla="*/ 101 h 239"/>
                  <a:gd name="T56" fmla="*/ 21 w 187"/>
                  <a:gd name="T57" fmla="*/ 110 h 239"/>
                  <a:gd name="T58" fmla="*/ 11 w 187"/>
                  <a:gd name="T59" fmla="*/ 121 h 239"/>
                  <a:gd name="T60" fmla="*/ 4 w 187"/>
                  <a:gd name="T61" fmla="*/ 135 h 239"/>
                  <a:gd name="T62" fmla="*/ 0 w 187"/>
                  <a:gd name="T63" fmla="*/ 153 h 239"/>
                  <a:gd name="T64" fmla="*/ 0 w 187"/>
                  <a:gd name="T65" fmla="*/ 162 h 239"/>
                  <a:gd name="T66" fmla="*/ 2 w 187"/>
                  <a:gd name="T67" fmla="*/ 182 h 239"/>
                  <a:gd name="T68" fmla="*/ 7 w 187"/>
                  <a:gd name="T69" fmla="*/ 198 h 239"/>
                  <a:gd name="T70" fmla="*/ 15 w 187"/>
                  <a:gd name="T71" fmla="*/ 211 h 239"/>
                  <a:gd name="T72" fmla="*/ 27 w 187"/>
                  <a:gd name="T73" fmla="*/ 222 h 239"/>
                  <a:gd name="T74" fmla="*/ 39 w 187"/>
                  <a:gd name="T75" fmla="*/ 230 h 239"/>
                  <a:gd name="T76" fmla="*/ 52 w 187"/>
                  <a:gd name="T77" fmla="*/ 235 h 239"/>
                  <a:gd name="T78" fmla="*/ 80 w 187"/>
                  <a:gd name="T79" fmla="*/ 239 h 239"/>
                  <a:gd name="T80" fmla="*/ 91 w 187"/>
                  <a:gd name="T81" fmla="*/ 239 h 239"/>
                  <a:gd name="T82" fmla="*/ 109 w 187"/>
                  <a:gd name="T83" fmla="*/ 234 h 239"/>
                  <a:gd name="T84" fmla="*/ 116 w 187"/>
                  <a:gd name="T85" fmla="*/ 231 h 239"/>
                  <a:gd name="T86" fmla="*/ 135 w 187"/>
                  <a:gd name="T87" fmla="*/ 219 h 239"/>
                  <a:gd name="T88" fmla="*/ 143 w 187"/>
                  <a:gd name="T89" fmla="*/ 235 h 239"/>
                  <a:gd name="T90" fmla="*/ 143 w 187"/>
                  <a:gd name="T91" fmla="*/ 170 h 239"/>
                  <a:gd name="T92" fmla="*/ 139 w 187"/>
                  <a:gd name="T93" fmla="*/ 175 h 239"/>
                  <a:gd name="T94" fmla="*/ 127 w 187"/>
                  <a:gd name="T95" fmla="*/ 185 h 239"/>
                  <a:gd name="T96" fmla="*/ 113 w 187"/>
                  <a:gd name="T97" fmla="*/ 193 h 239"/>
                  <a:gd name="T98" fmla="*/ 96 w 187"/>
                  <a:gd name="T99" fmla="*/ 198 h 239"/>
                  <a:gd name="T100" fmla="*/ 88 w 187"/>
                  <a:gd name="T101" fmla="*/ 199 h 239"/>
                  <a:gd name="T102" fmla="*/ 69 w 187"/>
                  <a:gd name="T103" fmla="*/ 196 h 239"/>
                  <a:gd name="T104" fmla="*/ 56 w 187"/>
                  <a:gd name="T105" fmla="*/ 190 h 239"/>
                  <a:gd name="T106" fmla="*/ 51 w 187"/>
                  <a:gd name="T107" fmla="*/ 185 h 239"/>
                  <a:gd name="T108" fmla="*/ 45 w 187"/>
                  <a:gd name="T109" fmla="*/ 170 h 239"/>
                  <a:gd name="T110" fmla="*/ 44 w 187"/>
                  <a:gd name="T111" fmla="*/ 161 h 239"/>
                  <a:gd name="T112" fmla="*/ 47 w 187"/>
                  <a:gd name="T113" fmla="*/ 146 h 239"/>
                  <a:gd name="T114" fmla="*/ 56 w 187"/>
                  <a:gd name="T115" fmla="*/ 135 h 239"/>
                  <a:gd name="T116" fmla="*/ 71 w 187"/>
                  <a:gd name="T117" fmla="*/ 128 h 239"/>
                  <a:gd name="T118" fmla="*/ 91 w 187"/>
                  <a:gd name="T119" fmla="*/ 126 h 239"/>
                  <a:gd name="T120" fmla="*/ 108 w 187"/>
                  <a:gd name="T121" fmla="*/ 126 h 239"/>
                  <a:gd name="T122" fmla="*/ 121 w 187"/>
                  <a:gd name="T123" fmla="*/ 128 h 239"/>
                  <a:gd name="T124" fmla="*/ 143 w 187"/>
                  <a:gd name="T125" fmla="*/ 136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7" h="239">
                    <a:moveTo>
                      <a:pt x="187" y="235"/>
                    </a:moveTo>
                    <a:lnTo>
                      <a:pt x="187" y="77"/>
                    </a:lnTo>
                    <a:lnTo>
                      <a:pt x="187" y="77"/>
                    </a:lnTo>
                    <a:lnTo>
                      <a:pt x="187" y="67"/>
                    </a:lnTo>
                    <a:lnTo>
                      <a:pt x="185" y="58"/>
                    </a:lnTo>
                    <a:lnTo>
                      <a:pt x="183" y="50"/>
                    </a:lnTo>
                    <a:lnTo>
                      <a:pt x="181" y="43"/>
                    </a:lnTo>
                    <a:lnTo>
                      <a:pt x="177" y="36"/>
                    </a:lnTo>
                    <a:lnTo>
                      <a:pt x="173" y="29"/>
                    </a:lnTo>
                    <a:lnTo>
                      <a:pt x="169" y="24"/>
                    </a:lnTo>
                    <a:lnTo>
                      <a:pt x="163" y="19"/>
                    </a:lnTo>
                    <a:lnTo>
                      <a:pt x="157" y="14"/>
                    </a:lnTo>
                    <a:lnTo>
                      <a:pt x="151" y="10"/>
                    </a:lnTo>
                    <a:lnTo>
                      <a:pt x="144" y="7"/>
                    </a:lnTo>
                    <a:lnTo>
                      <a:pt x="136" y="5"/>
                    </a:lnTo>
                    <a:lnTo>
                      <a:pt x="128" y="2"/>
                    </a:lnTo>
                    <a:lnTo>
                      <a:pt x="119" y="1"/>
                    </a:lnTo>
                    <a:lnTo>
                      <a:pt x="110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89" y="0"/>
                    </a:lnTo>
                    <a:lnTo>
                      <a:pt x="78" y="1"/>
                    </a:lnTo>
                    <a:lnTo>
                      <a:pt x="68" y="3"/>
                    </a:lnTo>
                    <a:lnTo>
                      <a:pt x="58" y="5"/>
                    </a:lnTo>
                    <a:lnTo>
                      <a:pt x="49" y="8"/>
                    </a:lnTo>
                    <a:lnTo>
                      <a:pt x="40" y="11"/>
                    </a:lnTo>
                    <a:lnTo>
                      <a:pt x="31" y="16"/>
                    </a:lnTo>
                    <a:lnTo>
                      <a:pt x="23" y="20"/>
                    </a:lnTo>
                    <a:lnTo>
                      <a:pt x="40" y="54"/>
                    </a:lnTo>
                    <a:lnTo>
                      <a:pt x="40" y="54"/>
                    </a:lnTo>
                    <a:lnTo>
                      <a:pt x="54" y="48"/>
                    </a:lnTo>
                    <a:lnTo>
                      <a:pt x="68" y="43"/>
                    </a:lnTo>
                    <a:lnTo>
                      <a:pt x="83" y="41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10" y="41"/>
                    </a:lnTo>
                    <a:lnTo>
                      <a:pt x="118" y="43"/>
                    </a:lnTo>
                    <a:lnTo>
                      <a:pt x="126" y="46"/>
                    </a:lnTo>
                    <a:lnTo>
                      <a:pt x="132" y="50"/>
                    </a:lnTo>
                    <a:lnTo>
                      <a:pt x="137" y="56"/>
                    </a:lnTo>
                    <a:lnTo>
                      <a:pt x="140" y="62"/>
                    </a:lnTo>
                    <a:lnTo>
                      <a:pt x="142" y="70"/>
                    </a:lnTo>
                    <a:lnTo>
                      <a:pt x="143" y="79"/>
                    </a:lnTo>
                    <a:lnTo>
                      <a:pt x="143" y="96"/>
                    </a:lnTo>
                    <a:lnTo>
                      <a:pt x="143" y="96"/>
                    </a:lnTo>
                    <a:lnTo>
                      <a:pt x="134" y="92"/>
                    </a:lnTo>
                    <a:lnTo>
                      <a:pt x="122" y="89"/>
                    </a:lnTo>
                    <a:lnTo>
                      <a:pt x="109" y="88"/>
                    </a:lnTo>
                    <a:lnTo>
                      <a:pt x="92" y="87"/>
                    </a:lnTo>
                    <a:lnTo>
                      <a:pt x="92" y="87"/>
                    </a:lnTo>
                    <a:lnTo>
                      <a:pt x="73" y="88"/>
                    </a:lnTo>
                    <a:lnTo>
                      <a:pt x="64" y="89"/>
                    </a:lnTo>
                    <a:lnTo>
                      <a:pt x="56" y="91"/>
                    </a:lnTo>
                    <a:lnTo>
                      <a:pt x="48" y="94"/>
                    </a:lnTo>
                    <a:lnTo>
                      <a:pt x="40" y="97"/>
                    </a:lnTo>
                    <a:lnTo>
                      <a:pt x="33" y="101"/>
                    </a:lnTo>
                    <a:lnTo>
                      <a:pt x="27" y="105"/>
                    </a:lnTo>
                    <a:lnTo>
                      <a:pt x="21" y="110"/>
                    </a:lnTo>
                    <a:lnTo>
                      <a:pt x="15" y="115"/>
                    </a:lnTo>
                    <a:lnTo>
                      <a:pt x="11" y="121"/>
                    </a:lnTo>
                    <a:lnTo>
                      <a:pt x="7" y="128"/>
                    </a:lnTo>
                    <a:lnTo>
                      <a:pt x="4" y="135"/>
                    </a:lnTo>
                    <a:lnTo>
                      <a:pt x="2" y="143"/>
                    </a:lnTo>
                    <a:lnTo>
                      <a:pt x="0" y="153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72"/>
                    </a:lnTo>
                    <a:lnTo>
                      <a:pt x="2" y="182"/>
                    </a:lnTo>
                    <a:lnTo>
                      <a:pt x="4" y="190"/>
                    </a:lnTo>
                    <a:lnTo>
                      <a:pt x="7" y="198"/>
                    </a:lnTo>
                    <a:lnTo>
                      <a:pt x="11" y="205"/>
                    </a:lnTo>
                    <a:lnTo>
                      <a:pt x="15" y="211"/>
                    </a:lnTo>
                    <a:lnTo>
                      <a:pt x="21" y="217"/>
                    </a:lnTo>
                    <a:lnTo>
                      <a:pt x="27" y="222"/>
                    </a:lnTo>
                    <a:lnTo>
                      <a:pt x="33" y="226"/>
                    </a:lnTo>
                    <a:lnTo>
                      <a:pt x="39" y="230"/>
                    </a:lnTo>
                    <a:lnTo>
                      <a:pt x="45" y="233"/>
                    </a:lnTo>
                    <a:lnTo>
                      <a:pt x="52" y="235"/>
                    </a:lnTo>
                    <a:lnTo>
                      <a:pt x="66" y="238"/>
                    </a:lnTo>
                    <a:lnTo>
                      <a:pt x="80" y="239"/>
                    </a:lnTo>
                    <a:lnTo>
                      <a:pt x="80" y="239"/>
                    </a:lnTo>
                    <a:lnTo>
                      <a:pt x="91" y="239"/>
                    </a:lnTo>
                    <a:lnTo>
                      <a:pt x="101" y="237"/>
                    </a:lnTo>
                    <a:lnTo>
                      <a:pt x="109" y="234"/>
                    </a:lnTo>
                    <a:lnTo>
                      <a:pt x="116" y="231"/>
                    </a:lnTo>
                    <a:lnTo>
                      <a:pt x="116" y="231"/>
                    </a:lnTo>
                    <a:lnTo>
                      <a:pt x="128" y="224"/>
                    </a:lnTo>
                    <a:lnTo>
                      <a:pt x="135" y="219"/>
                    </a:lnTo>
                    <a:lnTo>
                      <a:pt x="143" y="212"/>
                    </a:lnTo>
                    <a:lnTo>
                      <a:pt x="143" y="235"/>
                    </a:lnTo>
                    <a:lnTo>
                      <a:pt x="187" y="235"/>
                    </a:lnTo>
                    <a:close/>
                    <a:moveTo>
                      <a:pt x="143" y="170"/>
                    </a:moveTo>
                    <a:lnTo>
                      <a:pt x="143" y="170"/>
                    </a:lnTo>
                    <a:lnTo>
                      <a:pt x="139" y="175"/>
                    </a:lnTo>
                    <a:lnTo>
                      <a:pt x="133" y="180"/>
                    </a:lnTo>
                    <a:lnTo>
                      <a:pt x="127" y="185"/>
                    </a:lnTo>
                    <a:lnTo>
                      <a:pt x="121" y="190"/>
                    </a:lnTo>
                    <a:lnTo>
                      <a:pt x="113" y="193"/>
                    </a:lnTo>
                    <a:lnTo>
                      <a:pt x="105" y="196"/>
                    </a:lnTo>
                    <a:lnTo>
                      <a:pt x="96" y="198"/>
                    </a:lnTo>
                    <a:lnTo>
                      <a:pt x="88" y="199"/>
                    </a:lnTo>
                    <a:lnTo>
                      <a:pt x="88" y="199"/>
                    </a:lnTo>
                    <a:lnTo>
                      <a:pt x="78" y="198"/>
                    </a:lnTo>
                    <a:lnTo>
                      <a:pt x="69" y="196"/>
                    </a:lnTo>
                    <a:lnTo>
                      <a:pt x="62" y="194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1" y="185"/>
                    </a:lnTo>
                    <a:lnTo>
                      <a:pt x="47" y="178"/>
                    </a:lnTo>
                    <a:lnTo>
                      <a:pt x="45" y="170"/>
                    </a:lnTo>
                    <a:lnTo>
                      <a:pt x="44" y="161"/>
                    </a:lnTo>
                    <a:lnTo>
                      <a:pt x="44" y="161"/>
                    </a:lnTo>
                    <a:lnTo>
                      <a:pt x="44" y="153"/>
                    </a:lnTo>
                    <a:lnTo>
                      <a:pt x="47" y="146"/>
                    </a:lnTo>
                    <a:lnTo>
                      <a:pt x="51" y="140"/>
                    </a:lnTo>
                    <a:lnTo>
                      <a:pt x="56" y="135"/>
                    </a:lnTo>
                    <a:lnTo>
                      <a:pt x="63" y="131"/>
                    </a:lnTo>
                    <a:lnTo>
                      <a:pt x="71" y="128"/>
                    </a:lnTo>
                    <a:lnTo>
                      <a:pt x="80" y="126"/>
                    </a:lnTo>
                    <a:lnTo>
                      <a:pt x="91" y="126"/>
                    </a:lnTo>
                    <a:lnTo>
                      <a:pt x="91" y="126"/>
                    </a:lnTo>
                    <a:lnTo>
                      <a:pt x="108" y="126"/>
                    </a:lnTo>
                    <a:lnTo>
                      <a:pt x="121" y="128"/>
                    </a:lnTo>
                    <a:lnTo>
                      <a:pt x="121" y="128"/>
                    </a:lnTo>
                    <a:lnTo>
                      <a:pt x="131" y="131"/>
                    </a:lnTo>
                    <a:lnTo>
                      <a:pt x="143" y="136"/>
                    </a:lnTo>
                    <a:lnTo>
                      <a:pt x="143" y="17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1" name="Freeform 80"/>
              <p:cNvSpPr>
                <a:spLocks noEditPoints="1"/>
              </p:cNvSpPr>
              <p:nvPr userDrawn="1"/>
            </p:nvSpPr>
            <p:spPr bwMode="auto">
              <a:xfrm>
                <a:off x="4146550" y="6360332"/>
                <a:ext cx="79375" cy="95250"/>
              </a:xfrm>
              <a:custGeom>
                <a:avLst/>
                <a:gdLst>
                  <a:gd name="T0" fmla="*/ 197 w 197"/>
                  <a:gd name="T1" fmla="*/ 114 h 239"/>
                  <a:gd name="T2" fmla="*/ 196 w 197"/>
                  <a:gd name="T3" fmla="*/ 92 h 239"/>
                  <a:gd name="T4" fmla="*/ 191 w 197"/>
                  <a:gd name="T5" fmla="*/ 70 h 239"/>
                  <a:gd name="T6" fmla="*/ 184 w 197"/>
                  <a:gd name="T7" fmla="*/ 51 h 239"/>
                  <a:gd name="T8" fmla="*/ 173 w 197"/>
                  <a:gd name="T9" fmla="*/ 34 h 239"/>
                  <a:gd name="T10" fmla="*/ 160 w 197"/>
                  <a:gd name="T11" fmla="*/ 20 h 239"/>
                  <a:gd name="T12" fmla="*/ 143 w 197"/>
                  <a:gd name="T13" fmla="*/ 9 h 239"/>
                  <a:gd name="T14" fmla="*/ 123 w 197"/>
                  <a:gd name="T15" fmla="*/ 2 h 239"/>
                  <a:gd name="T16" fmla="*/ 101 w 197"/>
                  <a:gd name="T17" fmla="*/ 0 h 239"/>
                  <a:gd name="T18" fmla="*/ 90 w 197"/>
                  <a:gd name="T19" fmla="*/ 0 h 239"/>
                  <a:gd name="T20" fmla="*/ 69 w 197"/>
                  <a:gd name="T21" fmla="*/ 4 h 239"/>
                  <a:gd name="T22" fmla="*/ 51 w 197"/>
                  <a:gd name="T23" fmla="*/ 12 h 239"/>
                  <a:gd name="T24" fmla="*/ 35 w 197"/>
                  <a:gd name="T25" fmla="*/ 23 h 239"/>
                  <a:gd name="T26" fmla="*/ 22 w 197"/>
                  <a:gd name="T27" fmla="*/ 38 h 239"/>
                  <a:gd name="T28" fmla="*/ 12 w 197"/>
                  <a:gd name="T29" fmla="*/ 57 h 239"/>
                  <a:gd name="T30" fmla="*/ 5 w 197"/>
                  <a:gd name="T31" fmla="*/ 79 h 239"/>
                  <a:gd name="T32" fmla="*/ 1 w 197"/>
                  <a:gd name="T33" fmla="*/ 105 h 239"/>
                  <a:gd name="T34" fmla="*/ 0 w 197"/>
                  <a:gd name="T35" fmla="*/ 119 h 239"/>
                  <a:gd name="T36" fmla="*/ 2 w 197"/>
                  <a:gd name="T37" fmla="*/ 147 h 239"/>
                  <a:gd name="T38" fmla="*/ 9 w 197"/>
                  <a:gd name="T39" fmla="*/ 173 h 239"/>
                  <a:gd name="T40" fmla="*/ 19 w 197"/>
                  <a:gd name="T41" fmla="*/ 193 h 239"/>
                  <a:gd name="T42" fmla="*/ 30 w 197"/>
                  <a:gd name="T43" fmla="*/ 209 h 239"/>
                  <a:gd name="T44" fmla="*/ 37 w 197"/>
                  <a:gd name="T45" fmla="*/ 215 h 239"/>
                  <a:gd name="T46" fmla="*/ 51 w 197"/>
                  <a:gd name="T47" fmla="*/ 226 h 239"/>
                  <a:gd name="T48" fmla="*/ 68 w 197"/>
                  <a:gd name="T49" fmla="*/ 234 h 239"/>
                  <a:gd name="T50" fmla="*/ 88 w 197"/>
                  <a:gd name="T51" fmla="*/ 239 h 239"/>
                  <a:gd name="T52" fmla="*/ 99 w 197"/>
                  <a:gd name="T53" fmla="*/ 239 h 239"/>
                  <a:gd name="T54" fmla="*/ 125 w 197"/>
                  <a:gd name="T55" fmla="*/ 237 h 239"/>
                  <a:gd name="T56" fmla="*/ 145 w 197"/>
                  <a:gd name="T57" fmla="*/ 231 h 239"/>
                  <a:gd name="T58" fmla="*/ 154 w 197"/>
                  <a:gd name="T59" fmla="*/ 227 h 239"/>
                  <a:gd name="T60" fmla="*/ 170 w 197"/>
                  <a:gd name="T61" fmla="*/ 217 h 239"/>
                  <a:gd name="T62" fmla="*/ 152 w 197"/>
                  <a:gd name="T63" fmla="*/ 180 h 239"/>
                  <a:gd name="T64" fmla="*/ 139 w 197"/>
                  <a:gd name="T65" fmla="*/ 188 h 239"/>
                  <a:gd name="T66" fmla="*/ 129 w 197"/>
                  <a:gd name="T67" fmla="*/ 194 h 239"/>
                  <a:gd name="T68" fmla="*/ 116 w 197"/>
                  <a:gd name="T69" fmla="*/ 197 h 239"/>
                  <a:gd name="T70" fmla="*/ 102 w 197"/>
                  <a:gd name="T71" fmla="*/ 199 h 239"/>
                  <a:gd name="T72" fmla="*/ 92 w 197"/>
                  <a:gd name="T73" fmla="*/ 198 h 239"/>
                  <a:gd name="T74" fmla="*/ 73 w 197"/>
                  <a:gd name="T75" fmla="*/ 191 h 239"/>
                  <a:gd name="T76" fmla="*/ 58 w 197"/>
                  <a:gd name="T77" fmla="*/ 175 h 239"/>
                  <a:gd name="T78" fmla="*/ 47 w 197"/>
                  <a:gd name="T79" fmla="*/ 151 h 239"/>
                  <a:gd name="T80" fmla="*/ 196 w 197"/>
                  <a:gd name="T81" fmla="*/ 135 h 239"/>
                  <a:gd name="T82" fmla="*/ 196 w 197"/>
                  <a:gd name="T83" fmla="*/ 126 h 239"/>
                  <a:gd name="T84" fmla="*/ 197 w 197"/>
                  <a:gd name="T85" fmla="*/ 114 h 239"/>
                  <a:gd name="T86" fmla="*/ 45 w 197"/>
                  <a:gd name="T87" fmla="*/ 98 h 239"/>
                  <a:gd name="T88" fmla="*/ 51 w 197"/>
                  <a:gd name="T89" fmla="*/ 73 h 239"/>
                  <a:gd name="T90" fmla="*/ 61 w 197"/>
                  <a:gd name="T91" fmla="*/ 55 h 239"/>
                  <a:gd name="T92" fmla="*/ 77 w 197"/>
                  <a:gd name="T93" fmla="*/ 44 h 239"/>
                  <a:gd name="T94" fmla="*/ 98 w 197"/>
                  <a:gd name="T95" fmla="*/ 40 h 239"/>
                  <a:gd name="T96" fmla="*/ 104 w 197"/>
                  <a:gd name="T97" fmla="*/ 41 h 239"/>
                  <a:gd name="T98" fmla="*/ 116 w 197"/>
                  <a:gd name="T99" fmla="*/ 43 h 239"/>
                  <a:gd name="T100" fmla="*/ 126 w 197"/>
                  <a:gd name="T101" fmla="*/ 47 h 239"/>
                  <a:gd name="T102" fmla="*/ 138 w 197"/>
                  <a:gd name="T103" fmla="*/ 57 h 239"/>
                  <a:gd name="T104" fmla="*/ 147 w 197"/>
                  <a:gd name="T105" fmla="*/ 76 h 239"/>
                  <a:gd name="T106" fmla="*/ 152 w 197"/>
                  <a:gd name="T107" fmla="*/ 9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7" h="239">
                    <a:moveTo>
                      <a:pt x="197" y="114"/>
                    </a:moveTo>
                    <a:lnTo>
                      <a:pt x="197" y="114"/>
                    </a:lnTo>
                    <a:lnTo>
                      <a:pt x="197" y="103"/>
                    </a:lnTo>
                    <a:lnTo>
                      <a:pt x="196" y="92"/>
                    </a:lnTo>
                    <a:lnTo>
                      <a:pt x="194" y="81"/>
                    </a:lnTo>
                    <a:lnTo>
                      <a:pt x="191" y="70"/>
                    </a:lnTo>
                    <a:lnTo>
                      <a:pt x="188" y="60"/>
                    </a:lnTo>
                    <a:lnTo>
                      <a:pt x="184" y="51"/>
                    </a:lnTo>
                    <a:lnTo>
                      <a:pt x="179" y="42"/>
                    </a:lnTo>
                    <a:lnTo>
                      <a:pt x="173" y="34"/>
                    </a:lnTo>
                    <a:lnTo>
                      <a:pt x="167" y="26"/>
                    </a:lnTo>
                    <a:lnTo>
                      <a:pt x="160" y="20"/>
                    </a:lnTo>
                    <a:lnTo>
                      <a:pt x="152" y="14"/>
                    </a:lnTo>
                    <a:lnTo>
                      <a:pt x="143" y="9"/>
                    </a:lnTo>
                    <a:lnTo>
                      <a:pt x="134" y="5"/>
                    </a:lnTo>
                    <a:lnTo>
                      <a:pt x="123" y="2"/>
                    </a:lnTo>
                    <a:lnTo>
                      <a:pt x="112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90" y="0"/>
                    </a:lnTo>
                    <a:lnTo>
                      <a:pt x="79" y="2"/>
                    </a:lnTo>
                    <a:lnTo>
                      <a:pt x="69" y="4"/>
                    </a:lnTo>
                    <a:lnTo>
                      <a:pt x="60" y="8"/>
                    </a:lnTo>
                    <a:lnTo>
                      <a:pt x="51" y="12"/>
                    </a:lnTo>
                    <a:lnTo>
                      <a:pt x="43" y="17"/>
                    </a:lnTo>
                    <a:lnTo>
                      <a:pt x="35" y="23"/>
                    </a:lnTo>
                    <a:lnTo>
                      <a:pt x="28" y="30"/>
                    </a:lnTo>
                    <a:lnTo>
                      <a:pt x="22" y="38"/>
                    </a:lnTo>
                    <a:lnTo>
                      <a:pt x="16" y="47"/>
                    </a:lnTo>
                    <a:lnTo>
                      <a:pt x="12" y="57"/>
                    </a:lnTo>
                    <a:lnTo>
                      <a:pt x="8" y="68"/>
                    </a:lnTo>
                    <a:lnTo>
                      <a:pt x="5" y="79"/>
                    </a:lnTo>
                    <a:lnTo>
                      <a:pt x="2" y="92"/>
                    </a:lnTo>
                    <a:lnTo>
                      <a:pt x="1" y="105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1" y="134"/>
                    </a:lnTo>
                    <a:lnTo>
                      <a:pt x="2" y="147"/>
                    </a:lnTo>
                    <a:lnTo>
                      <a:pt x="5" y="161"/>
                    </a:lnTo>
                    <a:lnTo>
                      <a:pt x="9" y="173"/>
                    </a:lnTo>
                    <a:lnTo>
                      <a:pt x="14" y="184"/>
                    </a:lnTo>
                    <a:lnTo>
                      <a:pt x="19" y="193"/>
                    </a:lnTo>
                    <a:lnTo>
                      <a:pt x="24" y="202"/>
                    </a:lnTo>
                    <a:lnTo>
                      <a:pt x="30" y="209"/>
                    </a:lnTo>
                    <a:lnTo>
                      <a:pt x="30" y="209"/>
                    </a:lnTo>
                    <a:lnTo>
                      <a:pt x="37" y="215"/>
                    </a:lnTo>
                    <a:lnTo>
                      <a:pt x="44" y="221"/>
                    </a:lnTo>
                    <a:lnTo>
                      <a:pt x="51" y="226"/>
                    </a:lnTo>
                    <a:lnTo>
                      <a:pt x="59" y="230"/>
                    </a:lnTo>
                    <a:lnTo>
                      <a:pt x="68" y="234"/>
                    </a:lnTo>
                    <a:lnTo>
                      <a:pt x="78" y="237"/>
                    </a:lnTo>
                    <a:lnTo>
                      <a:pt x="88" y="239"/>
                    </a:lnTo>
                    <a:lnTo>
                      <a:pt x="99" y="239"/>
                    </a:lnTo>
                    <a:lnTo>
                      <a:pt x="99" y="239"/>
                    </a:lnTo>
                    <a:lnTo>
                      <a:pt x="112" y="239"/>
                    </a:lnTo>
                    <a:lnTo>
                      <a:pt x="125" y="237"/>
                    </a:lnTo>
                    <a:lnTo>
                      <a:pt x="135" y="235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54" y="227"/>
                    </a:lnTo>
                    <a:lnTo>
                      <a:pt x="162" y="222"/>
                    </a:lnTo>
                    <a:lnTo>
                      <a:pt x="170" y="217"/>
                    </a:lnTo>
                    <a:lnTo>
                      <a:pt x="178" y="209"/>
                    </a:lnTo>
                    <a:lnTo>
                      <a:pt x="152" y="180"/>
                    </a:lnTo>
                    <a:lnTo>
                      <a:pt x="152" y="180"/>
                    </a:lnTo>
                    <a:lnTo>
                      <a:pt x="139" y="188"/>
                    </a:lnTo>
                    <a:lnTo>
                      <a:pt x="129" y="194"/>
                    </a:lnTo>
                    <a:lnTo>
                      <a:pt x="129" y="194"/>
                    </a:lnTo>
                    <a:lnTo>
                      <a:pt x="122" y="196"/>
                    </a:lnTo>
                    <a:lnTo>
                      <a:pt x="116" y="197"/>
                    </a:lnTo>
                    <a:lnTo>
                      <a:pt x="109" y="198"/>
                    </a:lnTo>
                    <a:lnTo>
                      <a:pt x="102" y="199"/>
                    </a:lnTo>
                    <a:lnTo>
                      <a:pt x="102" y="199"/>
                    </a:lnTo>
                    <a:lnTo>
                      <a:pt x="92" y="198"/>
                    </a:lnTo>
                    <a:lnTo>
                      <a:pt x="82" y="195"/>
                    </a:lnTo>
                    <a:lnTo>
                      <a:pt x="73" y="191"/>
                    </a:lnTo>
                    <a:lnTo>
                      <a:pt x="65" y="184"/>
                    </a:lnTo>
                    <a:lnTo>
                      <a:pt x="58" y="175"/>
                    </a:lnTo>
                    <a:lnTo>
                      <a:pt x="52" y="164"/>
                    </a:lnTo>
                    <a:lnTo>
                      <a:pt x="47" y="151"/>
                    </a:lnTo>
                    <a:lnTo>
                      <a:pt x="44" y="135"/>
                    </a:lnTo>
                    <a:lnTo>
                      <a:pt x="196" y="135"/>
                    </a:lnTo>
                    <a:lnTo>
                      <a:pt x="196" y="135"/>
                    </a:lnTo>
                    <a:lnTo>
                      <a:pt x="196" y="126"/>
                    </a:lnTo>
                    <a:lnTo>
                      <a:pt x="197" y="114"/>
                    </a:lnTo>
                    <a:lnTo>
                      <a:pt x="197" y="114"/>
                    </a:lnTo>
                    <a:close/>
                    <a:moveTo>
                      <a:pt x="45" y="98"/>
                    </a:moveTo>
                    <a:lnTo>
                      <a:pt x="45" y="98"/>
                    </a:lnTo>
                    <a:lnTo>
                      <a:pt x="47" y="85"/>
                    </a:lnTo>
                    <a:lnTo>
                      <a:pt x="51" y="73"/>
                    </a:lnTo>
                    <a:lnTo>
                      <a:pt x="55" y="64"/>
                    </a:lnTo>
                    <a:lnTo>
                      <a:pt x="61" y="55"/>
                    </a:lnTo>
                    <a:lnTo>
                      <a:pt x="68" y="49"/>
                    </a:lnTo>
                    <a:lnTo>
                      <a:pt x="77" y="44"/>
                    </a:lnTo>
                    <a:lnTo>
                      <a:pt x="87" y="41"/>
                    </a:lnTo>
                    <a:lnTo>
                      <a:pt x="98" y="40"/>
                    </a:lnTo>
                    <a:lnTo>
                      <a:pt x="98" y="40"/>
                    </a:lnTo>
                    <a:lnTo>
                      <a:pt x="104" y="41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21" y="45"/>
                    </a:lnTo>
                    <a:lnTo>
                      <a:pt x="126" y="47"/>
                    </a:lnTo>
                    <a:lnTo>
                      <a:pt x="130" y="50"/>
                    </a:lnTo>
                    <a:lnTo>
                      <a:pt x="138" y="57"/>
                    </a:lnTo>
                    <a:lnTo>
                      <a:pt x="143" y="66"/>
                    </a:lnTo>
                    <a:lnTo>
                      <a:pt x="147" y="76"/>
                    </a:lnTo>
                    <a:lnTo>
                      <a:pt x="150" y="86"/>
                    </a:lnTo>
                    <a:lnTo>
                      <a:pt x="152" y="98"/>
                    </a:lnTo>
                    <a:lnTo>
                      <a:pt x="45" y="98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2" name="Freeform 81"/>
              <p:cNvSpPr>
                <a:spLocks/>
              </p:cNvSpPr>
              <p:nvPr userDrawn="1"/>
            </p:nvSpPr>
            <p:spPr bwMode="auto">
              <a:xfrm>
                <a:off x="4244975" y="6363507"/>
                <a:ext cx="88900" cy="92075"/>
              </a:xfrm>
              <a:custGeom>
                <a:avLst/>
                <a:gdLst>
                  <a:gd name="T0" fmla="*/ 226 w 226"/>
                  <a:gd name="T1" fmla="*/ 230 h 233"/>
                  <a:gd name="T2" fmla="*/ 226 w 226"/>
                  <a:gd name="T3" fmla="*/ 0 h 233"/>
                  <a:gd name="T4" fmla="*/ 177 w 226"/>
                  <a:gd name="T5" fmla="*/ 0 h 233"/>
                  <a:gd name="T6" fmla="*/ 128 w 226"/>
                  <a:gd name="T7" fmla="*/ 111 h 233"/>
                  <a:gd name="T8" fmla="*/ 128 w 226"/>
                  <a:gd name="T9" fmla="*/ 111 h 233"/>
                  <a:gd name="T10" fmla="*/ 113 w 226"/>
                  <a:gd name="T11" fmla="*/ 151 h 233"/>
                  <a:gd name="T12" fmla="*/ 113 w 226"/>
                  <a:gd name="T13" fmla="*/ 151 h 233"/>
                  <a:gd name="T14" fmla="*/ 107 w 226"/>
                  <a:gd name="T15" fmla="*/ 132 h 233"/>
                  <a:gd name="T16" fmla="*/ 98 w 226"/>
                  <a:gd name="T17" fmla="*/ 111 h 233"/>
                  <a:gd name="T18" fmla="*/ 49 w 226"/>
                  <a:gd name="T19" fmla="*/ 0 h 233"/>
                  <a:gd name="T20" fmla="*/ 0 w 226"/>
                  <a:gd name="T21" fmla="*/ 0 h 233"/>
                  <a:gd name="T22" fmla="*/ 0 w 226"/>
                  <a:gd name="T23" fmla="*/ 230 h 233"/>
                  <a:gd name="T24" fmla="*/ 43 w 226"/>
                  <a:gd name="T25" fmla="*/ 230 h 233"/>
                  <a:gd name="T26" fmla="*/ 43 w 226"/>
                  <a:gd name="T27" fmla="*/ 110 h 233"/>
                  <a:gd name="T28" fmla="*/ 43 w 226"/>
                  <a:gd name="T29" fmla="*/ 110 h 233"/>
                  <a:gd name="T30" fmla="*/ 42 w 226"/>
                  <a:gd name="T31" fmla="*/ 69 h 233"/>
                  <a:gd name="T32" fmla="*/ 42 w 226"/>
                  <a:gd name="T33" fmla="*/ 69 h 233"/>
                  <a:gd name="T34" fmla="*/ 48 w 226"/>
                  <a:gd name="T35" fmla="*/ 85 h 233"/>
                  <a:gd name="T36" fmla="*/ 57 w 226"/>
                  <a:gd name="T37" fmla="*/ 106 h 233"/>
                  <a:gd name="T38" fmla="*/ 112 w 226"/>
                  <a:gd name="T39" fmla="*/ 233 h 233"/>
                  <a:gd name="T40" fmla="*/ 167 w 226"/>
                  <a:gd name="T41" fmla="*/ 106 h 233"/>
                  <a:gd name="T42" fmla="*/ 167 w 226"/>
                  <a:gd name="T43" fmla="*/ 106 h 233"/>
                  <a:gd name="T44" fmla="*/ 176 w 226"/>
                  <a:gd name="T45" fmla="*/ 85 h 233"/>
                  <a:gd name="T46" fmla="*/ 182 w 226"/>
                  <a:gd name="T47" fmla="*/ 69 h 233"/>
                  <a:gd name="T48" fmla="*/ 182 w 226"/>
                  <a:gd name="T49" fmla="*/ 69 h 233"/>
                  <a:gd name="T50" fmla="*/ 181 w 226"/>
                  <a:gd name="T51" fmla="*/ 110 h 233"/>
                  <a:gd name="T52" fmla="*/ 181 w 226"/>
                  <a:gd name="T53" fmla="*/ 230 h 233"/>
                  <a:gd name="T54" fmla="*/ 226 w 226"/>
                  <a:gd name="T55" fmla="*/ 23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26" h="233">
                    <a:moveTo>
                      <a:pt x="226" y="230"/>
                    </a:moveTo>
                    <a:lnTo>
                      <a:pt x="226" y="0"/>
                    </a:lnTo>
                    <a:lnTo>
                      <a:pt x="177" y="0"/>
                    </a:lnTo>
                    <a:lnTo>
                      <a:pt x="128" y="111"/>
                    </a:lnTo>
                    <a:lnTo>
                      <a:pt x="128" y="111"/>
                    </a:lnTo>
                    <a:lnTo>
                      <a:pt x="113" y="151"/>
                    </a:lnTo>
                    <a:lnTo>
                      <a:pt x="113" y="151"/>
                    </a:lnTo>
                    <a:lnTo>
                      <a:pt x="107" y="132"/>
                    </a:lnTo>
                    <a:lnTo>
                      <a:pt x="98" y="111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3" y="230"/>
                    </a:lnTo>
                    <a:lnTo>
                      <a:pt x="43" y="110"/>
                    </a:lnTo>
                    <a:lnTo>
                      <a:pt x="43" y="110"/>
                    </a:lnTo>
                    <a:lnTo>
                      <a:pt x="42" y="69"/>
                    </a:lnTo>
                    <a:lnTo>
                      <a:pt x="42" y="69"/>
                    </a:lnTo>
                    <a:lnTo>
                      <a:pt x="48" y="85"/>
                    </a:lnTo>
                    <a:lnTo>
                      <a:pt x="57" y="106"/>
                    </a:lnTo>
                    <a:lnTo>
                      <a:pt x="112" y="233"/>
                    </a:lnTo>
                    <a:lnTo>
                      <a:pt x="167" y="106"/>
                    </a:lnTo>
                    <a:lnTo>
                      <a:pt x="167" y="106"/>
                    </a:lnTo>
                    <a:lnTo>
                      <a:pt x="176" y="85"/>
                    </a:lnTo>
                    <a:lnTo>
                      <a:pt x="182" y="69"/>
                    </a:lnTo>
                    <a:lnTo>
                      <a:pt x="182" y="69"/>
                    </a:lnTo>
                    <a:lnTo>
                      <a:pt x="181" y="110"/>
                    </a:lnTo>
                    <a:lnTo>
                      <a:pt x="181" y="230"/>
                    </a:lnTo>
                    <a:lnTo>
                      <a:pt x="226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3" name="Freeform 82"/>
              <p:cNvSpPr>
                <a:spLocks/>
              </p:cNvSpPr>
              <p:nvPr userDrawn="1"/>
            </p:nvSpPr>
            <p:spPr bwMode="auto">
              <a:xfrm>
                <a:off x="4400550" y="6363507"/>
                <a:ext cx="88900" cy="92075"/>
              </a:xfrm>
              <a:custGeom>
                <a:avLst/>
                <a:gdLst>
                  <a:gd name="T0" fmla="*/ 227 w 227"/>
                  <a:gd name="T1" fmla="*/ 230 h 233"/>
                  <a:gd name="T2" fmla="*/ 227 w 227"/>
                  <a:gd name="T3" fmla="*/ 0 h 233"/>
                  <a:gd name="T4" fmla="*/ 178 w 227"/>
                  <a:gd name="T5" fmla="*/ 0 h 233"/>
                  <a:gd name="T6" fmla="*/ 128 w 227"/>
                  <a:gd name="T7" fmla="*/ 111 h 233"/>
                  <a:gd name="T8" fmla="*/ 128 w 227"/>
                  <a:gd name="T9" fmla="*/ 111 h 233"/>
                  <a:gd name="T10" fmla="*/ 113 w 227"/>
                  <a:gd name="T11" fmla="*/ 151 h 233"/>
                  <a:gd name="T12" fmla="*/ 113 w 227"/>
                  <a:gd name="T13" fmla="*/ 151 h 233"/>
                  <a:gd name="T14" fmla="*/ 106 w 227"/>
                  <a:gd name="T15" fmla="*/ 132 h 233"/>
                  <a:gd name="T16" fmla="*/ 98 w 227"/>
                  <a:gd name="T17" fmla="*/ 111 h 233"/>
                  <a:gd name="T18" fmla="*/ 49 w 227"/>
                  <a:gd name="T19" fmla="*/ 0 h 233"/>
                  <a:gd name="T20" fmla="*/ 0 w 227"/>
                  <a:gd name="T21" fmla="*/ 0 h 233"/>
                  <a:gd name="T22" fmla="*/ 0 w 227"/>
                  <a:gd name="T23" fmla="*/ 230 h 233"/>
                  <a:gd name="T24" fmla="*/ 43 w 227"/>
                  <a:gd name="T25" fmla="*/ 230 h 233"/>
                  <a:gd name="T26" fmla="*/ 43 w 227"/>
                  <a:gd name="T27" fmla="*/ 110 h 233"/>
                  <a:gd name="T28" fmla="*/ 43 w 227"/>
                  <a:gd name="T29" fmla="*/ 110 h 233"/>
                  <a:gd name="T30" fmla="*/ 42 w 227"/>
                  <a:gd name="T31" fmla="*/ 69 h 233"/>
                  <a:gd name="T32" fmla="*/ 42 w 227"/>
                  <a:gd name="T33" fmla="*/ 69 h 233"/>
                  <a:gd name="T34" fmla="*/ 48 w 227"/>
                  <a:gd name="T35" fmla="*/ 85 h 233"/>
                  <a:gd name="T36" fmla="*/ 57 w 227"/>
                  <a:gd name="T37" fmla="*/ 106 h 233"/>
                  <a:gd name="T38" fmla="*/ 112 w 227"/>
                  <a:gd name="T39" fmla="*/ 233 h 233"/>
                  <a:gd name="T40" fmla="*/ 167 w 227"/>
                  <a:gd name="T41" fmla="*/ 106 h 233"/>
                  <a:gd name="T42" fmla="*/ 167 w 227"/>
                  <a:gd name="T43" fmla="*/ 106 h 233"/>
                  <a:gd name="T44" fmla="*/ 177 w 227"/>
                  <a:gd name="T45" fmla="*/ 85 h 233"/>
                  <a:gd name="T46" fmla="*/ 183 w 227"/>
                  <a:gd name="T47" fmla="*/ 69 h 233"/>
                  <a:gd name="T48" fmla="*/ 183 w 227"/>
                  <a:gd name="T49" fmla="*/ 69 h 233"/>
                  <a:gd name="T50" fmla="*/ 182 w 227"/>
                  <a:gd name="T51" fmla="*/ 110 h 233"/>
                  <a:gd name="T52" fmla="*/ 182 w 227"/>
                  <a:gd name="T53" fmla="*/ 230 h 233"/>
                  <a:gd name="T54" fmla="*/ 227 w 227"/>
                  <a:gd name="T55" fmla="*/ 23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27" h="233">
                    <a:moveTo>
                      <a:pt x="227" y="230"/>
                    </a:moveTo>
                    <a:lnTo>
                      <a:pt x="227" y="0"/>
                    </a:lnTo>
                    <a:lnTo>
                      <a:pt x="178" y="0"/>
                    </a:lnTo>
                    <a:lnTo>
                      <a:pt x="128" y="111"/>
                    </a:lnTo>
                    <a:lnTo>
                      <a:pt x="128" y="111"/>
                    </a:lnTo>
                    <a:lnTo>
                      <a:pt x="113" y="151"/>
                    </a:lnTo>
                    <a:lnTo>
                      <a:pt x="113" y="151"/>
                    </a:lnTo>
                    <a:lnTo>
                      <a:pt x="106" y="132"/>
                    </a:lnTo>
                    <a:lnTo>
                      <a:pt x="98" y="111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43" y="230"/>
                    </a:lnTo>
                    <a:lnTo>
                      <a:pt x="43" y="110"/>
                    </a:lnTo>
                    <a:lnTo>
                      <a:pt x="43" y="110"/>
                    </a:lnTo>
                    <a:lnTo>
                      <a:pt x="42" y="69"/>
                    </a:lnTo>
                    <a:lnTo>
                      <a:pt x="42" y="69"/>
                    </a:lnTo>
                    <a:lnTo>
                      <a:pt x="48" y="85"/>
                    </a:lnTo>
                    <a:lnTo>
                      <a:pt x="57" y="106"/>
                    </a:lnTo>
                    <a:lnTo>
                      <a:pt x="112" y="233"/>
                    </a:lnTo>
                    <a:lnTo>
                      <a:pt x="167" y="106"/>
                    </a:lnTo>
                    <a:lnTo>
                      <a:pt x="167" y="106"/>
                    </a:lnTo>
                    <a:lnTo>
                      <a:pt x="177" y="85"/>
                    </a:lnTo>
                    <a:lnTo>
                      <a:pt x="183" y="69"/>
                    </a:lnTo>
                    <a:lnTo>
                      <a:pt x="183" y="69"/>
                    </a:lnTo>
                    <a:lnTo>
                      <a:pt x="182" y="110"/>
                    </a:lnTo>
                    <a:lnTo>
                      <a:pt x="182" y="230"/>
                    </a:lnTo>
                    <a:lnTo>
                      <a:pt x="227" y="23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4" name="Freeform 83"/>
              <p:cNvSpPr>
                <a:spLocks/>
              </p:cNvSpPr>
              <p:nvPr userDrawn="1"/>
            </p:nvSpPr>
            <p:spPr bwMode="auto">
              <a:xfrm>
                <a:off x="4513262" y="6363507"/>
                <a:ext cx="74613" cy="90488"/>
              </a:xfrm>
              <a:custGeom>
                <a:avLst/>
                <a:gdLst>
                  <a:gd name="T0" fmla="*/ 0 w 186"/>
                  <a:gd name="T1" fmla="*/ 0 h 230"/>
                  <a:gd name="T2" fmla="*/ 0 w 186"/>
                  <a:gd name="T3" fmla="*/ 230 h 230"/>
                  <a:gd name="T4" fmla="*/ 45 w 186"/>
                  <a:gd name="T5" fmla="*/ 230 h 230"/>
                  <a:gd name="T6" fmla="*/ 124 w 186"/>
                  <a:gd name="T7" fmla="*/ 101 h 230"/>
                  <a:gd name="T8" fmla="*/ 124 w 186"/>
                  <a:gd name="T9" fmla="*/ 101 h 230"/>
                  <a:gd name="T10" fmla="*/ 142 w 186"/>
                  <a:gd name="T11" fmla="*/ 72 h 230"/>
                  <a:gd name="T12" fmla="*/ 142 w 186"/>
                  <a:gd name="T13" fmla="*/ 72 h 230"/>
                  <a:gd name="T14" fmla="*/ 141 w 186"/>
                  <a:gd name="T15" fmla="*/ 120 h 230"/>
                  <a:gd name="T16" fmla="*/ 141 w 186"/>
                  <a:gd name="T17" fmla="*/ 230 h 230"/>
                  <a:gd name="T18" fmla="*/ 186 w 186"/>
                  <a:gd name="T19" fmla="*/ 230 h 230"/>
                  <a:gd name="T20" fmla="*/ 186 w 186"/>
                  <a:gd name="T21" fmla="*/ 0 h 230"/>
                  <a:gd name="T22" fmla="*/ 141 w 186"/>
                  <a:gd name="T23" fmla="*/ 0 h 230"/>
                  <a:gd name="T24" fmla="*/ 62 w 186"/>
                  <a:gd name="T25" fmla="*/ 127 h 230"/>
                  <a:gd name="T26" fmla="*/ 62 w 186"/>
                  <a:gd name="T27" fmla="*/ 127 h 230"/>
                  <a:gd name="T28" fmla="*/ 52 w 186"/>
                  <a:gd name="T29" fmla="*/ 143 h 230"/>
                  <a:gd name="T30" fmla="*/ 44 w 186"/>
                  <a:gd name="T31" fmla="*/ 158 h 230"/>
                  <a:gd name="T32" fmla="*/ 44 w 186"/>
                  <a:gd name="T33" fmla="*/ 158 h 230"/>
                  <a:gd name="T34" fmla="*/ 45 w 186"/>
                  <a:gd name="T35" fmla="*/ 108 h 230"/>
                  <a:gd name="T36" fmla="*/ 45 w 186"/>
                  <a:gd name="T37" fmla="*/ 0 h 230"/>
                  <a:gd name="T38" fmla="*/ 0 w 186"/>
                  <a:gd name="T39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6" h="230">
                    <a:moveTo>
                      <a:pt x="0" y="0"/>
                    </a:moveTo>
                    <a:lnTo>
                      <a:pt x="0" y="230"/>
                    </a:lnTo>
                    <a:lnTo>
                      <a:pt x="45" y="230"/>
                    </a:lnTo>
                    <a:lnTo>
                      <a:pt x="124" y="101"/>
                    </a:lnTo>
                    <a:lnTo>
                      <a:pt x="124" y="101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41" y="120"/>
                    </a:lnTo>
                    <a:lnTo>
                      <a:pt x="141" y="230"/>
                    </a:lnTo>
                    <a:lnTo>
                      <a:pt x="186" y="230"/>
                    </a:lnTo>
                    <a:lnTo>
                      <a:pt x="186" y="0"/>
                    </a:lnTo>
                    <a:lnTo>
                      <a:pt x="141" y="0"/>
                    </a:lnTo>
                    <a:lnTo>
                      <a:pt x="62" y="127"/>
                    </a:lnTo>
                    <a:lnTo>
                      <a:pt x="62" y="127"/>
                    </a:lnTo>
                    <a:lnTo>
                      <a:pt x="52" y="143"/>
                    </a:lnTo>
                    <a:lnTo>
                      <a:pt x="44" y="158"/>
                    </a:lnTo>
                    <a:lnTo>
                      <a:pt x="44" y="158"/>
                    </a:lnTo>
                    <a:lnTo>
                      <a:pt x="45" y="108"/>
                    </a:lnTo>
                    <a:lnTo>
                      <a:pt x="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5" name="Freeform 84"/>
              <p:cNvSpPr>
                <a:spLocks noEditPoints="1"/>
              </p:cNvSpPr>
              <p:nvPr userDrawn="1"/>
            </p:nvSpPr>
            <p:spPr bwMode="auto">
              <a:xfrm>
                <a:off x="4610100" y="6360332"/>
                <a:ext cx="76200" cy="127000"/>
              </a:xfrm>
              <a:custGeom>
                <a:avLst/>
                <a:gdLst>
                  <a:gd name="T0" fmla="*/ 194 w 194"/>
                  <a:gd name="T1" fmla="*/ 123 h 319"/>
                  <a:gd name="T2" fmla="*/ 192 w 194"/>
                  <a:gd name="T3" fmla="*/ 92 h 319"/>
                  <a:gd name="T4" fmla="*/ 187 w 194"/>
                  <a:gd name="T5" fmla="*/ 67 h 319"/>
                  <a:gd name="T6" fmla="*/ 179 w 194"/>
                  <a:gd name="T7" fmla="*/ 45 h 319"/>
                  <a:gd name="T8" fmla="*/ 168 w 194"/>
                  <a:gd name="T9" fmla="*/ 28 h 319"/>
                  <a:gd name="T10" fmla="*/ 155 w 194"/>
                  <a:gd name="T11" fmla="*/ 16 h 319"/>
                  <a:gd name="T12" fmla="*/ 140 w 194"/>
                  <a:gd name="T13" fmla="*/ 7 h 319"/>
                  <a:gd name="T14" fmla="*/ 123 w 194"/>
                  <a:gd name="T15" fmla="*/ 2 h 319"/>
                  <a:gd name="T16" fmla="*/ 105 w 194"/>
                  <a:gd name="T17" fmla="*/ 0 h 319"/>
                  <a:gd name="T18" fmla="*/ 96 w 194"/>
                  <a:gd name="T19" fmla="*/ 0 h 319"/>
                  <a:gd name="T20" fmla="*/ 79 w 194"/>
                  <a:gd name="T21" fmla="*/ 4 h 319"/>
                  <a:gd name="T22" fmla="*/ 65 w 194"/>
                  <a:gd name="T23" fmla="*/ 11 h 319"/>
                  <a:gd name="T24" fmla="*/ 45 w 194"/>
                  <a:gd name="T25" fmla="*/ 26 h 319"/>
                  <a:gd name="T26" fmla="*/ 0 w 194"/>
                  <a:gd name="T27" fmla="*/ 5 h 319"/>
                  <a:gd name="T28" fmla="*/ 45 w 194"/>
                  <a:gd name="T29" fmla="*/ 296 h 319"/>
                  <a:gd name="T30" fmla="*/ 45 w 194"/>
                  <a:gd name="T31" fmla="*/ 213 h 319"/>
                  <a:gd name="T32" fmla="*/ 58 w 194"/>
                  <a:gd name="T33" fmla="*/ 225 h 319"/>
                  <a:gd name="T34" fmla="*/ 72 w 194"/>
                  <a:gd name="T35" fmla="*/ 233 h 319"/>
                  <a:gd name="T36" fmla="*/ 87 w 194"/>
                  <a:gd name="T37" fmla="*/ 238 h 319"/>
                  <a:gd name="T38" fmla="*/ 102 w 194"/>
                  <a:gd name="T39" fmla="*/ 239 h 319"/>
                  <a:gd name="T40" fmla="*/ 111 w 194"/>
                  <a:gd name="T41" fmla="*/ 239 h 319"/>
                  <a:gd name="T42" fmla="*/ 129 w 194"/>
                  <a:gd name="T43" fmla="*/ 235 h 319"/>
                  <a:gd name="T44" fmla="*/ 145 w 194"/>
                  <a:gd name="T45" fmla="*/ 228 h 319"/>
                  <a:gd name="T46" fmla="*/ 160 w 194"/>
                  <a:gd name="T47" fmla="*/ 218 h 319"/>
                  <a:gd name="T48" fmla="*/ 172 w 194"/>
                  <a:gd name="T49" fmla="*/ 203 h 319"/>
                  <a:gd name="T50" fmla="*/ 182 w 194"/>
                  <a:gd name="T51" fmla="*/ 185 h 319"/>
                  <a:gd name="T52" fmla="*/ 189 w 194"/>
                  <a:gd name="T53" fmla="*/ 164 h 319"/>
                  <a:gd name="T54" fmla="*/ 193 w 194"/>
                  <a:gd name="T55" fmla="*/ 137 h 319"/>
                  <a:gd name="T56" fmla="*/ 194 w 194"/>
                  <a:gd name="T57" fmla="*/ 123 h 319"/>
                  <a:gd name="T58" fmla="*/ 149 w 194"/>
                  <a:gd name="T59" fmla="*/ 124 h 319"/>
                  <a:gd name="T60" fmla="*/ 146 w 194"/>
                  <a:gd name="T61" fmla="*/ 157 h 319"/>
                  <a:gd name="T62" fmla="*/ 139 w 194"/>
                  <a:gd name="T63" fmla="*/ 175 h 319"/>
                  <a:gd name="T64" fmla="*/ 133 w 194"/>
                  <a:gd name="T65" fmla="*/ 184 h 319"/>
                  <a:gd name="T66" fmla="*/ 125 w 194"/>
                  <a:gd name="T67" fmla="*/ 191 h 319"/>
                  <a:gd name="T68" fmla="*/ 116 w 194"/>
                  <a:gd name="T69" fmla="*/ 195 h 319"/>
                  <a:gd name="T70" fmla="*/ 104 w 194"/>
                  <a:gd name="T71" fmla="*/ 198 h 319"/>
                  <a:gd name="T72" fmla="*/ 98 w 194"/>
                  <a:gd name="T73" fmla="*/ 198 h 319"/>
                  <a:gd name="T74" fmla="*/ 81 w 194"/>
                  <a:gd name="T75" fmla="*/ 195 h 319"/>
                  <a:gd name="T76" fmla="*/ 66 w 194"/>
                  <a:gd name="T77" fmla="*/ 188 h 319"/>
                  <a:gd name="T78" fmla="*/ 54 w 194"/>
                  <a:gd name="T79" fmla="*/ 178 h 319"/>
                  <a:gd name="T80" fmla="*/ 44 w 194"/>
                  <a:gd name="T81" fmla="*/ 168 h 319"/>
                  <a:gd name="T82" fmla="*/ 44 w 194"/>
                  <a:gd name="T83" fmla="*/ 70 h 319"/>
                  <a:gd name="T84" fmla="*/ 56 w 194"/>
                  <a:gd name="T85" fmla="*/ 58 h 319"/>
                  <a:gd name="T86" fmla="*/ 69 w 194"/>
                  <a:gd name="T87" fmla="*/ 49 h 319"/>
                  <a:gd name="T88" fmla="*/ 82 w 194"/>
                  <a:gd name="T89" fmla="*/ 43 h 319"/>
                  <a:gd name="T90" fmla="*/ 96 w 194"/>
                  <a:gd name="T91" fmla="*/ 41 h 319"/>
                  <a:gd name="T92" fmla="*/ 102 w 194"/>
                  <a:gd name="T93" fmla="*/ 42 h 319"/>
                  <a:gd name="T94" fmla="*/ 113 w 194"/>
                  <a:gd name="T95" fmla="*/ 44 h 319"/>
                  <a:gd name="T96" fmla="*/ 124 w 194"/>
                  <a:gd name="T97" fmla="*/ 49 h 319"/>
                  <a:gd name="T98" fmla="*/ 132 w 194"/>
                  <a:gd name="T99" fmla="*/ 56 h 319"/>
                  <a:gd name="T100" fmla="*/ 138 w 194"/>
                  <a:gd name="T101" fmla="*/ 67 h 319"/>
                  <a:gd name="T102" fmla="*/ 145 w 194"/>
                  <a:gd name="T103" fmla="*/ 87 h 319"/>
                  <a:gd name="T104" fmla="*/ 149 w 194"/>
                  <a:gd name="T105" fmla="*/ 124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4" h="319">
                    <a:moveTo>
                      <a:pt x="194" y="123"/>
                    </a:moveTo>
                    <a:lnTo>
                      <a:pt x="194" y="123"/>
                    </a:lnTo>
                    <a:lnTo>
                      <a:pt x="193" y="107"/>
                    </a:lnTo>
                    <a:lnTo>
                      <a:pt x="192" y="92"/>
                    </a:lnTo>
                    <a:lnTo>
                      <a:pt x="190" y="79"/>
                    </a:lnTo>
                    <a:lnTo>
                      <a:pt x="187" y="67"/>
                    </a:lnTo>
                    <a:lnTo>
                      <a:pt x="183" y="55"/>
                    </a:lnTo>
                    <a:lnTo>
                      <a:pt x="179" y="45"/>
                    </a:lnTo>
                    <a:lnTo>
                      <a:pt x="174" y="36"/>
                    </a:lnTo>
                    <a:lnTo>
                      <a:pt x="168" y="28"/>
                    </a:lnTo>
                    <a:lnTo>
                      <a:pt x="162" y="22"/>
                    </a:lnTo>
                    <a:lnTo>
                      <a:pt x="155" y="16"/>
                    </a:lnTo>
                    <a:lnTo>
                      <a:pt x="148" y="11"/>
                    </a:lnTo>
                    <a:lnTo>
                      <a:pt x="140" y="7"/>
                    </a:lnTo>
                    <a:lnTo>
                      <a:pt x="132" y="4"/>
                    </a:lnTo>
                    <a:lnTo>
                      <a:pt x="123" y="2"/>
                    </a:lnTo>
                    <a:lnTo>
                      <a:pt x="114" y="0"/>
                    </a:lnTo>
                    <a:lnTo>
                      <a:pt x="105" y="0"/>
                    </a:lnTo>
                    <a:lnTo>
                      <a:pt x="105" y="0"/>
                    </a:lnTo>
                    <a:lnTo>
                      <a:pt x="96" y="0"/>
                    </a:lnTo>
                    <a:lnTo>
                      <a:pt x="87" y="2"/>
                    </a:lnTo>
                    <a:lnTo>
                      <a:pt x="79" y="4"/>
                    </a:lnTo>
                    <a:lnTo>
                      <a:pt x="72" y="7"/>
                    </a:lnTo>
                    <a:lnTo>
                      <a:pt x="65" y="11"/>
                    </a:lnTo>
                    <a:lnTo>
                      <a:pt x="58" y="16"/>
                    </a:lnTo>
                    <a:lnTo>
                      <a:pt x="45" y="26"/>
                    </a:lnTo>
                    <a:lnTo>
                      <a:pt x="45" y="5"/>
                    </a:lnTo>
                    <a:lnTo>
                      <a:pt x="0" y="5"/>
                    </a:lnTo>
                    <a:lnTo>
                      <a:pt x="0" y="319"/>
                    </a:lnTo>
                    <a:lnTo>
                      <a:pt x="45" y="296"/>
                    </a:lnTo>
                    <a:lnTo>
                      <a:pt x="45" y="213"/>
                    </a:lnTo>
                    <a:lnTo>
                      <a:pt x="45" y="213"/>
                    </a:lnTo>
                    <a:lnTo>
                      <a:pt x="51" y="219"/>
                    </a:lnTo>
                    <a:lnTo>
                      <a:pt x="58" y="225"/>
                    </a:lnTo>
                    <a:lnTo>
                      <a:pt x="65" y="229"/>
                    </a:lnTo>
                    <a:lnTo>
                      <a:pt x="72" y="233"/>
                    </a:lnTo>
                    <a:lnTo>
                      <a:pt x="80" y="236"/>
                    </a:lnTo>
                    <a:lnTo>
                      <a:pt x="87" y="238"/>
                    </a:lnTo>
                    <a:lnTo>
                      <a:pt x="95" y="239"/>
                    </a:lnTo>
                    <a:lnTo>
                      <a:pt x="102" y="239"/>
                    </a:lnTo>
                    <a:lnTo>
                      <a:pt x="102" y="239"/>
                    </a:lnTo>
                    <a:lnTo>
                      <a:pt x="111" y="239"/>
                    </a:lnTo>
                    <a:lnTo>
                      <a:pt x="121" y="238"/>
                    </a:lnTo>
                    <a:lnTo>
                      <a:pt x="129" y="235"/>
                    </a:lnTo>
                    <a:lnTo>
                      <a:pt x="138" y="232"/>
                    </a:lnTo>
                    <a:lnTo>
                      <a:pt x="145" y="228"/>
                    </a:lnTo>
                    <a:lnTo>
                      <a:pt x="153" y="223"/>
                    </a:lnTo>
                    <a:lnTo>
                      <a:pt x="160" y="218"/>
                    </a:lnTo>
                    <a:lnTo>
                      <a:pt x="166" y="211"/>
                    </a:lnTo>
                    <a:lnTo>
                      <a:pt x="172" y="203"/>
                    </a:lnTo>
                    <a:lnTo>
                      <a:pt x="178" y="195"/>
                    </a:lnTo>
                    <a:lnTo>
                      <a:pt x="182" y="185"/>
                    </a:lnTo>
                    <a:lnTo>
                      <a:pt x="186" y="175"/>
                    </a:lnTo>
                    <a:lnTo>
                      <a:pt x="189" y="164"/>
                    </a:lnTo>
                    <a:lnTo>
                      <a:pt x="192" y="151"/>
                    </a:lnTo>
                    <a:lnTo>
                      <a:pt x="193" y="137"/>
                    </a:lnTo>
                    <a:lnTo>
                      <a:pt x="194" y="123"/>
                    </a:lnTo>
                    <a:lnTo>
                      <a:pt x="194" y="123"/>
                    </a:lnTo>
                    <a:close/>
                    <a:moveTo>
                      <a:pt x="149" y="124"/>
                    </a:moveTo>
                    <a:lnTo>
                      <a:pt x="149" y="124"/>
                    </a:lnTo>
                    <a:lnTo>
                      <a:pt x="148" y="141"/>
                    </a:lnTo>
                    <a:lnTo>
                      <a:pt x="146" y="157"/>
                    </a:lnTo>
                    <a:lnTo>
                      <a:pt x="142" y="169"/>
                    </a:lnTo>
                    <a:lnTo>
                      <a:pt x="139" y="175"/>
                    </a:lnTo>
                    <a:lnTo>
                      <a:pt x="136" y="180"/>
                    </a:lnTo>
                    <a:lnTo>
                      <a:pt x="133" y="184"/>
                    </a:lnTo>
                    <a:lnTo>
                      <a:pt x="129" y="188"/>
                    </a:lnTo>
                    <a:lnTo>
                      <a:pt x="125" y="191"/>
                    </a:lnTo>
                    <a:lnTo>
                      <a:pt x="121" y="193"/>
                    </a:lnTo>
                    <a:lnTo>
                      <a:pt x="116" y="195"/>
                    </a:lnTo>
                    <a:lnTo>
                      <a:pt x="110" y="197"/>
                    </a:lnTo>
                    <a:lnTo>
                      <a:pt x="104" y="198"/>
                    </a:lnTo>
                    <a:lnTo>
                      <a:pt x="98" y="198"/>
                    </a:lnTo>
                    <a:lnTo>
                      <a:pt x="98" y="198"/>
                    </a:lnTo>
                    <a:lnTo>
                      <a:pt x="90" y="197"/>
                    </a:lnTo>
                    <a:lnTo>
                      <a:pt x="81" y="195"/>
                    </a:lnTo>
                    <a:lnTo>
                      <a:pt x="74" y="192"/>
                    </a:lnTo>
                    <a:lnTo>
                      <a:pt x="66" y="188"/>
                    </a:lnTo>
                    <a:lnTo>
                      <a:pt x="60" y="183"/>
                    </a:lnTo>
                    <a:lnTo>
                      <a:pt x="54" y="178"/>
                    </a:lnTo>
                    <a:lnTo>
                      <a:pt x="49" y="173"/>
                    </a:lnTo>
                    <a:lnTo>
                      <a:pt x="44" y="168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0" y="64"/>
                    </a:lnTo>
                    <a:lnTo>
                      <a:pt x="56" y="58"/>
                    </a:lnTo>
                    <a:lnTo>
                      <a:pt x="62" y="53"/>
                    </a:lnTo>
                    <a:lnTo>
                      <a:pt x="69" y="49"/>
                    </a:lnTo>
                    <a:lnTo>
                      <a:pt x="75" y="46"/>
                    </a:lnTo>
                    <a:lnTo>
                      <a:pt x="82" y="43"/>
                    </a:lnTo>
                    <a:lnTo>
                      <a:pt x="89" y="42"/>
                    </a:lnTo>
                    <a:lnTo>
                      <a:pt x="96" y="41"/>
                    </a:lnTo>
                    <a:lnTo>
                      <a:pt x="96" y="41"/>
                    </a:lnTo>
                    <a:lnTo>
                      <a:pt x="102" y="42"/>
                    </a:lnTo>
                    <a:lnTo>
                      <a:pt x="108" y="42"/>
                    </a:lnTo>
                    <a:lnTo>
                      <a:pt x="113" y="44"/>
                    </a:lnTo>
                    <a:lnTo>
                      <a:pt x="119" y="46"/>
                    </a:lnTo>
                    <a:lnTo>
                      <a:pt x="124" y="49"/>
                    </a:lnTo>
                    <a:lnTo>
                      <a:pt x="128" y="52"/>
                    </a:lnTo>
                    <a:lnTo>
                      <a:pt x="132" y="56"/>
                    </a:lnTo>
                    <a:lnTo>
                      <a:pt x="135" y="61"/>
                    </a:lnTo>
                    <a:lnTo>
                      <a:pt x="138" y="67"/>
                    </a:lnTo>
                    <a:lnTo>
                      <a:pt x="141" y="73"/>
                    </a:lnTo>
                    <a:lnTo>
                      <a:pt x="145" y="87"/>
                    </a:lnTo>
                    <a:lnTo>
                      <a:pt x="148" y="104"/>
                    </a:lnTo>
                    <a:lnTo>
                      <a:pt x="149" y="124"/>
                    </a:lnTo>
                    <a:lnTo>
                      <a:pt x="149" y="124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86" name="Freeform 85"/>
              <p:cNvSpPr>
                <a:spLocks/>
              </p:cNvSpPr>
              <p:nvPr userDrawn="1"/>
            </p:nvSpPr>
            <p:spPr bwMode="auto">
              <a:xfrm>
                <a:off x="4705350" y="6428594"/>
                <a:ext cx="26988" cy="26988"/>
              </a:xfrm>
              <a:custGeom>
                <a:avLst/>
                <a:gdLst>
                  <a:gd name="T0" fmla="*/ 68 w 68"/>
                  <a:gd name="T1" fmla="*/ 35 h 69"/>
                  <a:gd name="T2" fmla="*/ 68 w 68"/>
                  <a:gd name="T3" fmla="*/ 35 h 69"/>
                  <a:gd name="T4" fmla="*/ 68 w 68"/>
                  <a:gd name="T5" fmla="*/ 28 h 69"/>
                  <a:gd name="T6" fmla="*/ 66 w 68"/>
                  <a:gd name="T7" fmla="*/ 21 h 69"/>
                  <a:gd name="T8" fmla="*/ 63 w 68"/>
                  <a:gd name="T9" fmla="*/ 15 h 69"/>
                  <a:gd name="T10" fmla="*/ 58 w 68"/>
                  <a:gd name="T11" fmla="*/ 10 h 69"/>
                  <a:gd name="T12" fmla="*/ 53 w 68"/>
                  <a:gd name="T13" fmla="*/ 6 h 69"/>
                  <a:gd name="T14" fmla="*/ 47 w 68"/>
                  <a:gd name="T15" fmla="*/ 3 h 69"/>
                  <a:gd name="T16" fmla="*/ 41 w 68"/>
                  <a:gd name="T17" fmla="*/ 1 h 69"/>
                  <a:gd name="T18" fmla="*/ 34 w 68"/>
                  <a:gd name="T19" fmla="*/ 0 h 69"/>
                  <a:gd name="T20" fmla="*/ 34 w 68"/>
                  <a:gd name="T21" fmla="*/ 0 h 69"/>
                  <a:gd name="T22" fmla="*/ 27 w 68"/>
                  <a:gd name="T23" fmla="*/ 1 h 69"/>
                  <a:gd name="T24" fmla="*/ 20 w 68"/>
                  <a:gd name="T25" fmla="*/ 3 h 69"/>
                  <a:gd name="T26" fmla="*/ 14 w 68"/>
                  <a:gd name="T27" fmla="*/ 6 h 69"/>
                  <a:gd name="T28" fmla="*/ 9 w 68"/>
                  <a:gd name="T29" fmla="*/ 10 h 69"/>
                  <a:gd name="T30" fmla="*/ 5 w 68"/>
                  <a:gd name="T31" fmla="*/ 15 h 69"/>
                  <a:gd name="T32" fmla="*/ 2 w 68"/>
                  <a:gd name="T33" fmla="*/ 21 h 69"/>
                  <a:gd name="T34" fmla="*/ 0 w 68"/>
                  <a:gd name="T35" fmla="*/ 28 h 69"/>
                  <a:gd name="T36" fmla="*/ 0 w 68"/>
                  <a:gd name="T37" fmla="*/ 35 h 69"/>
                  <a:gd name="T38" fmla="*/ 0 w 68"/>
                  <a:gd name="T39" fmla="*/ 35 h 69"/>
                  <a:gd name="T40" fmla="*/ 0 w 68"/>
                  <a:gd name="T41" fmla="*/ 42 h 69"/>
                  <a:gd name="T42" fmla="*/ 2 w 68"/>
                  <a:gd name="T43" fmla="*/ 49 h 69"/>
                  <a:gd name="T44" fmla="*/ 5 w 68"/>
                  <a:gd name="T45" fmla="*/ 54 h 69"/>
                  <a:gd name="T46" fmla="*/ 9 w 68"/>
                  <a:gd name="T47" fmla="*/ 59 h 69"/>
                  <a:gd name="T48" fmla="*/ 14 w 68"/>
                  <a:gd name="T49" fmla="*/ 64 h 69"/>
                  <a:gd name="T50" fmla="*/ 20 w 68"/>
                  <a:gd name="T51" fmla="*/ 67 h 69"/>
                  <a:gd name="T52" fmla="*/ 27 w 68"/>
                  <a:gd name="T53" fmla="*/ 69 h 69"/>
                  <a:gd name="T54" fmla="*/ 34 w 68"/>
                  <a:gd name="T55" fmla="*/ 69 h 69"/>
                  <a:gd name="T56" fmla="*/ 34 w 68"/>
                  <a:gd name="T57" fmla="*/ 69 h 69"/>
                  <a:gd name="T58" fmla="*/ 41 w 68"/>
                  <a:gd name="T59" fmla="*/ 69 h 69"/>
                  <a:gd name="T60" fmla="*/ 47 w 68"/>
                  <a:gd name="T61" fmla="*/ 67 h 69"/>
                  <a:gd name="T62" fmla="*/ 53 w 68"/>
                  <a:gd name="T63" fmla="*/ 64 h 69"/>
                  <a:gd name="T64" fmla="*/ 58 w 68"/>
                  <a:gd name="T65" fmla="*/ 59 h 69"/>
                  <a:gd name="T66" fmla="*/ 63 w 68"/>
                  <a:gd name="T67" fmla="*/ 54 h 69"/>
                  <a:gd name="T68" fmla="*/ 66 w 68"/>
                  <a:gd name="T69" fmla="*/ 49 h 69"/>
                  <a:gd name="T70" fmla="*/ 68 w 68"/>
                  <a:gd name="T71" fmla="*/ 42 h 69"/>
                  <a:gd name="T72" fmla="*/ 68 w 68"/>
                  <a:gd name="T73" fmla="*/ 35 h 69"/>
                  <a:gd name="T74" fmla="*/ 68 w 68"/>
                  <a:gd name="T75" fmla="*/ 3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8" h="69">
                    <a:moveTo>
                      <a:pt x="68" y="35"/>
                    </a:moveTo>
                    <a:lnTo>
                      <a:pt x="68" y="35"/>
                    </a:lnTo>
                    <a:lnTo>
                      <a:pt x="68" y="28"/>
                    </a:lnTo>
                    <a:lnTo>
                      <a:pt x="66" y="21"/>
                    </a:lnTo>
                    <a:lnTo>
                      <a:pt x="63" y="15"/>
                    </a:lnTo>
                    <a:lnTo>
                      <a:pt x="58" y="10"/>
                    </a:lnTo>
                    <a:lnTo>
                      <a:pt x="53" y="6"/>
                    </a:lnTo>
                    <a:lnTo>
                      <a:pt x="47" y="3"/>
                    </a:lnTo>
                    <a:lnTo>
                      <a:pt x="41" y="1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7" y="1"/>
                    </a:lnTo>
                    <a:lnTo>
                      <a:pt x="20" y="3"/>
                    </a:lnTo>
                    <a:lnTo>
                      <a:pt x="14" y="6"/>
                    </a:lnTo>
                    <a:lnTo>
                      <a:pt x="9" y="10"/>
                    </a:lnTo>
                    <a:lnTo>
                      <a:pt x="5" y="15"/>
                    </a:lnTo>
                    <a:lnTo>
                      <a:pt x="2" y="21"/>
                    </a:lnTo>
                    <a:lnTo>
                      <a:pt x="0" y="28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0" y="42"/>
                    </a:lnTo>
                    <a:lnTo>
                      <a:pt x="2" y="49"/>
                    </a:lnTo>
                    <a:lnTo>
                      <a:pt x="5" y="54"/>
                    </a:lnTo>
                    <a:lnTo>
                      <a:pt x="9" y="59"/>
                    </a:lnTo>
                    <a:lnTo>
                      <a:pt x="14" y="64"/>
                    </a:lnTo>
                    <a:lnTo>
                      <a:pt x="20" y="67"/>
                    </a:lnTo>
                    <a:lnTo>
                      <a:pt x="27" y="69"/>
                    </a:lnTo>
                    <a:lnTo>
                      <a:pt x="34" y="69"/>
                    </a:lnTo>
                    <a:lnTo>
                      <a:pt x="34" y="69"/>
                    </a:lnTo>
                    <a:lnTo>
                      <a:pt x="41" y="69"/>
                    </a:lnTo>
                    <a:lnTo>
                      <a:pt x="47" y="67"/>
                    </a:lnTo>
                    <a:lnTo>
                      <a:pt x="53" y="64"/>
                    </a:lnTo>
                    <a:lnTo>
                      <a:pt x="58" y="59"/>
                    </a:lnTo>
                    <a:lnTo>
                      <a:pt x="63" y="54"/>
                    </a:lnTo>
                    <a:lnTo>
                      <a:pt x="66" y="49"/>
                    </a:lnTo>
                    <a:lnTo>
                      <a:pt x="68" y="42"/>
                    </a:lnTo>
                    <a:lnTo>
                      <a:pt x="68" y="35"/>
                    </a:lnTo>
                    <a:lnTo>
                      <a:pt x="68" y="3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21231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0" y="1628775"/>
            <a:ext cx="12198350" cy="4469625"/>
            <a:chOff x="0" y="1628775"/>
            <a:chExt cx="12198350" cy="4469625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3072661" y="1628775"/>
              <a:ext cx="9125689" cy="3318440"/>
            </a:xfrm>
            <a:custGeom>
              <a:avLst/>
              <a:gdLst/>
              <a:ahLst/>
              <a:cxnLst>
                <a:cxn ang="0">
                  <a:pos x="0" y="2464"/>
                </a:cxn>
                <a:cxn ang="0">
                  <a:pos x="6761" y="0"/>
                </a:cxn>
                <a:cxn ang="0">
                  <a:pos x="6761" y="1290"/>
                </a:cxn>
                <a:cxn ang="0">
                  <a:pos x="0" y="2464"/>
                </a:cxn>
              </a:cxnLst>
              <a:rect l="0" t="0" r="r" b="b"/>
              <a:pathLst>
                <a:path w="6761" h="2464">
                  <a:moveTo>
                    <a:pt x="0" y="2464"/>
                  </a:moveTo>
                  <a:lnTo>
                    <a:pt x="6761" y="0"/>
                  </a:lnTo>
                  <a:lnTo>
                    <a:pt x="6761" y="1290"/>
                  </a:lnTo>
                  <a:lnTo>
                    <a:pt x="0" y="246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4291200"/>
              <a:ext cx="3078523" cy="180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081528" y="777600"/>
            <a:ext cx="8509385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081528" y="1731938"/>
            <a:ext cx="6222953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661" y="5751576"/>
            <a:ext cx="1517184" cy="748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045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87483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65512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616">
              <a:defRPr/>
            </a:lvl2pPr>
            <a:lvl3pPr marL="713232">
              <a:defRPr/>
            </a:lvl3pPr>
            <a:lvl4pPr marL="1069848">
              <a:defRPr/>
            </a:lvl4pPr>
            <a:lvl5pPr marL="1426464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151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9335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0405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425575"/>
            <a:ext cx="5387605" cy="470058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425575"/>
            <a:ext cx="5387605" cy="470058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46428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"/>
          </p:nvPr>
        </p:nvSpPr>
        <p:spPr>
          <a:xfrm>
            <a:off x="612648" y="2130551"/>
            <a:ext cx="5393208" cy="399592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 marL="1081088" indent="-357188"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2130551"/>
            <a:ext cx="5393208" cy="399592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2648" y="1427144"/>
            <a:ext cx="5393208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427144"/>
            <a:ext cx="5393208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5879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425600"/>
            <a:ext cx="10978515" cy="47000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802" y="1025526"/>
            <a:ext cx="10978515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5625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8329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0806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reeform 4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tile tx="0" ty="0" sx="100000" sy="100000" flip="none" algn="tl"/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0806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126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93976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80372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ChangeAspect="1"/>
          </p:cNvSpPr>
          <p:nvPr userDrawn="1"/>
        </p:nvSpPr>
        <p:spPr>
          <a:xfrm>
            <a:off x="3853963" y="615950"/>
            <a:ext cx="7735824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151376" y="2240280"/>
            <a:ext cx="722376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151376" y="3218688"/>
            <a:ext cx="72237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8" y="5340096"/>
            <a:ext cx="1515759" cy="11569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/>
          </p:cNvSpPr>
          <p:nvPr userDrawn="1"/>
        </p:nvSpPr>
        <p:spPr bwMode="gray">
          <a:xfrm rot="10800000">
            <a:off x="4370832" y="457200"/>
            <a:ext cx="7221423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809744" y="1737360"/>
            <a:ext cx="640080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809744" y="2724912"/>
            <a:ext cx="640080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8" y="5340096"/>
            <a:ext cx="1515759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1080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48" y="612648"/>
            <a:ext cx="7731674" cy="357530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1005840" y="2240280"/>
            <a:ext cx="6879463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005840" y="3218688"/>
            <a:ext cx="6879463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8" y="5340096"/>
            <a:ext cx="1515759" cy="1156968"/>
          </a:xfrm>
          <a:prstGeom prst="rect">
            <a:avLst/>
          </a:prstGeom>
        </p:spPr>
      </p:pic>
      <p:grpSp>
        <p:nvGrpSpPr>
          <p:cNvPr id="160" name="Group 159"/>
          <p:cNvGrpSpPr/>
          <p:nvPr userDrawn="1"/>
        </p:nvGrpSpPr>
        <p:grpSpPr>
          <a:xfrm>
            <a:off x="601662" y="5892019"/>
            <a:ext cx="4152900" cy="603250"/>
            <a:chOff x="457200" y="5894388"/>
            <a:chExt cx="4152900" cy="603250"/>
          </a:xfrm>
        </p:grpSpPr>
        <p:sp>
          <p:nvSpPr>
            <p:cNvPr id="161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57200" y="5894388"/>
              <a:ext cx="4152900" cy="603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62" name="Rectangle 161"/>
            <p:cNvSpPr>
              <a:spLocks noChangeArrowheads="1"/>
            </p:cNvSpPr>
            <p:nvPr userDrawn="1"/>
          </p:nvSpPr>
          <p:spPr bwMode="auto">
            <a:xfrm>
              <a:off x="465138" y="5894388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63" name="Rectangle 162"/>
            <p:cNvSpPr>
              <a:spLocks noChangeArrowheads="1"/>
            </p:cNvSpPr>
            <p:nvPr userDrawn="1"/>
          </p:nvSpPr>
          <p:spPr bwMode="auto">
            <a:xfrm>
              <a:off x="631825" y="5894388"/>
              <a:ext cx="101600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64" name="Rectangle 163"/>
            <p:cNvSpPr>
              <a:spLocks noChangeArrowheads="1"/>
            </p:cNvSpPr>
            <p:nvPr userDrawn="1"/>
          </p:nvSpPr>
          <p:spPr bwMode="auto">
            <a:xfrm>
              <a:off x="801688" y="5894388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65" name="Freeform 164"/>
            <p:cNvSpPr>
              <a:spLocks/>
            </p:cNvSpPr>
            <p:nvPr userDrawn="1"/>
          </p:nvSpPr>
          <p:spPr bwMode="auto">
            <a:xfrm>
              <a:off x="461963" y="6122988"/>
              <a:ext cx="104775" cy="122238"/>
            </a:xfrm>
            <a:custGeom>
              <a:avLst/>
              <a:gdLst>
                <a:gd name="T0" fmla="*/ 120 w 264"/>
                <a:gd name="T1" fmla="*/ 305 h 305"/>
                <a:gd name="T2" fmla="*/ 264 w 264"/>
                <a:gd name="T3" fmla="*/ 0 h 305"/>
                <a:gd name="T4" fmla="*/ 212 w 264"/>
                <a:gd name="T5" fmla="*/ 0 h 305"/>
                <a:gd name="T6" fmla="*/ 170 w 264"/>
                <a:gd name="T7" fmla="*/ 98 h 305"/>
                <a:gd name="T8" fmla="*/ 170 w 264"/>
                <a:gd name="T9" fmla="*/ 98 h 305"/>
                <a:gd name="T10" fmla="*/ 153 w 264"/>
                <a:gd name="T11" fmla="*/ 136 h 305"/>
                <a:gd name="T12" fmla="*/ 140 w 264"/>
                <a:gd name="T13" fmla="*/ 167 h 305"/>
                <a:gd name="T14" fmla="*/ 140 w 264"/>
                <a:gd name="T15" fmla="*/ 167 h 305"/>
                <a:gd name="T16" fmla="*/ 126 w 264"/>
                <a:gd name="T17" fmla="*/ 135 h 305"/>
                <a:gd name="T18" fmla="*/ 106 w 264"/>
                <a:gd name="T19" fmla="*/ 97 h 305"/>
                <a:gd name="T20" fmla="*/ 56 w 264"/>
                <a:gd name="T21" fmla="*/ 0 h 305"/>
                <a:gd name="T22" fmla="*/ 0 w 264"/>
                <a:gd name="T23" fmla="*/ 0 h 305"/>
                <a:gd name="T24" fmla="*/ 114 w 264"/>
                <a:gd name="T25" fmla="*/ 213 h 305"/>
                <a:gd name="T26" fmla="*/ 68 w 264"/>
                <a:gd name="T27" fmla="*/ 305 h 305"/>
                <a:gd name="T28" fmla="*/ 120 w 264"/>
                <a:gd name="T29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305">
                  <a:moveTo>
                    <a:pt x="120" y="305"/>
                  </a:moveTo>
                  <a:lnTo>
                    <a:pt x="264" y="0"/>
                  </a:lnTo>
                  <a:lnTo>
                    <a:pt x="212" y="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53" y="136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26" y="135"/>
                  </a:lnTo>
                  <a:lnTo>
                    <a:pt x="106" y="97"/>
                  </a:lnTo>
                  <a:lnTo>
                    <a:pt x="56" y="0"/>
                  </a:lnTo>
                  <a:lnTo>
                    <a:pt x="0" y="0"/>
                  </a:lnTo>
                  <a:lnTo>
                    <a:pt x="114" y="213"/>
                  </a:lnTo>
                  <a:lnTo>
                    <a:pt x="68" y="305"/>
                  </a:lnTo>
                  <a:lnTo>
                    <a:pt x="120" y="3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66" name="Freeform 165"/>
            <p:cNvSpPr>
              <a:spLocks noEditPoints="1"/>
            </p:cNvSpPr>
            <p:nvPr userDrawn="1"/>
          </p:nvSpPr>
          <p:spPr bwMode="auto">
            <a:xfrm>
              <a:off x="623888" y="6153151"/>
              <a:ext cx="73025" cy="92075"/>
            </a:xfrm>
            <a:custGeom>
              <a:avLst/>
              <a:gdLst>
                <a:gd name="T0" fmla="*/ 0 w 184"/>
                <a:gd name="T1" fmla="*/ 229 h 229"/>
                <a:gd name="T2" fmla="*/ 106 w 184"/>
                <a:gd name="T3" fmla="*/ 229 h 229"/>
                <a:gd name="T4" fmla="*/ 132 w 184"/>
                <a:gd name="T5" fmla="*/ 227 h 229"/>
                <a:gd name="T6" fmla="*/ 146 w 184"/>
                <a:gd name="T7" fmla="*/ 222 h 229"/>
                <a:gd name="T8" fmla="*/ 159 w 184"/>
                <a:gd name="T9" fmla="*/ 215 h 229"/>
                <a:gd name="T10" fmla="*/ 169 w 184"/>
                <a:gd name="T11" fmla="*/ 207 h 229"/>
                <a:gd name="T12" fmla="*/ 176 w 184"/>
                <a:gd name="T13" fmla="*/ 196 h 229"/>
                <a:gd name="T14" fmla="*/ 182 w 184"/>
                <a:gd name="T15" fmla="*/ 182 h 229"/>
                <a:gd name="T16" fmla="*/ 184 w 184"/>
                <a:gd name="T17" fmla="*/ 167 h 229"/>
                <a:gd name="T18" fmla="*/ 184 w 184"/>
                <a:gd name="T19" fmla="*/ 159 h 229"/>
                <a:gd name="T20" fmla="*/ 181 w 184"/>
                <a:gd name="T21" fmla="*/ 138 h 229"/>
                <a:gd name="T22" fmla="*/ 172 w 184"/>
                <a:gd name="T23" fmla="*/ 122 h 229"/>
                <a:gd name="T24" fmla="*/ 161 w 184"/>
                <a:gd name="T25" fmla="*/ 112 h 229"/>
                <a:gd name="T26" fmla="*/ 147 w 184"/>
                <a:gd name="T27" fmla="*/ 106 h 229"/>
                <a:gd name="T28" fmla="*/ 154 w 184"/>
                <a:gd name="T29" fmla="*/ 102 h 229"/>
                <a:gd name="T30" fmla="*/ 164 w 184"/>
                <a:gd name="T31" fmla="*/ 94 h 229"/>
                <a:gd name="T32" fmla="*/ 172 w 184"/>
                <a:gd name="T33" fmla="*/ 82 h 229"/>
                <a:gd name="T34" fmla="*/ 177 w 184"/>
                <a:gd name="T35" fmla="*/ 68 h 229"/>
                <a:gd name="T36" fmla="*/ 177 w 184"/>
                <a:gd name="T37" fmla="*/ 60 h 229"/>
                <a:gd name="T38" fmla="*/ 176 w 184"/>
                <a:gd name="T39" fmla="*/ 46 h 229"/>
                <a:gd name="T40" fmla="*/ 173 w 184"/>
                <a:gd name="T41" fmla="*/ 34 h 229"/>
                <a:gd name="T42" fmla="*/ 167 w 184"/>
                <a:gd name="T43" fmla="*/ 24 h 229"/>
                <a:gd name="T44" fmla="*/ 159 w 184"/>
                <a:gd name="T45" fmla="*/ 15 h 229"/>
                <a:gd name="T46" fmla="*/ 150 w 184"/>
                <a:gd name="T47" fmla="*/ 9 h 229"/>
                <a:gd name="T48" fmla="*/ 126 w 184"/>
                <a:gd name="T49" fmla="*/ 1 h 229"/>
                <a:gd name="T50" fmla="*/ 0 w 184"/>
                <a:gd name="T51" fmla="*/ 0 h 229"/>
                <a:gd name="T52" fmla="*/ 45 w 184"/>
                <a:gd name="T53" fmla="*/ 37 h 229"/>
                <a:gd name="T54" fmla="*/ 104 w 184"/>
                <a:gd name="T55" fmla="*/ 37 h 229"/>
                <a:gd name="T56" fmla="*/ 117 w 184"/>
                <a:gd name="T57" fmla="*/ 39 h 229"/>
                <a:gd name="T58" fmla="*/ 126 w 184"/>
                <a:gd name="T59" fmla="*/ 45 h 229"/>
                <a:gd name="T60" fmla="*/ 131 w 184"/>
                <a:gd name="T61" fmla="*/ 53 h 229"/>
                <a:gd name="T62" fmla="*/ 133 w 184"/>
                <a:gd name="T63" fmla="*/ 64 h 229"/>
                <a:gd name="T64" fmla="*/ 132 w 184"/>
                <a:gd name="T65" fmla="*/ 69 h 229"/>
                <a:gd name="T66" fmla="*/ 129 w 184"/>
                <a:gd name="T67" fmla="*/ 78 h 229"/>
                <a:gd name="T68" fmla="*/ 122 w 184"/>
                <a:gd name="T69" fmla="*/ 85 h 229"/>
                <a:gd name="T70" fmla="*/ 111 w 184"/>
                <a:gd name="T71" fmla="*/ 89 h 229"/>
                <a:gd name="T72" fmla="*/ 45 w 184"/>
                <a:gd name="T73" fmla="*/ 90 h 229"/>
                <a:gd name="T74" fmla="*/ 45 w 184"/>
                <a:gd name="T75" fmla="*/ 127 h 229"/>
                <a:gd name="T76" fmla="*/ 105 w 184"/>
                <a:gd name="T77" fmla="*/ 127 h 229"/>
                <a:gd name="T78" fmla="*/ 120 w 184"/>
                <a:gd name="T79" fmla="*/ 129 h 229"/>
                <a:gd name="T80" fmla="*/ 130 w 184"/>
                <a:gd name="T81" fmla="*/ 136 h 229"/>
                <a:gd name="T82" fmla="*/ 137 w 184"/>
                <a:gd name="T83" fmla="*/ 146 h 229"/>
                <a:gd name="T84" fmla="*/ 140 w 184"/>
                <a:gd name="T85" fmla="*/ 160 h 229"/>
                <a:gd name="T86" fmla="*/ 139 w 184"/>
                <a:gd name="T87" fmla="*/ 167 h 229"/>
                <a:gd name="T88" fmla="*/ 135 w 184"/>
                <a:gd name="T89" fmla="*/ 178 h 229"/>
                <a:gd name="T90" fmla="*/ 127 w 184"/>
                <a:gd name="T91" fmla="*/ 187 h 229"/>
                <a:gd name="T92" fmla="*/ 113 w 184"/>
                <a:gd name="T93" fmla="*/ 191 h 229"/>
                <a:gd name="T94" fmla="*/ 45 w 184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4" h="229">
                  <a:moveTo>
                    <a:pt x="0" y="0"/>
                  </a:move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24" y="228"/>
                  </a:lnTo>
                  <a:lnTo>
                    <a:pt x="132" y="227"/>
                  </a:lnTo>
                  <a:lnTo>
                    <a:pt x="139" y="225"/>
                  </a:lnTo>
                  <a:lnTo>
                    <a:pt x="146" y="222"/>
                  </a:lnTo>
                  <a:lnTo>
                    <a:pt x="153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6" y="196"/>
                  </a:lnTo>
                  <a:lnTo>
                    <a:pt x="179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4" y="159"/>
                  </a:lnTo>
                  <a:lnTo>
                    <a:pt x="184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7" y="129"/>
                  </a:lnTo>
                  <a:lnTo>
                    <a:pt x="172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4" y="108"/>
                  </a:lnTo>
                  <a:lnTo>
                    <a:pt x="147" y="106"/>
                  </a:lnTo>
                  <a:lnTo>
                    <a:pt x="147" y="106"/>
                  </a:lnTo>
                  <a:lnTo>
                    <a:pt x="154" y="102"/>
                  </a:lnTo>
                  <a:lnTo>
                    <a:pt x="159" y="98"/>
                  </a:lnTo>
                  <a:lnTo>
                    <a:pt x="164" y="94"/>
                  </a:lnTo>
                  <a:lnTo>
                    <a:pt x="169" y="88"/>
                  </a:lnTo>
                  <a:lnTo>
                    <a:pt x="172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7" y="60"/>
                  </a:lnTo>
                  <a:lnTo>
                    <a:pt x="177" y="60"/>
                  </a:lnTo>
                  <a:lnTo>
                    <a:pt x="177" y="53"/>
                  </a:lnTo>
                  <a:lnTo>
                    <a:pt x="176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0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59" y="15"/>
                  </a:lnTo>
                  <a:lnTo>
                    <a:pt x="155" y="12"/>
                  </a:lnTo>
                  <a:lnTo>
                    <a:pt x="150" y="9"/>
                  </a:lnTo>
                  <a:lnTo>
                    <a:pt x="139" y="4"/>
                  </a:lnTo>
                  <a:lnTo>
                    <a:pt x="126" y="1"/>
                  </a:lnTo>
                  <a:lnTo>
                    <a:pt x="112" y="0"/>
                  </a:lnTo>
                  <a:lnTo>
                    <a:pt x="0" y="0"/>
                  </a:lnTo>
                  <a:close/>
                  <a:moveTo>
                    <a:pt x="45" y="90"/>
                  </a:moveTo>
                  <a:lnTo>
                    <a:pt x="45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1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6" y="45"/>
                  </a:lnTo>
                  <a:lnTo>
                    <a:pt x="129" y="49"/>
                  </a:lnTo>
                  <a:lnTo>
                    <a:pt x="131" y="53"/>
                  </a:lnTo>
                  <a:lnTo>
                    <a:pt x="132" y="58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9"/>
                  </a:lnTo>
                  <a:lnTo>
                    <a:pt x="131" y="74"/>
                  </a:lnTo>
                  <a:lnTo>
                    <a:pt x="129" y="78"/>
                  </a:lnTo>
                  <a:lnTo>
                    <a:pt x="126" y="82"/>
                  </a:lnTo>
                  <a:lnTo>
                    <a:pt x="122" y="85"/>
                  </a:lnTo>
                  <a:lnTo>
                    <a:pt x="117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5" y="90"/>
                  </a:lnTo>
                  <a:close/>
                  <a:moveTo>
                    <a:pt x="45" y="192"/>
                  </a:moveTo>
                  <a:lnTo>
                    <a:pt x="45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13" y="128"/>
                  </a:lnTo>
                  <a:lnTo>
                    <a:pt x="120" y="129"/>
                  </a:lnTo>
                  <a:lnTo>
                    <a:pt x="125" y="132"/>
                  </a:lnTo>
                  <a:lnTo>
                    <a:pt x="130" y="136"/>
                  </a:lnTo>
                  <a:lnTo>
                    <a:pt x="134" y="141"/>
                  </a:lnTo>
                  <a:lnTo>
                    <a:pt x="137" y="146"/>
                  </a:lnTo>
                  <a:lnTo>
                    <a:pt x="139" y="153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9" y="167"/>
                  </a:lnTo>
                  <a:lnTo>
                    <a:pt x="138" y="173"/>
                  </a:lnTo>
                  <a:lnTo>
                    <a:pt x="135" y="178"/>
                  </a:lnTo>
                  <a:lnTo>
                    <a:pt x="131" y="183"/>
                  </a:lnTo>
                  <a:lnTo>
                    <a:pt x="127" y="187"/>
                  </a:lnTo>
                  <a:lnTo>
                    <a:pt x="120" y="190"/>
                  </a:lnTo>
                  <a:lnTo>
                    <a:pt x="113" y="191"/>
                  </a:lnTo>
                  <a:lnTo>
                    <a:pt x="104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67" name="Freeform 166"/>
            <p:cNvSpPr>
              <a:spLocks noEditPoints="1"/>
            </p:cNvSpPr>
            <p:nvPr userDrawn="1"/>
          </p:nvSpPr>
          <p:spPr bwMode="auto">
            <a:xfrm>
              <a:off x="711200" y="6151563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6 w 187"/>
                <a:gd name="T3" fmla="*/ 68 h 239"/>
                <a:gd name="T4" fmla="*/ 183 w 187"/>
                <a:gd name="T5" fmla="*/ 51 h 239"/>
                <a:gd name="T6" fmla="*/ 177 w 187"/>
                <a:gd name="T7" fmla="*/ 36 h 239"/>
                <a:gd name="T8" fmla="*/ 168 w 187"/>
                <a:gd name="T9" fmla="*/ 24 h 239"/>
                <a:gd name="T10" fmla="*/ 157 w 187"/>
                <a:gd name="T11" fmla="*/ 15 h 239"/>
                <a:gd name="T12" fmla="*/ 143 w 187"/>
                <a:gd name="T13" fmla="*/ 8 h 239"/>
                <a:gd name="T14" fmla="*/ 128 w 187"/>
                <a:gd name="T15" fmla="*/ 3 h 239"/>
                <a:gd name="T16" fmla="*/ 110 w 187"/>
                <a:gd name="T17" fmla="*/ 1 h 239"/>
                <a:gd name="T18" fmla="*/ 100 w 187"/>
                <a:gd name="T19" fmla="*/ 0 h 239"/>
                <a:gd name="T20" fmla="*/ 77 w 187"/>
                <a:gd name="T21" fmla="*/ 2 h 239"/>
                <a:gd name="T22" fmla="*/ 57 w 187"/>
                <a:gd name="T23" fmla="*/ 6 h 239"/>
                <a:gd name="T24" fmla="*/ 38 w 187"/>
                <a:gd name="T25" fmla="*/ 12 h 239"/>
                <a:gd name="T26" fmla="*/ 21 w 187"/>
                <a:gd name="T27" fmla="*/ 21 h 239"/>
                <a:gd name="T28" fmla="*/ 39 w 187"/>
                <a:gd name="T29" fmla="*/ 55 h 239"/>
                <a:gd name="T30" fmla="*/ 67 w 187"/>
                <a:gd name="T31" fmla="*/ 44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2 w 187"/>
                <a:gd name="T41" fmla="*/ 70 h 239"/>
                <a:gd name="T42" fmla="*/ 143 w 187"/>
                <a:gd name="T43" fmla="*/ 96 h 239"/>
                <a:gd name="T44" fmla="*/ 134 w 187"/>
                <a:gd name="T45" fmla="*/ 93 h 239"/>
                <a:gd name="T46" fmla="*/ 107 w 187"/>
                <a:gd name="T47" fmla="*/ 88 h 239"/>
                <a:gd name="T48" fmla="*/ 91 w 187"/>
                <a:gd name="T49" fmla="*/ 88 h 239"/>
                <a:gd name="T50" fmla="*/ 63 w 187"/>
                <a:gd name="T51" fmla="*/ 90 h 239"/>
                <a:gd name="T52" fmla="*/ 47 w 187"/>
                <a:gd name="T53" fmla="*/ 94 h 239"/>
                <a:gd name="T54" fmla="*/ 32 w 187"/>
                <a:gd name="T55" fmla="*/ 101 h 239"/>
                <a:gd name="T56" fmla="*/ 20 w 187"/>
                <a:gd name="T57" fmla="*/ 110 h 239"/>
                <a:gd name="T58" fmla="*/ 10 w 187"/>
                <a:gd name="T59" fmla="*/ 122 h 239"/>
                <a:gd name="T60" fmla="*/ 4 w 187"/>
                <a:gd name="T61" fmla="*/ 136 h 239"/>
                <a:gd name="T62" fmla="*/ 0 w 187"/>
                <a:gd name="T63" fmla="*/ 152 h 239"/>
                <a:gd name="T64" fmla="*/ 0 w 187"/>
                <a:gd name="T65" fmla="*/ 162 h 239"/>
                <a:gd name="T66" fmla="*/ 1 w 187"/>
                <a:gd name="T67" fmla="*/ 181 h 239"/>
                <a:gd name="T68" fmla="*/ 7 w 187"/>
                <a:gd name="T69" fmla="*/ 197 h 239"/>
                <a:gd name="T70" fmla="*/ 15 w 187"/>
                <a:gd name="T71" fmla="*/ 211 h 239"/>
                <a:gd name="T72" fmla="*/ 25 w 187"/>
                <a:gd name="T73" fmla="*/ 221 h 239"/>
                <a:gd name="T74" fmla="*/ 38 w 187"/>
                <a:gd name="T75" fmla="*/ 229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8 h 239"/>
                <a:gd name="T82" fmla="*/ 109 w 187"/>
                <a:gd name="T83" fmla="*/ 234 h 239"/>
                <a:gd name="T84" fmla="*/ 116 w 187"/>
                <a:gd name="T85" fmla="*/ 231 h 239"/>
                <a:gd name="T86" fmla="*/ 135 w 187"/>
                <a:gd name="T87" fmla="*/ 218 h 239"/>
                <a:gd name="T88" fmla="*/ 143 w 187"/>
                <a:gd name="T89" fmla="*/ 234 h 239"/>
                <a:gd name="T90" fmla="*/ 143 w 187"/>
                <a:gd name="T91" fmla="*/ 169 h 239"/>
                <a:gd name="T92" fmla="*/ 138 w 187"/>
                <a:gd name="T93" fmla="*/ 174 h 239"/>
                <a:gd name="T94" fmla="*/ 127 w 187"/>
                <a:gd name="T95" fmla="*/ 185 h 239"/>
                <a:gd name="T96" fmla="*/ 113 w 187"/>
                <a:gd name="T97" fmla="*/ 193 h 239"/>
                <a:gd name="T98" fmla="*/ 95 w 187"/>
                <a:gd name="T99" fmla="*/ 198 h 239"/>
                <a:gd name="T100" fmla="*/ 86 w 187"/>
                <a:gd name="T101" fmla="*/ 198 h 239"/>
                <a:gd name="T102" fmla="*/ 68 w 187"/>
                <a:gd name="T103" fmla="*/ 196 h 239"/>
                <a:gd name="T104" fmla="*/ 55 w 187"/>
                <a:gd name="T105" fmla="*/ 189 h 239"/>
                <a:gd name="T106" fmla="*/ 50 w 187"/>
                <a:gd name="T107" fmla="*/ 184 h 239"/>
                <a:gd name="T108" fmla="*/ 43 w 187"/>
                <a:gd name="T109" fmla="*/ 170 h 239"/>
                <a:gd name="T110" fmla="*/ 42 w 187"/>
                <a:gd name="T111" fmla="*/ 160 h 239"/>
                <a:gd name="T112" fmla="*/ 46 w 187"/>
                <a:gd name="T113" fmla="*/ 146 h 239"/>
                <a:gd name="T114" fmla="*/ 55 w 187"/>
                <a:gd name="T115" fmla="*/ 136 h 239"/>
                <a:gd name="T116" fmla="*/ 70 w 187"/>
                <a:gd name="T117" fmla="*/ 129 h 239"/>
                <a:gd name="T118" fmla="*/ 89 w 187"/>
                <a:gd name="T119" fmla="*/ 126 h 239"/>
                <a:gd name="T120" fmla="*/ 106 w 187"/>
                <a:gd name="T121" fmla="*/ 127 h 239"/>
                <a:gd name="T122" fmla="*/ 120 w 187"/>
                <a:gd name="T123" fmla="*/ 129 h 239"/>
                <a:gd name="T124" fmla="*/ 143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4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6" y="68"/>
                  </a:lnTo>
                  <a:lnTo>
                    <a:pt x="185" y="59"/>
                  </a:lnTo>
                  <a:lnTo>
                    <a:pt x="183" y="51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30"/>
                  </a:lnTo>
                  <a:lnTo>
                    <a:pt x="168" y="24"/>
                  </a:lnTo>
                  <a:lnTo>
                    <a:pt x="163" y="19"/>
                  </a:lnTo>
                  <a:lnTo>
                    <a:pt x="157" y="15"/>
                  </a:lnTo>
                  <a:lnTo>
                    <a:pt x="150" y="11"/>
                  </a:lnTo>
                  <a:lnTo>
                    <a:pt x="143" y="8"/>
                  </a:lnTo>
                  <a:lnTo>
                    <a:pt x="136" y="5"/>
                  </a:lnTo>
                  <a:lnTo>
                    <a:pt x="128" y="3"/>
                  </a:lnTo>
                  <a:lnTo>
                    <a:pt x="119" y="2"/>
                  </a:lnTo>
                  <a:lnTo>
                    <a:pt x="110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1"/>
                  </a:lnTo>
                  <a:lnTo>
                    <a:pt x="77" y="2"/>
                  </a:lnTo>
                  <a:lnTo>
                    <a:pt x="67" y="3"/>
                  </a:lnTo>
                  <a:lnTo>
                    <a:pt x="57" y="6"/>
                  </a:lnTo>
                  <a:lnTo>
                    <a:pt x="47" y="8"/>
                  </a:lnTo>
                  <a:lnTo>
                    <a:pt x="38" y="12"/>
                  </a:lnTo>
                  <a:lnTo>
                    <a:pt x="30" y="16"/>
                  </a:lnTo>
                  <a:lnTo>
                    <a:pt x="21" y="21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52" y="48"/>
                  </a:lnTo>
                  <a:lnTo>
                    <a:pt x="67" y="44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2" y="51"/>
                  </a:lnTo>
                  <a:lnTo>
                    <a:pt x="136" y="56"/>
                  </a:lnTo>
                  <a:lnTo>
                    <a:pt x="140" y="63"/>
                  </a:lnTo>
                  <a:lnTo>
                    <a:pt x="142" y="70"/>
                  </a:lnTo>
                  <a:lnTo>
                    <a:pt x="143" y="79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34" y="93"/>
                  </a:lnTo>
                  <a:lnTo>
                    <a:pt x="122" y="90"/>
                  </a:lnTo>
                  <a:lnTo>
                    <a:pt x="107" y="88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72" y="89"/>
                  </a:lnTo>
                  <a:lnTo>
                    <a:pt x="63" y="90"/>
                  </a:lnTo>
                  <a:lnTo>
                    <a:pt x="55" y="92"/>
                  </a:lnTo>
                  <a:lnTo>
                    <a:pt x="47" y="94"/>
                  </a:lnTo>
                  <a:lnTo>
                    <a:pt x="39" y="98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6"/>
                  </a:lnTo>
                  <a:lnTo>
                    <a:pt x="10" y="122"/>
                  </a:lnTo>
                  <a:lnTo>
                    <a:pt x="7" y="129"/>
                  </a:lnTo>
                  <a:lnTo>
                    <a:pt x="4" y="136"/>
                  </a:lnTo>
                  <a:lnTo>
                    <a:pt x="1" y="144"/>
                  </a:lnTo>
                  <a:lnTo>
                    <a:pt x="0" y="152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1" y="181"/>
                  </a:lnTo>
                  <a:lnTo>
                    <a:pt x="4" y="190"/>
                  </a:lnTo>
                  <a:lnTo>
                    <a:pt x="7" y="197"/>
                  </a:lnTo>
                  <a:lnTo>
                    <a:pt x="11" y="204"/>
                  </a:lnTo>
                  <a:lnTo>
                    <a:pt x="15" y="211"/>
                  </a:lnTo>
                  <a:lnTo>
                    <a:pt x="20" y="216"/>
                  </a:lnTo>
                  <a:lnTo>
                    <a:pt x="25" y="221"/>
                  </a:lnTo>
                  <a:lnTo>
                    <a:pt x="31" y="226"/>
                  </a:lnTo>
                  <a:lnTo>
                    <a:pt x="38" y="229"/>
                  </a:lnTo>
                  <a:lnTo>
                    <a:pt x="44" y="232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8"/>
                  </a:lnTo>
                  <a:lnTo>
                    <a:pt x="100" y="236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3"/>
                  </a:lnTo>
                  <a:lnTo>
                    <a:pt x="135" y="218"/>
                  </a:lnTo>
                  <a:lnTo>
                    <a:pt x="143" y="211"/>
                  </a:lnTo>
                  <a:lnTo>
                    <a:pt x="143" y="234"/>
                  </a:lnTo>
                  <a:lnTo>
                    <a:pt x="187" y="234"/>
                  </a:lnTo>
                  <a:close/>
                  <a:moveTo>
                    <a:pt x="143" y="169"/>
                  </a:moveTo>
                  <a:lnTo>
                    <a:pt x="143" y="169"/>
                  </a:lnTo>
                  <a:lnTo>
                    <a:pt x="138" y="174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89"/>
                  </a:lnTo>
                  <a:lnTo>
                    <a:pt x="113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3"/>
                  </a:lnTo>
                  <a:lnTo>
                    <a:pt x="55" y="189"/>
                  </a:lnTo>
                  <a:lnTo>
                    <a:pt x="55" y="189"/>
                  </a:lnTo>
                  <a:lnTo>
                    <a:pt x="50" y="184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6"/>
                  </a:lnTo>
                  <a:lnTo>
                    <a:pt x="62" y="132"/>
                  </a:lnTo>
                  <a:lnTo>
                    <a:pt x="70" y="129"/>
                  </a:lnTo>
                  <a:lnTo>
                    <a:pt x="79" y="127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7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31" y="132"/>
                  </a:lnTo>
                  <a:lnTo>
                    <a:pt x="143" y="136"/>
                  </a:lnTo>
                  <a:lnTo>
                    <a:pt x="143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68" name="Freeform 167"/>
            <p:cNvSpPr>
              <a:spLocks/>
            </p:cNvSpPr>
            <p:nvPr userDrawn="1"/>
          </p:nvSpPr>
          <p:spPr bwMode="auto">
            <a:xfrm>
              <a:off x="803275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5 w 181"/>
                <a:gd name="T3" fmla="*/ 22 h 239"/>
                <a:gd name="T4" fmla="*/ 146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5 w 181"/>
                <a:gd name="T23" fmla="*/ 81 h 239"/>
                <a:gd name="T24" fmla="*/ 1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8 w 181"/>
                <a:gd name="T31" fmla="*/ 169 h 239"/>
                <a:gd name="T32" fmla="*/ 17 w 181"/>
                <a:gd name="T33" fmla="*/ 189 h 239"/>
                <a:gd name="T34" fmla="*/ 29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9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40 w 181"/>
                <a:gd name="T55" fmla="*/ 180 h 239"/>
                <a:gd name="T56" fmla="*/ 128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4 h 239"/>
                <a:gd name="T82" fmla="*/ 68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7 w 181"/>
                <a:gd name="T91" fmla="*/ 43 h 239"/>
                <a:gd name="T92" fmla="*/ 121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6"/>
                  </a:lnTo>
                  <a:lnTo>
                    <a:pt x="146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5"/>
                  </a:lnTo>
                  <a:lnTo>
                    <a:pt x="139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0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0"/>
                  </a:lnTo>
                  <a:lnTo>
                    <a:pt x="72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60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5"/>
                  </a:lnTo>
                  <a:lnTo>
                    <a:pt x="121" y="47"/>
                  </a:lnTo>
                  <a:lnTo>
                    <a:pt x="128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69" name="Freeform 168"/>
            <p:cNvSpPr>
              <a:spLocks noEditPoints="1"/>
            </p:cNvSpPr>
            <p:nvPr userDrawn="1"/>
          </p:nvSpPr>
          <p:spPr bwMode="auto">
            <a:xfrm>
              <a:off x="933450" y="6151563"/>
              <a:ext cx="77788" cy="95250"/>
            </a:xfrm>
            <a:custGeom>
              <a:avLst/>
              <a:gdLst>
                <a:gd name="T0" fmla="*/ 197 w 197"/>
                <a:gd name="T1" fmla="*/ 115 h 239"/>
                <a:gd name="T2" fmla="*/ 196 w 197"/>
                <a:gd name="T3" fmla="*/ 92 h 239"/>
                <a:gd name="T4" fmla="*/ 192 w 197"/>
                <a:gd name="T5" fmla="*/ 71 h 239"/>
                <a:gd name="T6" fmla="*/ 184 w 197"/>
                <a:gd name="T7" fmla="*/ 52 h 239"/>
                <a:gd name="T8" fmla="*/ 174 w 197"/>
                <a:gd name="T9" fmla="*/ 34 h 239"/>
                <a:gd name="T10" fmla="*/ 160 w 197"/>
                <a:gd name="T11" fmla="*/ 20 h 239"/>
                <a:gd name="T12" fmla="*/ 144 w 197"/>
                <a:gd name="T13" fmla="*/ 10 h 239"/>
                <a:gd name="T14" fmla="*/ 124 w 197"/>
                <a:gd name="T15" fmla="*/ 3 h 239"/>
                <a:gd name="T16" fmla="*/ 101 w 197"/>
                <a:gd name="T17" fmla="*/ 0 h 239"/>
                <a:gd name="T18" fmla="*/ 90 w 197"/>
                <a:gd name="T19" fmla="*/ 1 h 239"/>
                <a:gd name="T20" fmla="*/ 70 w 197"/>
                <a:gd name="T21" fmla="*/ 5 h 239"/>
                <a:gd name="T22" fmla="*/ 52 w 197"/>
                <a:gd name="T23" fmla="*/ 12 h 239"/>
                <a:gd name="T24" fmla="*/ 35 w 197"/>
                <a:gd name="T25" fmla="*/ 24 h 239"/>
                <a:gd name="T26" fmla="*/ 21 w 197"/>
                <a:gd name="T27" fmla="*/ 39 h 239"/>
                <a:gd name="T28" fmla="*/ 11 w 197"/>
                <a:gd name="T29" fmla="*/ 58 h 239"/>
                <a:gd name="T30" fmla="*/ 4 w 197"/>
                <a:gd name="T31" fmla="*/ 80 h 239"/>
                <a:gd name="T32" fmla="*/ 0 w 197"/>
                <a:gd name="T33" fmla="*/ 106 h 239"/>
                <a:gd name="T34" fmla="*/ 0 w 197"/>
                <a:gd name="T35" fmla="*/ 120 h 239"/>
                <a:gd name="T36" fmla="*/ 2 w 197"/>
                <a:gd name="T37" fmla="*/ 148 h 239"/>
                <a:gd name="T38" fmla="*/ 9 w 197"/>
                <a:gd name="T39" fmla="*/ 172 h 239"/>
                <a:gd name="T40" fmla="*/ 18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2 w 197"/>
                <a:gd name="T47" fmla="*/ 226 h 239"/>
                <a:gd name="T48" fmla="*/ 69 w 197"/>
                <a:gd name="T49" fmla="*/ 234 h 239"/>
                <a:gd name="T50" fmla="*/ 89 w 197"/>
                <a:gd name="T51" fmla="*/ 238 h 239"/>
                <a:gd name="T52" fmla="*/ 100 w 197"/>
                <a:gd name="T53" fmla="*/ 239 h 239"/>
                <a:gd name="T54" fmla="*/ 125 w 197"/>
                <a:gd name="T55" fmla="*/ 237 h 239"/>
                <a:gd name="T56" fmla="*/ 146 w 197"/>
                <a:gd name="T57" fmla="*/ 231 h 239"/>
                <a:gd name="T58" fmla="*/ 154 w 197"/>
                <a:gd name="T59" fmla="*/ 227 h 239"/>
                <a:gd name="T60" fmla="*/ 170 w 197"/>
                <a:gd name="T61" fmla="*/ 216 h 239"/>
                <a:gd name="T62" fmla="*/ 152 w 197"/>
                <a:gd name="T63" fmla="*/ 180 h 239"/>
                <a:gd name="T64" fmla="*/ 140 w 197"/>
                <a:gd name="T65" fmla="*/ 188 h 239"/>
                <a:gd name="T66" fmla="*/ 129 w 197"/>
                <a:gd name="T67" fmla="*/ 193 h 239"/>
                <a:gd name="T68" fmla="*/ 117 w 197"/>
                <a:gd name="T69" fmla="*/ 197 h 239"/>
                <a:gd name="T70" fmla="*/ 102 w 197"/>
                <a:gd name="T71" fmla="*/ 198 h 239"/>
                <a:gd name="T72" fmla="*/ 92 w 197"/>
                <a:gd name="T73" fmla="*/ 197 h 239"/>
                <a:gd name="T74" fmla="*/ 73 w 197"/>
                <a:gd name="T75" fmla="*/ 190 h 239"/>
                <a:gd name="T76" fmla="*/ 58 w 197"/>
                <a:gd name="T77" fmla="*/ 175 h 239"/>
                <a:gd name="T78" fmla="*/ 48 w 197"/>
                <a:gd name="T79" fmla="*/ 151 h 239"/>
                <a:gd name="T80" fmla="*/ 196 w 197"/>
                <a:gd name="T81" fmla="*/ 136 h 239"/>
                <a:gd name="T82" fmla="*/ 197 w 197"/>
                <a:gd name="T83" fmla="*/ 127 h 239"/>
                <a:gd name="T84" fmla="*/ 197 w 197"/>
                <a:gd name="T85" fmla="*/ 115 h 239"/>
                <a:gd name="T86" fmla="*/ 45 w 197"/>
                <a:gd name="T87" fmla="*/ 98 h 239"/>
                <a:gd name="T88" fmla="*/ 51 w 197"/>
                <a:gd name="T89" fmla="*/ 74 h 239"/>
                <a:gd name="T90" fmla="*/ 62 w 197"/>
                <a:gd name="T91" fmla="*/ 56 h 239"/>
                <a:gd name="T92" fmla="*/ 77 w 197"/>
                <a:gd name="T93" fmla="*/ 45 h 239"/>
                <a:gd name="T94" fmla="*/ 98 w 197"/>
                <a:gd name="T95" fmla="*/ 41 h 239"/>
                <a:gd name="T96" fmla="*/ 105 w 197"/>
                <a:gd name="T97" fmla="*/ 41 h 239"/>
                <a:gd name="T98" fmla="*/ 117 w 197"/>
                <a:gd name="T99" fmla="*/ 44 h 239"/>
                <a:gd name="T100" fmla="*/ 127 w 197"/>
                <a:gd name="T101" fmla="*/ 48 h 239"/>
                <a:gd name="T102" fmla="*/ 138 w 197"/>
                <a:gd name="T103" fmla="*/ 58 h 239"/>
                <a:gd name="T104" fmla="*/ 148 w 197"/>
                <a:gd name="T105" fmla="*/ 76 h 239"/>
                <a:gd name="T106" fmla="*/ 152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5"/>
                  </a:moveTo>
                  <a:lnTo>
                    <a:pt x="197" y="115"/>
                  </a:lnTo>
                  <a:lnTo>
                    <a:pt x="197" y="104"/>
                  </a:lnTo>
                  <a:lnTo>
                    <a:pt x="196" y="92"/>
                  </a:lnTo>
                  <a:lnTo>
                    <a:pt x="194" y="81"/>
                  </a:lnTo>
                  <a:lnTo>
                    <a:pt x="192" y="71"/>
                  </a:lnTo>
                  <a:lnTo>
                    <a:pt x="188" y="61"/>
                  </a:lnTo>
                  <a:lnTo>
                    <a:pt x="184" y="52"/>
                  </a:lnTo>
                  <a:lnTo>
                    <a:pt x="179" y="43"/>
                  </a:lnTo>
                  <a:lnTo>
                    <a:pt x="174" y="34"/>
                  </a:lnTo>
                  <a:lnTo>
                    <a:pt x="167" y="27"/>
                  </a:lnTo>
                  <a:lnTo>
                    <a:pt x="160" y="20"/>
                  </a:lnTo>
                  <a:lnTo>
                    <a:pt x="152" y="14"/>
                  </a:lnTo>
                  <a:lnTo>
                    <a:pt x="144" y="10"/>
                  </a:lnTo>
                  <a:lnTo>
                    <a:pt x="134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0" y="8"/>
                  </a:lnTo>
                  <a:lnTo>
                    <a:pt x="52" y="12"/>
                  </a:lnTo>
                  <a:lnTo>
                    <a:pt x="42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1" y="39"/>
                  </a:lnTo>
                  <a:lnTo>
                    <a:pt x="16" y="48"/>
                  </a:lnTo>
                  <a:lnTo>
                    <a:pt x="11" y="58"/>
                  </a:lnTo>
                  <a:lnTo>
                    <a:pt x="7" y="68"/>
                  </a:lnTo>
                  <a:lnTo>
                    <a:pt x="4" y="80"/>
                  </a:lnTo>
                  <a:lnTo>
                    <a:pt x="2" y="92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4"/>
                  </a:lnTo>
                  <a:lnTo>
                    <a:pt x="2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3" y="183"/>
                  </a:lnTo>
                  <a:lnTo>
                    <a:pt x="18" y="193"/>
                  </a:lnTo>
                  <a:lnTo>
                    <a:pt x="24" y="201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0"/>
                  </a:lnTo>
                  <a:lnTo>
                    <a:pt x="52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6"/>
                  </a:lnTo>
                  <a:lnTo>
                    <a:pt x="89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3" y="238"/>
                  </a:lnTo>
                  <a:lnTo>
                    <a:pt x="125" y="237"/>
                  </a:lnTo>
                  <a:lnTo>
                    <a:pt x="136" y="234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6"/>
                  </a:lnTo>
                  <a:lnTo>
                    <a:pt x="179" y="209"/>
                  </a:lnTo>
                  <a:lnTo>
                    <a:pt x="152" y="180"/>
                  </a:lnTo>
                  <a:lnTo>
                    <a:pt x="152" y="180"/>
                  </a:lnTo>
                  <a:lnTo>
                    <a:pt x="140" y="188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3" y="195"/>
                  </a:lnTo>
                  <a:lnTo>
                    <a:pt x="117" y="197"/>
                  </a:lnTo>
                  <a:lnTo>
                    <a:pt x="110" y="198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92" y="197"/>
                  </a:lnTo>
                  <a:lnTo>
                    <a:pt x="82" y="195"/>
                  </a:lnTo>
                  <a:lnTo>
                    <a:pt x="73" y="190"/>
                  </a:lnTo>
                  <a:lnTo>
                    <a:pt x="65" y="183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8" y="151"/>
                  </a:lnTo>
                  <a:lnTo>
                    <a:pt x="44" y="136"/>
                  </a:lnTo>
                  <a:lnTo>
                    <a:pt x="196" y="136"/>
                  </a:lnTo>
                  <a:lnTo>
                    <a:pt x="196" y="136"/>
                  </a:lnTo>
                  <a:lnTo>
                    <a:pt x="197" y="127"/>
                  </a:lnTo>
                  <a:lnTo>
                    <a:pt x="197" y="115"/>
                  </a:lnTo>
                  <a:lnTo>
                    <a:pt x="197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8" y="85"/>
                  </a:lnTo>
                  <a:lnTo>
                    <a:pt x="51" y="74"/>
                  </a:lnTo>
                  <a:lnTo>
                    <a:pt x="56" y="64"/>
                  </a:lnTo>
                  <a:lnTo>
                    <a:pt x="62" y="56"/>
                  </a:lnTo>
                  <a:lnTo>
                    <a:pt x="69" y="49"/>
                  </a:lnTo>
                  <a:lnTo>
                    <a:pt x="77" y="45"/>
                  </a:lnTo>
                  <a:lnTo>
                    <a:pt x="87" y="42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105" y="41"/>
                  </a:lnTo>
                  <a:lnTo>
                    <a:pt x="111" y="42"/>
                  </a:lnTo>
                  <a:lnTo>
                    <a:pt x="117" y="44"/>
                  </a:lnTo>
                  <a:lnTo>
                    <a:pt x="122" y="45"/>
                  </a:lnTo>
                  <a:lnTo>
                    <a:pt x="127" y="48"/>
                  </a:lnTo>
                  <a:lnTo>
                    <a:pt x="131" y="51"/>
                  </a:lnTo>
                  <a:lnTo>
                    <a:pt x="138" y="58"/>
                  </a:lnTo>
                  <a:lnTo>
                    <a:pt x="144" y="66"/>
                  </a:lnTo>
                  <a:lnTo>
                    <a:pt x="148" y="76"/>
                  </a:lnTo>
                  <a:lnTo>
                    <a:pt x="151" y="87"/>
                  </a:lnTo>
                  <a:lnTo>
                    <a:pt x="152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0" name="Freeform 169"/>
            <p:cNvSpPr>
              <a:spLocks/>
            </p:cNvSpPr>
            <p:nvPr userDrawn="1"/>
          </p:nvSpPr>
          <p:spPr bwMode="auto">
            <a:xfrm>
              <a:off x="1025525" y="6151563"/>
              <a:ext cx="73025" cy="95250"/>
            </a:xfrm>
            <a:custGeom>
              <a:avLst/>
              <a:gdLst>
                <a:gd name="T0" fmla="*/ 181 w 181"/>
                <a:gd name="T1" fmla="*/ 39 h 239"/>
                <a:gd name="T2" fmla="*/ 165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5 w 181"/>
                <a:gd name="T23" fmla="*/ 81 h 239"/>
                <a:gd name="T24" fmla="*/ 1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8 w 181"/>
                <a:gd name="T31" fmla="*/ 169 h 239"/>
                <a:gd name="T32" fmla="*/ 17 w 181"/>
                <a:gd name="T33" fmla="*/ 189 h 239"/>
                <a:gd name="T34" fmla="*/ 29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40 w 181"/>
                <a:gd name="T55" fmla="*/ 180 h 239"/>
                <a:gd name="T56" fmla="*/ 128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4 h 239"/>
                <a:gd name="T82" fmla="*/ 68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7 w 181"/>
                <a:gd name="T91" fmla="*/ 43 h 239"/>
                <a:gd name="T92" fmla="*/ 121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0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0"/>
                  </a:lnTo>
                  <a:lnTo>
                    <a:pt x="72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60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5"/>
                  </a:lnTo>
                  <a:lnTo>
                    <a:pt x="121" y="47"/>
                  </a:lnTo>
                  <a:lnTo>
                    <a:pt x="128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1" name="Freeform 170"/>
            <p:cNvSpPr>
              <a:spLocks/>
            </p:cNvSpPr>
            <p:nvPr userDrawn="1"/>
          </p:nvSpPr>
          <p:spPr bwMode="auto">
            <a:xfrm>
              <a:off x="1108075" y="6153151"/>
              <a:ext cx="73025" cy="92075"/>
            </a:xfrm>
            <a:custGeom>
              <a:avLst/>
              <a:gdLst>
                <a:gd name="T0" fmla="*/ 185 w 185"/>
                <a:gd name="T1" fmla="*/ 39 h 229"/>
                <a:gd name="T2" fmla="*/ 185 w 185"/>
                <a:gd name="T3" fmla="*/ 0 h 229"/>
                <a:gd name="T4" fmla="*/ 0 w 185"/>
                <a:gd name="T5" fmla="*/ 0 h 229"/>
                <a:gd name="T6" fmla="*/ 0 w 185"/>
                <a:gd name="T7" fmla="*/ 39 h 229"/>
                <a:gd name="T8" fmla="*/ 70 w 185"/>
                <a:gd name="T9" fmla="*/ 39 h 229"/>
                <a:gd name="T10" fmla="*/ 70 w 185"/>
                <a:gd name="T11" fmla="*/ 229 h 229"/>
                <a:gd name="T12" fmla="*/ 116 w 185"/>
                <a:gd name="T13" fmla="*/ 229 h 229"/>
                <a:gd name="T14" fmla="*/ 116 w 185"/>
                <a:gd name="T15" fmla="*/ 39 h 229"/>
                <a:gd name="T16" fmla="*/ 185 w 185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185" y="39"/>
                  </a:moveTo>
                  <a:lnTo>
                    <a:pt x="185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229"/>
                  </a:lnTo>
                  <a:lnTo>
                    <a:pt x="116" y="229"/>
                  </a:lnTo>
                  <a:lnTo>
                    <a:pt x="116" y="39"/>
                  </a:lnTo>
                  <a:lnTo>
                    <a:pt x="185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2" name="Freeform 171"/>
            <p:cNvSpPr>
              <a:spLocks noEditPoints="1"/>
            </p:cNvSpPr>
            <p:nvPr userDrawn="1"/>
          </p:nvSpPr>
          <p:spPr bwMode="auto">
            <a:xfrm>
              <a:off x="1193800" y="6153151"/>
              <a:ext cx="74613" cy="92075"/>
            </a:xfrm>
            <a:custGeom>
              <a:avLst/>
              <a:gdLst>
                <a:gd name="T0" fmla="*/ 44 w 184"/>
                <a:gd name="T1" fmla="*/ 0 h 229"/>
                <a:gd name="T2" fmla="*/ 0 w 184"/>
                <a:gd name="T3" fmla="*/ 0 h 229"/>
                <a:gd name="T4" fmla="*/ 0 w 184"/>
                <a:gd name="T5" fmla="*/ 229 h 229"/>
                <a:gd name="T6" fmla="*/ 105 w 184"/>
                <a:gd name="T7" fmla="*/ 229 h 229"/>
                <a:gd name="T8" fmla="*/ 105 w 184"/>
                <a:gd name="T9" fmla="*/ 229 h 229"/>
                <a:gd name="T10" fmla="*/ 114 w 184"/>
                <a:gd name="T11" fmla="*/ 229 h 229"/>
                <a:gd name="T12" fmla="*/ 122 w 184"/>
                <a:gd name="T13" fmla="*/ 228 h 229"/>
                <a:gd name="T14" fmla="*/ 129 w 184"/>
                <a:gd name="T15" fmla="*/ 226 h 229"/>
                <a:gd name="T16" fmla="*/ 137 w 184"/>
                <a:gd name="T17" fmla="*/ 224 h 229"/>
                <a:gd name="T18" fmla="*/ 144 w 184"/>
                <a:gd name="T19" fmla="*/ 222 h 229"/>
                <a:gd name="T20" fmla="*/ 150 w 184"/>
                <a:gd name="T21" fmla="*/ 218 h 229"/>
                <a:gd name="T22" fmla="*/ 156 w 184"/>
                <a:gd name="T23" fmla="*/ 214 h 229"/>
                <a:gd name="T24" fmla="*/ 162 w 184"/>
                <a:gd name="T25" fmla="*/ 210 h 229"/>
                <a:gd name="T26" fmla="*/ 167 w 184"/>
                <a:gd name="T27" fmla="*/ 205 h 229"/>
                <a:gd name="T28" fmla="*/ 171 w 184"/>
                <a:gd name="T29" fmla="*/ 200 h 229"/>
                <a:gd name="T30" fmla="*/ 175 w 184"/>
                <a:gd name="T31" fmla="*/ 193 h 229"/>
                <a:gd name="T32" fmla="*/ 178 w 184"/>
                <a:gd name="T33" fmla="*/ 187 h 229"/>
                <a:gd name="T34" fmla="*/ 180 w 184"/>
                <a:gd name="T35" fmla="*/ 180 h 229"/>
                <a:gd name="T36" fmla="*/ 182 w 184"/>
                <a:gd name="T37" fmla="*/ 172 h 229"/>
                <a:gd name="T38" fmla="*/ 183 w 184"/>
                <a:gd name="T39" fmla="*/ 163 h 229"/>
                <a:gd name="T40" fmla="*/ 184 w 184"/>
                <a:gd name="T41" fmla="*/ 154 h 229"/>
                <a:gd name="T42" fmla="*/ 184 w 184"/>
                <a:gd name="T43" fmla="*/ 154 h 229"/>
                <a:gd name="T44" fmla="*/ 183 w 184"/>
                <a:gd name="T45" fmla="*/ 146 h 229"/>
                <a:gd name="T46" fmla="*/ 182 w 184"/>
                <a:gd name="T47" fmla="*/ 137 h 229"/>
                <a:gd name="T48" fmla="*/ 180 w 184"/>
                <a:gd name="T49" fmla="*/ 130 h 229"/>
                <a:gd name="T50" fmla="*/ 178 w 184"/>
                <a:gd name="T51" fmla="*/ 122 h 229"/>
                <a:gd name="T52" fmla="*/ 175 w 184"/>
                <a:gd name="T53" fmla="*/ 116 h 229"/>
                <a:gd name="T54" fmla="*/ 171 w 184"/>
                <a:gd name="T55" fmla="*/ 110 h 229"/>
                <a:gd name="T56" fmla="*/ 167 w 184"/>
                <a:gd name="T57" fmla="*/ 104 h 229"/>
                <a:gd name="T58" fmla="*/ 162 w 184"/>
                <a:gd name="T59" fmla="*/ 99 h 229"/>
                <a:gd name="T60" fmla="*/ 157 w 184"/>
                <a:gd name="T61" fmla="*/ 95 h 229"/>
                <a:gd name="T62" fmla="*/ 151 w 184"/>
                <a:gd name="T63" fmla="*/ 91 h 229"/>
                <a:gd name="T64" fmla="*/ 145 w 184"/>
                <a:gd name="T65" fmla="*/ 88 h 229"/>
                <a:gd name="T66" fmla="*/ 138 w 184"/>
                <a:gd name="T67" fmla="*/ 85 h 229"/>
                <a:gd name="T68" fmla="*/ 131 w 184"/>
                <a:gd name="T69" fmla="*/ 83 h 229"/>
                <a:gd name="T70" fmla="*/ 123 w 184"/>
                <a:gd name="T71" fmla="*/ 82 h 229"/>
                <a:gd name="T72" fmla="*/ 116 w 184"/>
                <a:gd name="T73" fmla="*/ 81 h 229"/>
                <a:gd name="T74" fmla="*/ 108 w 184"/>
                <a:gd name="T75" fmla="*/ 81 h 229"/>
                <a:gd name="T76" fmla="*/ 44 w 184"/>
                <a:gd name="T77" fmla="*/ 81 h 229"/>
                <a:gd name="T78" fmla="*/ 44 w 184"/>
                <a:gd name="T79" fmla="*/ 0 h 229"/>
                <a:gd name="T80" fmla="*/ 44 w 184"/>
                <a:gd name="T81" fmla="*/ 192 h 229"/>
                <a:gd name="T82" fmla="*/ 44 w 184"/>
                <a:gd name="T83" fmla="*/ 118 h 229"/>
                <a:gd name="T84" fmla="*/ 102 w 184"/>
                <a:gd name="T85" fmla="*/ 118 h 229"/>
                <a:gd name="T86" fmla="*/ 102 w 184"/>
                <a:gd name="T87" fmla="*/ 118 h 229"/>
                <a:gd name="T88" fmla="*/ 110 w 184"/>
                <a:gd name="T89" fmla="*/ 118 h 229"/>
                <a:gd name="T90" fmla="*/ 117 w 184"/>
                <a:gd name="T91" fmla="*/ 120 h 229"/>
                <a:gd name="T92" fmla="*/ 123 w 184"/>
                <a:gd name="T93" fmla="*/ 123 h 229"/>
                <a:gd name="T94" fmla="*/ 129 w 184"/>
                <a:gd name="T95" fmla="*/ 127 h 229"/>
                <a:gd name="T96" fmla="*/ 133 w 184"/>
                <a:gd name="T97" fmla="*/ 133 h 229"/>
                <a:gd name="T98" fmla="*/ 136 w 184"/>
                <a:gd name="T99" fmla="*/ 139 h 229"/>
                <a:gd name="T100" fmla="*/ 138 w 184"/>
                <a:gd name="T101" fmla="*/ 146 h 229"/>
                <a:gd name="T102" fmla="*/ 139 w 184"/>
                <a:gd name="T103" fmla="*/ 155 h 229"/>
                <a:gd name="T104" fmla="*/ 139 w 184"/>
                <a:gd name="T105" fmla="*/ 155 h 229"/>
                <a:gd name="T106" fmla="*/ 138 w 184"/>
                <a:gd name="T107" fmla="*/ 163 h 229"/>
                <a:gd name="T108" fmla="*/ 136 w 184"/>
                <a:gd name="T109" fmla="*/ 170 h 229"/>
                <a:gd name="T110" fmla="*/ 133 w 184"/>
                <a:gd name="T111" fmla="*/ 177 h 229"/>
                <a:gd name="T112" fmla="*/ 129 w 184"/>
                <a:gd name="T113" fmla="*/ 182 h 229"/>
                <a:gd name="T114" fmla="*/ 124 w 184"/>
                <a:gd name="T115" fmla="*/ 186 h 229"/>
                <a:gd name="T116" fmla="*/ 118 w 184"/>
                <a:gd name="T117" fmla="*/ 189 h 229"/>
                <a:gd name="T118" fmla="*/ 110 w 184"/>
                <a:gd name="T119" fmla="*/ 191 h 229"/>
                <a:gd name="T120" fmla="*/ 102 w 184"/>
                <a:gd name="T121" fmla="*/ 192 h 229"/>
                <a:gd name="T122" fmla="*/ 44 w 184"/>
                <a:gd name="T123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4" h="229">
                  <a:moveTo>
                    <a:pt x="44" y="0"/>
                  </a:moveTo>
                  <a:lnTo>
                    <a:pt x="0" y="0"/>
                  </a:lnTo>
                  <a:lnTo>
                    <a:pt x="0" y="229"/>
                  </a:lnTo>
                  <a:lnTo>
                    <a:pt x="105" y="229"/>
                  </a:lnTo>
                  <a:lnTo>
                    <a:pt x="105" y="229"/>
                  </a:lnTo>
                  <a:lnTo>
                    <a:pt x="114" y="229"/>
                  </a:lnTo>
                  <a:lnTo>
                    <a:pt x="122" y="228"/>
                  </a:lnTo>
                  <a:lnTo>
                    <a:pt x="129" y="226"/>
                  </a:lnTo>
                  <a:lnTo>
                    <a:pt x="137" y="224"/>
                  </a:lnTo>
                  <a:lnTo>
                    <a:pt x="144" y="222"/>
                  </a:lnTo>
                  <a:lnTo>
                    <a:pt x="150" y="218"/>
                  </a:lnTo>
                  <a:lnTo>
                    <a:pt x="156" y="214"/>
                  </a:lnTo>
                  <a:lnTo>
                    <a:pt x="162" y="210"/>
                  </a:lnTo>
                  <a:lnTo>
                    <a:pt x="167" y="205"/>
                  </a:lnTo>
                  <a:lnTo>
                    <a:pt x="171" y="200"/>
                  </a:lnTo>
                  <a:lnTo>
                    <a:pt x="175" y="193"/>
                  </a:lnTo>
                  <a:lnTo>
                    <a:pt x="178" y="187"/>
                  </a:lnTo>
                  <a:lnTo>
                    <a:pt x="180" y="180"/>
                  </a:lnTo>
                  <a:lnTo>
                    <a:pt x="182" y="172"/>
                  </a:lnTo>
                  <a:lnTo>
                    <a:pt x="183" y="163"/>
                  </a:lnTo>
                  <a:lnTo>
                    <a:pt x="184" y="154"/>
                  </a:lnTo>
                  <a:lnTo>
                    <a:pt x="184" y="154"/>
                  </a:lnTo>
                  <a:lnTo>
                    <a:pt x="183" y="146"/>
                  </a:lnTo>
                  <a:lnTo>
                    <a:pt x="182" y="137"/>
                  </a:lnTo>
                  <a:lnTo>
                    <a:pt x="180" y="130"/>
                  </a:lnTo>
                  <a:lnTo>
                    <a:pt x="178" y="122"/>
                  </a:lnTo>
                  <a:lnTo>
                    <a:pt x="175" y="116"/>
                  </a:lnTo>
                  <a:lnTo>
                    <a:pt x="171" y="110"/>
                  </a:lnTo>
                  <a:lnTo>
                    <a:pt x="167" y="104"/>
                  </a:lnTo>
                  <a:lnTo>
                    <a:pt x="162" y="99"/>
                  </a:lnTo>
                  <a:lnTo>
                    <a:pt x="157" y="95"/>
                  </a:lnTo>
                  <a:lnTo>
                    <a:pt x="151" y="91"/>
                  </a:lnTo>
                  <a:lnTo>
                    <a:pt x="145" y="88"/>
                  </a:lnTo>
                  <a:lnTo>
                    <a:pt x="138" y="85"/>
                  </a:lnTo>
                  <a:lnTo>
                    <a:pt x="131" y="83"/>
                  </a:lnTo>
                  <a:lnTo>
                    <a:pt x="123" y="82"/>
                  </a:lnTo>
                  <a:lnTo>
                    <a:pt x="116" y="81"/>
                  </a:lnTo>
                  <a:lnTo>
                    <a:pt x="108" y="81"/>
                  </a:lnTo>
                  <a:lnTo>
                    <a:pt x="44" y="81"/>
                  </a:lnTo>
                  <a:lnTo>
                    <a:pt x="44" y="0"/>
                  </a:lnTo>
                  <a:close/>
                  <a:moveTo>
                    <a:pt x="44" y="192"/>
                  </a:moveTo>
                  <a:lnTo>
                    <a:pt x="44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10" y="118"/>
                  </a:lnTo>
                  <a:lnTo>
                    <a:pt x="117" y="120"/>
                  </a:lnTo>
                  <a:lnTo>
                    <a:pt x="123" y="123"/>
                  </a:lnTo>
                  <a:lnTo>
                    <a:pt x="129" y="127"/>
                  </a:lnTo>
                  <a:lnTo>
                    <a:pt x="133" y="133"/>
                  </a:lnTo>
                  <a:lnTo>
                    <a:pt x="136" y="139"/>
                  </a:lnTo>
                  <a:lnTo>
                    <a:pt x="138" y="146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8" y="163"/>
                  </a:lnTo>
                  <a:lnTo>
                    <a:pt x="136" y="170"/>
                  </a:lnTo>
                  <a:lnTo>
                    <a:pt x="133" y="177"/>
                  </a:lnTo>
                  <a:lnTo>
                    <a:pt x="129" y="182"/>
                  </a:lnTo>
                  <a:lnTo>
                    <a:pt x="124" y="186"/>
                  </a:lnTo>
                  <a:lnTo>
                    <a:pt x="118" y="189"/>
                  </a:lnTo>
                  <a:lnTo>
                    <a:pt x="110" y="191"/>
                  </a:lnTo>
                  <a:lnTo>
                    <a:pt x="102" y="192"/>
                  </a:lnTo>
                  <a:lnTo>
                    <a:pt x="44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3" name="Freeform 172"/>
            <p:cNvSpPr>
              <a:spLocks noEditPoints="1"/>
            </p:cNvSpPr>
            <p:nvPr userDrawn="1"/>
          </p:nvSpPr>
          <p:spPr bwMode="auto">
            <a:xfrm>
              <a:off x="1330325" y="6153151"/>
              <a:ext cx="73025" cy="92075"/>
            </a:xfrm>
            <a:custGeom>
              <a:avLst/>
              <a:gdLst>
                <a:gd name="T0" fmla="*/ 0 w 185"/>
                <a:gd name="T1" fmla="*/ 229 h 229"/>
                <a:gd name="T2" fmla="*/ 106 w 185"/>
                <a:gd name="T3" fmla="*/ 229 h 229"/>
                <a:gd name="T4" fmla="*/ 132 w 185"/>
                <a:gd name="T5" fmla="*/ 227 h 229"/>
                <a:gd name="T6" fmla="*/ 147 w 185"/>
                <a:gd name="T7" fmla="*/ 222 h 229"/>
                <a:gd name="T8" fmla="*/ 159 w 185"/>
                <a:gd name="T9" fmla="*/ 215 h 229"/>
                <a:gd name="T10" fmla="*/ 169 w 185"/>
                <a:gd name="T11" fmla="*/ 207 h 229"/>
                <a:gd name="T12" fmla="*/ 177 w 185"/>
                <a:gd name="T13" fmla="*/ 196 h 229"/>
                <a:gd name="T14" fmla="*/ 182 w 185"/>
                <a:gd name="T15" fmla="*/ 182 h 229"/>
                <a:gd name="T16" fmla="*/ 184 w 185"/>
                <a:gd name="T17" fmla="*/ 167 h 229"/>
                <a:gd name="T18" fmla="*/ 185 w 185"/>
                <a:gd name="T19" fmla="*/ 159 h 229"/>
                <a:gd name="T20" fmla="*/ 181 w 185"/>
                <a:gd name="T21" fmla="*/ 138 h 229"/>
                <a:gd name="T22" fmla="*/ 173 w 185"/>
                <a:gd name="T23" fmla="*/ 122 h 229"/>
                <a:gd name="T24" fmla="*/ 161 w 185"/>
                <a:gd name="T25" fmla="*/ 112 h 229"/>
                <a:gd name="T26" fmla="*/ 148 w 185"/>
                <a:gd name="T27" fmla="*/ 106 h 229"/>
                <a:gd name="T28" fmla="*/ 154 w 185"/>
                <a:gd name="T29" fmla="*/ 102 h 229"/>
                <a:gd name="T30" fmla="*/ 165 w 185"/>
                <a:gd name="T31" fmla="*/ 94 h 229"/>
                <a:gd name="T32" fmla="*/ 173 w 185"/>
                <a:gd name="T33" fmla="*/ 82 h 229"/>
                <a:gd name="T34" fmla="*/ 177 w 185"/>
                <a:gd name="T35" fmla="*/ 68 h 229"/>
                <a:gd name="T36" fmla="*/ 178 w 185"/>
                <a:gd name="T37" fmla="*/ 60 h 229"/>
                <a:gd name="T38" fmla="*/ 176 w 185"/>
                <a:gd name="T39" fmla="*/ 46 h 229"/>
                <a:gd name="T40" fmla="*/ 173 w 185"/>
                <a:gd name="T41" fmla="*/ 34 h 229"/>
                <a:gd name="T42" fmla="*/ 167 w 185"/>
                <a:gd name="T43" fmla="*/ 24 h 229"/>
                <a:gd name="T44" fmla="*/ 160 w 185"/>
                <a:gd name="T45" fmla="*/ 15 h 229"/>
                <a:gd name="T46" fmla="*/ 150 w 185"/>
                <a:gd name="T47" fmla="*/ 9 h 229"/>
                <a:gd name="T48" fmla="*/ 126 w 185"/>
                <a:gd name="T49" fmla="*/ 1 h 229"/>
                <a:gd name="T50" fmla="*/ 0 w 185"/>
                <a:gd name="T51" fmla="*/ 0 h 229"/>
                <a:gd name="T52" fmla="*/ 45 w 185"/>
                <a:gd name="T53" fmla="*/ 37 h 229"/>
                <a:gd name="T54" fmla="*/ 104 w 185"/>
                <a:gd name="T55" fmla="*/ 37 h 229"/>
                <a:gd name="T56" fmla="*/ 117 w 185"/>
                <a:gd name="T57" fmla="*/ 39 h 229"/>
                <a:gd name="T58" fmla="*/ 126 w 185"/>
                <a:gd name="T59" fmla="*/ 45 h 229"/>
                <a:gd name="T60" fmla="*/ 131 w 185"/>
                <a:gd name="T61" fmla="*/ 53 h 229"/>
                <a:gd name="T62" fmla="*/ 133 w 185"/>
                <a:gd name="T63" fmla="*/ 64 h 229"/>
                <a:gd name="T64" fmla="*/ 132 w 185"/>
                <a:gd name="T65" fmla="*/ 69 h 229"/>
                <a:gd name="T66" fmla="*/ 129 w 185"/>
                <a:gd name="T67" fmla="*/ 78 h 229"/>
                <a:gd name="T68" fmla="*/ 122 w 185"/>
                <a:gd name="T69" fmla="*/ 85 h 229"/>
                <a:gd name="T70" fmla="*/ 111 w 185"/>
                <a:gd name="T71" fmla="*/ 89 h 229"/>
                <a:gd name="T72" fmla="*/ 45 w 185"/>
                <a:gd name="T73" fmla="*/ 90 h 229"/>
                <a:gd name="T74" fmla="*/ 45 w 185"/>
                <a:gd name="T75" fmla="*/ 127 h 229"/>
                <a:gd name="T76" fmla="*/ 105 w 185"/>
                <a:gd name="T77" fmla="*/ 127 h 229"/>
                <a:gd name="T78" fmla="*/ 120 w 185"/>
                <a:gd name="T79" fmla="*/ 129 h 229"/>
                <a:gd name="T80" fmla="*/ 131 w 185"/>
                <a:gd name="T81" fmla="*/ 136 h 229"/>
                <a:gd name="T82" fmla="*/ 137 w 185"/>
                <a:gd name="T83" fmla="*/ 146 h 229"/>
                <a:gd name="T84" fmla="*/ 140 w 185"/>
                <a:gd name="T85" fmla="*/ 160 h 229"/>
                <a:gd name="T86" fmla="*/ 139 w 185"/>
                <a:gd name="T87" fmla="*/ 167 h 229"/>
                <a:gd name="T88" fmla="*/ 135 w 185"/>
                <a:gd name="T89" fmla="*/ 178 h 229"/>
                <a:gd name="T90" fmla="*/ 127 w 185"/>
                <a:gd name="T91" fmla="*/ 187 h 229"/>
                <a:gd name="T92" fmla="*/ 113 w 185"/>
                <a:gd name="T93" fmla="*/ 191 h 229"/>
                <a:gd name="T94" fmla="*/ 45 w 185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24" y="228"/>
                  </a:lnTo>
                  <a:lnTo>
                    <a:pt x="132" y="227"/>
                  </a:lnTo>
                  <a:lnTo>
                    <a:pt x="140" y="225"/>
                  </a:lnTo>
                  <a:lnTo>
                    <a:pt x="147" y="222"/>
                  </a:lnTo>
                  <a:lnTo>
                    <a:pt x="153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7" y="196"/>
                  </a:lnTo>
                  <a:lnTo>
                    <a:pt x="179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8" y="129"/>
                  </a:lnTo>
                  <a:lnTo>
                    <a:pt x="173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4" y="108"/>
                  </a:lnTo>
                  <a:lnTo>
                    <a:pt x="148" y="106"/>
                  </a:lnTo>
                  <a:lnTo>
                    <a:pt x="148" y="106"/>
                  </a:lnTo>
                  <a:lnTo>
                    <a:pt x="154" y="102"/>
                  </a:lnTo>
                  <a:lnTo>
                    <a:pt x="159" y="98"/>
                  </a:lnTo>
                  <a:lnTo>
                    <a:pt x="165" y="94"/>
                  </a:lnTo>
                  <a:lnTo>
                    <a:pt x="169" y="88"/>
                  </a:lnTo>
                  <a:lnTo>
                    <a:pt x="173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7" y="53"/>
                  </a:lnTo>
                  <a:lnTo>
                    <a:pt x="176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0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60" y="15"/>
                  </a:lnTo>
                  <a:lnTo>
                    <a:pt x="155" y="12"/>
                  </a:lnTo>
                  <a:lnTo>
                    <a:pt x="150" y="9"/>
                  </a:lnTo>
                  <a:lnTo>
                    <a:pt x="139" y="4"/>
                  </a:lnTo>
                  <a:lnTo>
                    <a:pt x="126" y="1"/>
                  </a:lnTo>
                  <a:lnTo>
                    <a:pt x="112" y="0"/>
                  </a:lnTo>
                  <a:lnTo>
                    <a:pt x="0" y="0"/>
                  </a:lnTo>
                  <a:close/>
                  <a:moveTo>
                    <a:pt x="45" y="90"/>
                  </a:moveTo>
                  <a:lnTo>
                    <a:pt x="45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2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6" y="45"/>
                  </a:lnTo>
                  <a:lnTo>
                    <a:pt x="129" y="49"/>
                  </a:lnTo>
                  <a:lnTo>
                    <a:pt x="131" y="53"/>
                  </a:lnTo>
                  <a:lnTo>
                    <a:pt x="132" y="58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9"/>
                  </a:lnTo>
                  <a:lnTo>
                    <a:pt x="131" y="74"/>
                  </a:lnTo>
                  <a:lnTo>
                    <a:pt x="129" y="78"/>
                  </a:lnTo>
                  <a:lnTo>
                    <a:pt x="126" y="82"/>
                  </a:lnTo>
                  <a:lnTo>
                    <a:pt x="122" y="85"/>
                  </a:lnTo>
                  <a:lnTo>
                    <a:pt x="117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5" y="90"/>
                  </a:lnTo>
                  <a:close/>
                  <a:moveTo>
                    <a:pt x="45" y="192"/>
                  </a:moveTo>
                  <a:lnTo>
                    <a:pt x="45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13" y="128"/>
                  </a:lnTo>
                  <a:lnTo>
                    <a:pt x="120" y="129"/>
                  </a:lnTo>
                  <a:lnTo>
                    <a:pt x="126" y="132"/>
                  </a:lnTo>
                  <a:lnTo>
                    <a:pt x="131" y="136"/>
                  </a:lnTo>
                  <a:lnTo>
                    <a:pt x="135" y="141"/>
                  </a:lnTo>
                  <a:lnTo>
                    <a:pt x="137" y="146"/>
                  </a:lnTo>
                  <a:lnTo>
                    <a:pt x="139" y="153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9" y="167"/>
                  </a:lnTo>
                  <a:lnTo>
                    <a:pt x="138" y="173"/>
                  </a:lnTo>
                  <a:lnTo>
                    <a:pt x="135" y="178"/>
                  </a:lnTo>
                  <a:lnTo>
                    <a:pt x="132" y="183"/>
                  </a:lnTo>
                  <a:lnTo>
                    <a:pt x="127" y="187"/>
                  </a:lnTo>
                  <a:lnTo>
                    <a:pt x="121" y="190"/>
                  </a:lnTo>
                  <a:lnTo>
                    <a:pt x="113" y="191"/>
                  </a:lnTo>
                  <a:lnTo>
                    <a:pt x="104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4" name="Freeform 173"/>
            <p:cNvSpPr>
              <a:spLocks noEditPoints="1"/>
            </p:cNvSpPr>
            <p:nvPr userDrawn="1"/>
          </p:nvSpPr>
          <p:spPr bwMode="auto">
            <a:xfrm>
              <a:off x="1416050" y="6151563"/>
              <a:ext cx="80963" cy="95250"/>
            </a:xfrm>
            <a:custGeom>
              <a:avLst/>
              <a:gdLst>
                <a:gd name="T0" fmla="*/ 203 w 204"/>
                <a:gd name="T1" fmla="*/ 105 h 239"/>
                <a:gd name="T2" fmla="*/ 196 w 204"/>
                <a:gd name="T3" fmla="*/ 70 h 239"/>
                <a:gd name="T4" fmla="*/ 181 w 204"/>
                <a:gd name="T5" fmla="*/ 41 h 239"/>
                <a:gd name="T6" fmla="*/ 160 w 204"/>
                <a:gd name="T7" fmla="*/ 19 h 239"/>
                <a:gd name="T8" fmla="*/ 133 w 204"/>
                <a:gd name="T9" fmla="*/ 5 h 239"/>
                <a:gd name="T10" fmla="*/ 102 w 204"/>
                <a:gd name="T11" fmla="*/ 0 h 239"/>
                <a:gd name="T12" fmla="*/ 81 w 204"/>
                <a:gd name="T13" fmla="*/ 2 h 239"/>
                <a:gd name="T14" fmla="*/ 53 w 204"/>
                <a:gd name="T15" fmla="*/ 13 h 239"/>
                <a:gd name="T16" fmla="*/ 29 w 204"/>
                <a:gd name="T17" fmla="*/ 32 h 239"/>
                <a:gd name="T18" fmla="*/ 12 w 204"/>
                <a:gd name="T19" fmla="*/ 59 h 239"/>
                <a:gd name="T20" fmla="*/ 2 w 204"/>
                <a:gd name="T21" fmla="*/ 93 h 239"/>
                <a:gd name="T22" fmla="*/ 0 w 204"/>
                <a:gd name="T23" fmla="*/ 120 h 239"/>
                <a:gd name="T24" fmla="*/ 4 w 204"/>
                <a:gd name="T25" fmla="*/ 157 h 239"/>
                <a:gd name="T26" fmla="*/ 16 w 204"/>
                <a:gd name="T27" fmla="*/ 189 h 239"/>
                <a:gd name="T28" fmla="*/ 36 w 204"/>
                <a:gd name="T29" fmla="*/ 214 h 239"/>
                <a:gd name="T30" fmla="*/ 60 w 204"/>
                <a:gd name="T31" fmla="*/ 230 h 239"/>
                <a:gd name="T32" fmla="*/ 90 w 204"/>
                <a:gd name="T33" fmla="*/ 238 h 239"/>
                <a:gd name="T34" fmla="*/ 111 w 204"/>
                <a:gd name="T35" fmla="*/ 238 h 239"/>
                <a:gd name="T36" fmla="*/ 141 w 204"/>
                <a:gd name="T37" fmla="*/ 231 h 239"/>
                <a:gd name="T38" fmla="*/ 167 w 204"/>
                <a:gd name="T39" fmla="*/ 214 h 239"/>
                <a:gd name="T40" fmla="*/ 187 w 204"/>
                <a:gd name="T41" fmla="*/ 190 h 239"/>
                <a:gd name="T42" fmla="*/ 199 w 204"/>
                <a:gd name="T43" fmla="*/ 158 h 239"/>
                <a:gd name="T44" fmla="*/ 204 w 204"/>
                <a:gd name="T45" fmla="*/ 119 h 239"/>
                <a:gd name="T46" fmla="*/ 158 w 204"/>
                <a:gd name="T47" fmla="*/ 120 h 239"/>
                <a:gd name="T48" fmla="*/ 150 w 204"/>
                <a:gd name="T49" fmla="*/ 162 h 239"/>
                <a:gd name="T50" fmla="*/ 135 w 204"/>
                <a:gd name="T51" fmla="*/ 183 h 239"/>
                <a:gd name="T52" fmla="*/ 120 w 204"/>
                <a:gd name="T53" fmla="*/ 193 h 239"/>
                <a:gd name="T54" fmla="*/ 102 w 204"/>
                <a:gd name="T55" fmla="*/ 196 h 239"/>
                <a:gd name="T56" fmla="*/ 90 w 204"/>
                <a:gd name="T57" fmla="*/ 195 h 239"/>
                <a:gd name="T58" fmla="*/ 74 w 204"/>
                <a:gd name="T59" fmla="*/ 188 h 239"/>
                <a:gd name="T60" fmla="*/ 61 w 204"/>
                <a:gd name="T61" fmla="*/ 176 h 239"/>
                <a:gd name="T62" fmla="*/ 52 w 204"/>
                <a:gd name="T63" fmla="*/ 159 h 239"/>
                <a:gd name="T64" fmla="*/ 45 w 204"/>
                <a:gd name="T65" fmla="*/ 119 h 239"/>
                <a:gd name="T66" fmla="*/ 49 w 204"/>
                <a:gd name="T67" fmla="*/ 88 h 239"/>
                <a:gd name="T68" fmla="*/ 60 w 204"/>
                <a:gd name="T69" fmla="*/ 64 h 239"/>
                <a:gd name="T70" fmla="*/ 72 w 204"/>
                <a:gd name="T71" fmla="*/ 51 h 239"/>
                <a:gd name="T72" fmla="*/ 88 w 204"/>
                <a:gd name="T73" fmla="*/ 44 h 239"/>
                <a:gd name="T74" fmla="*/ 100 w 204"/>
                <a:gd name="T75" fmla="*/ 43 h 239"/>
                <a:gd name="T76" fmla="*/ 119 w 204"/>
                <a:gd name="T77" fmla="*/ 46 h 239"/>
                <a:gd name="T78" fmla="*/ 134 w 204"/>
                <a:gd name="T79" fmla="*/ 55 h 239"/>
                <a:gd name="T80" fmla="*/ 146 w 204"/>
                <a:gd name="T81" fmla="*/ 69 h 239"/>
                <a:gd name="T82" fmla="*/ 154 w 204"/>
                <a:gd name="T83" fmla="*/ 88 h 239"/>
                <a:gd name="T84" fmla="*/ 158 w 204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4" h="239">
                  <a:moveTo>
                    <a:pt x="204" y="119"/>
                  </a:moveTo>
                  <a:lnTo>
                    <a:pt x="204" y="119"/>
                  </a:lnTo>
                  <a:lnTo>
                    <a:pt x="203" y="105"/>
                  </a:lnTo>
                  <a:lnTo>
                    <a:pt x="202" y="93"/>
                  </a:lnTo>
                  <a:lnTo>
                    <a:pt x="199" y="81"/>
                  </a:lnTo>
                  <a:lnTo>
                    <a:pt x="196" y="70"/>
                  </a:lnTo>
                  <a:lnTo>
                    <a:pt x="192" y="59"/>
                  </a:lnTo>
                  <a:lnTo>
                    <a:pt x="187" y="50"/>
                  </a:lnTo>
                  <a:lnTo>
                    <a:pt x="181" y="41"/>
                  </a:lnTo>
                  <a:lnTo>
                    <a:pt x="175" y="33"/>
                  </a:lnTo>
                  <a:lnTo>
                    <a:pt x="168" y="25"/>
                  </a:lnTo>
                  <a:lnTo>
                    <a:pt x="160" y="19"/>
                  </a:lnTo>
                  <a:lnTo>
                    <a:pt x="151" y="13"/>
                  </a:lnTo>
                  <a:lnTo>
                    <a:pt x="142" y="9"/>
                  </a:lnTo>
                  <a:lnTo>
                    <a:pt x="133" y="5"/>
                  </a:lnTo>
                  <a:lnTo>
                    <a:pt x="123" y="3"/>
                  </a:lnTo>
                  <a:lnTo>
                    <a:pt x="113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1" y="1"/>
                  </a:lnTo>
                  <a:lnTo>
                    <a:pt x="81" y="2"/>
                  </a:lnTo>
                  <a:lnTo>
                    <a:pt x="71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5"/>
                  </a:lnTo>
                  <a:lnTo>
                    <a:pt x="4" y="157"/>
                  </a:lnTo>
                  <a:lnTo>
                    <a:pt x="7" y="169"/>
                  </a:lnTo>
                  <a:lnTo>
                    <a:pt x="12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2" y="226"/>
                  </a:lnTo>
                  <a:lnTo>
                    <a:pt x="60" y="230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1" y="238"/>
                  </a:lnTo>
                  <a:lnTo>
                    <a:pt x="122" y="237"/>
                  </a:lnTo>
                  <a:lnTo>
                    <a:pt x="132" y="234"/>
                  </a:lnTo>
                  <a:lnTo>
                    <a:pt x="141" y="231"/>
                  </a:lnTo>
                  <a:lnTo>
                    <a:pt x="151" y="226"/>
                  </a:lnTo>
                  <a:lnTo>
                    <a:pt x="159" y="221"/>
                  </a:lnTo>
                  <a:lnTo>
                    <a:pt x="167" y="214"/>
                  </a:lnTo>
                  <a:lnTo>
                    <a:pt x="174" y="207"/>
                  </a:lnTo>
                  <a:lnTo>
                    <a:pt x="181" y="199"/>
                  </a:lnTo>
                  <a:lnTo>
                    <a:pt x="187" y="190"/>
                  </a:lnTo>
                  <a:lnTo>
                    <a:pt x="192" y="180"/>
                  </a:lnTo>
                  <a:lnTo>
                    <a:pt x="196" y="169"/>
                  </a:lnTo>
                  <a:lnTo>
                    <a:pt x="199" y="158"/>
                  </a:lnTo>
                  <a:lnTo>
                    <a:pt x="202" y="145"/>
                  </a:lnTo>
                  <a:lnTo>
                    <a:pt x="203" y="132"/>
                  </a:lnTo>
                  <a:lnTo>
                    <a:pt x="204" y="119"/>
                  </a:lnTo>
                  <a:lnTo>
                    <a:pt x="204" y="119"/>
                  </a:lnTo>
                  <a:close/>
                  <a:moveTo>
                    <a:pt x="158" y="120"/>
                  </a:moveTo>
                  <a:lnTo>
                    <a:pt x="158" y="120"/>
                  </a:lnTo>
                  <a:lnTo>
                    <a:pt x="157" y="135"/>
                  </a:lnTo>
                  <a:lnTo>
                    <a:pt x="154" y="149"/>
                  </a:lnTo>
                  <a:lnTo>
                    <a:pt x="150" y="162"/>
                  </a:lnTo>
                  <a:lnTo>
                    <a:pt x="143" y="174"/>
                  </a:lnTo>
                  <a:lnTo>
                    <a:pt x="139" y="179"/>
                  </a:lnTo>
                  <a:lnTo>
                    <a:pt x="135" y="183"/>
                  </a:lnTo>
                  <a:lnTo>
                    <a:pt x="130" y="187"/>
                  </a:lnTo>
                  <a:lnTo>
                    <a:pt x="125" y="190"/>
                  </a:lnTo>
                  <a:lnTo>
                    <a:pt x="120" y="193"/>
                  </a:lnTo>
                  <a:lnTo>
                    <a:pt x="114" y="195"/>
                  </a:lnTo>
                  <a:lnTo>
                    <a:pt x="108" y="196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96" y="196"/>
                  </a:lnTo>
                  <a:lnTo>
                    <a:pt x="90" y="195"/>
                  </a:lnTo>
                  <a:lnTo>
                    <a:pt x="84" y="193"/>
                  </a:lnTo>
                  <a:lnTo>
                    <a:pt x="79" y="191"/>
                  </a:lnTo>
                  <a:lnTo>
                    <a:pt x="74" y="188"/>
                  </a:lnTo>
                  <a:lnTo>
                    <a:pt x="69" y="185"/>
                  </a:lnTo>
                  <a:lnTo>
                    <a:pt x="65" y="181"/>
                  </a:lnTo>
                  <a:lnTo>
                    <a:pt x="61" y="176"/>
                  </a:lnTo>
                  <a:lnTo>
                    <a:pt x="57" y="171"/>
                  </a:lnTo>
                  <a:lnTo>
                    <a:pt x="54" y="165"/>
                  </a:lnTo>
                  <a:lnTo>
                    <a:pt x="52" y="159"/>
                  </a:lnTo>
                  <a:lnTo>
                    <a:pt x="49" y="152"/>
                  </a:lnTo>
                  <a:lnTo>
                    <a:pt x="46" y="136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8"/>
                  </a:lnTo>
                  <a:lnTo>
                    <a:pt x="54" y="75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8" y="44"/>
                  </a:lnTo>
                  <a:lnTo>
                    <a:pt x="94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7" y="43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4" y="49"/>
                  </a:lnTo>
                  <a:lnTo>
                    <a:pt x="130" y="51"/>
                  </a:lnTo>
                  <a:lnTo>
                    <a:pt x="134" y="55"/>
                  </a:lnTo>
                  <a:lnTo>
                    <a:pt x="139" y="59"/>
                  </a:lnTo>
                  <a:lnTo>
                    <a:pt x="143" y="64"/>
                  </a:lnTo>
                  <a:lnTo>
                    <a:pt x="146" y="69"/>
                  </a:lnTo>
                  <a:lnTo>
                    <a:pt x="150" y="75"/>
                  </a:lnTo>
                  <a:lnTo>
                    <a:pt x="152" y="81"/>
                  </a:lnTo>
                  <a:lnTo>
                    <a:pt x="154" y="88"/>
                  </a:lnTo>
                  <a:lnTo>
                    <a:pt x="157" y="103"/>
                  </a:lnTo>
                  <a:lnTo>
                    <a:pt x="158" y="120"/>
                  </a:lnTo>
                  <a:lnTo>
                    <a:pt x="158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5" name="Freeform 174"/>
            <p:cNvSpPr>
              <a:spLocks/>
            </p:cNvSpPr>
            <p:nvPr userDrawn="1"/>
          </p:nvSpPr>
          <p:spPr bwMode="auto">
            <a:xfrm>
              <a:off x="1516063" y="6153151"/>
              <a:ext cx="73025" cy="92075"/>
            </a:xfrm>
            <a:custGeom>
              <a:avLst/>
              <a:gdLst>
                <a:gd name="T0" fmla="*/ 0 w 185"/>
                <a:gd name="T1" fmla="*/ 0 h 229"/>
                <a:gd name="T2" fmla="*/ 0 w 185"/>
                <a:gd name="T3" fmla="*/ 229 h 229"/>
                <a:gd name="T4" fmla="*/ 45 w 185"/>
                <a:gd name="T5" fmla="*/ 229 h 229"/>
                <a:gd name="T6" fmla="*/ 45 w 185"/>
                <a:gd name="T7" fmla="*/ 39 h 229"/>
                <a:gd name="T8" fmla="*/ 140 w 185"/>
                <a:gd name="T9" fmla="*/ 39 h 229"/>
                <a:gd name="T10" fmla="*/ 140 w 185"/>
                <a:gd name="T11" fmla="*/ 229 h 229"/>
                <a:gd name="T12" fmla="*/ 185 w 185"/>
                <a:gd name="T13" fmla="*/ 229 h 229"/>
                <a:gd name="T14" fmla="*/ 185 w 185"/>
                <a:gd name="T15" fmla="*/ 0 h 229"/>
                <a:gd name="T16" fmla="*/ 0 w 185"/>
                <a:gd name="T17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45" y="229"/>
                  </a:lnTo>
                  <a:lnTo>
                    <a:pt x="45" y="39"/>
                  </a:lnTo>
                  <a:lnTo>
                    <a:pt x="140" y="39"/>
                  </a:lnTo>
                  <a:lnTo>
                    <a:pt x="140" y="229"/>
                  </a:lnTo>
                  <a:lnTo>
                    <a:pt x="185" y="229"/>
                  </a:lnTo>
                  <a:lnTo>
                    <a:pt x="1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6" name="Freeform 175"/>
            <p:cNvSpPr>
              <a:spLocks noEditPoints="1"/>
            </p:cNvSpPr>
            <p:nvPr userDrawn="1"/>
          </p:nvSpPr>
          <p:spPr bwMode="auto">
            <a:xfrm>
              <a:off x="1611313" y="6151563"/>
              <a:ext cx="76200" cy="127000"/>
            </a:xfrm>
            <a:custGeom>
              <a:avLst/>
              <a:gdLst>
                <a:gd name="T0" fmla="*/ 192 w 192"/>
                <a:gd name="T1" fmla="*/ 123 h 319"/>
                <a:gd name="T2" fmla="*/ 191 w 192"/>
                <a:gd name="T3" fmla="*/ 93 h 319"/>
                <a:gd name="T4" fmla="*/ 186 w 192"/>
                <a:gd name="T5" fmla="*/ 67 h 319"/>
                <a:gd name="T6" fmla="*/ 178 w 192"/>
                <a:gd name="T7" fmla="*/ 46 h 319"/>
                <a:gd name="T8" fmla="*/ 167 w 192"/>
                <a:gd name="T9" fmla="*/ 29 h 319"/>
                <a:gd name="T10" fmla="*/ 154 w 192"/>
                <a:gd name="T11" fmla="*/ 16 h 319"/>
                <a:gd name="T12" fmla="*/ 139 w 192"/>
                <a:gd name="T13" fmla="*/ 7 h 319"/>
                <a:gd name="T14" fmla="*/ 122 w 192"/>
                <a:gd name="T15" fmla="*/ 2 h 319"/>
                <a:gd name="T16" fmla="*/ 104 w 192"/>
                <a:gd name="T17" fmla="*/ 0 h 319"/>
                <a:gd name="T18" fmla="*/ 96 w 192"/>
                <a:gd name="T19" fmla="*/ 1 h 319"/>
                <a:gd name="T20" fmla="*/ 79 w 192"/>
                <a:gd name="T21" fmla="*/ 5 h 319"/>
                <a:gd name="T22" fmla="*/ 64 w 192"/>
                <a:gd name="T23" fmla="*/ 12 h 319"/>
                <a:gd name="T24" fmla="*/ 45 w 192"/>
                <a:gd name="T25" fmla="*/ 27 h 319"/>
                <a:gd name="T26" fmla="*/ 0 w 192"/>
                <a:gd name="T27" fmla="*/ 5 h 319"/>
                <a:gd name="T28" fmla="*/ 45 w 192"/>
                <a:gd name="T29" fmla="*/ 295 h 319"/>
                <a:gd name="T30" fmla="*/ 45 w 192"/>
                <a:gd name="T31" fmla="*/ 213 h 319"/>
                <a:gd name="T32" fmla="*/ 58 w 192"/>
                <a:gd name="T33" fmla="*/ 224 h 319"/>
                <a:gd name="T34" fmla="*/ 72 w 192"/>
                <a:gd name="T35" fmla="*/ 232 h 319"/>
                <a:gd name="T36" fmla="*/ 87 w 192"/>
                <a:gd name="T37" fmla="*/ 237 h 319"/>
                <a:gd name="T38" fmla="*/ 102 w 192"/>
                <a:gd name="T39" fmla="*/ 239 h 319"/>
                <a:gd name="T40" fmla="*/ 111 w 192"/>
                <a:gd name="T41" fmla="*/ 238 h 319"/>
                <a:gd name="T42" fmla="*/ 128 w 192"/>
                <a:gd name="T43" fmla="*/ 235 h 319"/>
                <a:gd name="T44" fmla="*/ 144 w 192"/>
                <a:gd name="T45" fmla="*/ 228 h 319"/>
                <a:gd name="T46" fmla="*/ 159 w 192"/>
                <a:gd name="T47" fmla="*/ 217 h 319"/>
                <a:gd name="T48" fmla="*/ 171 w 192"/>
                <a:gd name="T49" fmla="*/ 203 h 319"/>
                <a:gd name="T50" fmla="*/ 181 w 192"/>
                <a:gd name="T51" fmla="*/ 185 h 319"/>
                <a:gd name="T52" fmla="*/ 188 w 192"/>
                <a:gd name="T53" fmla="*/ 163 h 319"/>
                <a:gd name="T54" fmla="*/ 192 w 192"/>
                <a:gd name="T55" fmla="*/ 138 h 319"/>
                <a:gd name="T56" fmla="*/ 192 w 192"/>
                <a:gd name="T57" fmla="*/ 123 h 319"/>
                <a:gd name="T58" fmla="*/ 147 w 192"/>
                <a:gd name="T59" fmla="*/ 125 h 319"/>
                <a:gd name="T60" fmla="*/ 144 w 192"/>
                <a:gd name="T61" fmla="*/ 156 h 319"/>
                <a:gd name="T62" fmla="*/ 138 w 192"/>
                <a:gd name="T63" fmla="*/ 174 h 319"/>
                <a:gd name="T64" fmla="*/ 132 w 192"/>
                <a:gd name="T65" fmla="*/ 183 h 319"/>
                <a:gd name="T66" fmla="*/ 124 w 192"/>
                <a:gd name="T67" fmla="*/ 190 h 319"/>
                <a:gd name="T68" fmla="*/ 115 w 192"/>
                <a:gd name="T69" fmla="*/ 195 h 319"/>
                <a:gd name="T70" fmla="*/ 104 w 192"/>
                <a:gd name="T71" fmla="*/ 197 h 319"/>
                <a:gd name="T72" fmla="*/ 98 w 192"/>
                <a:gd name="T73" fmla="*/ 197 h 319"/>
                <a:gd name="T74" fmla="*/ 81 w 192"/>
                <a:gd name="T75" fmla="*/ 195 h 319"/>
                <a:gd name="T76" fmla="*/ 66 w 192"/>
                <a:gd name="T77" fmla="*/ 187 h 319"/>
                <a:gd name="T78" fmla="*/ 54 w 192"/>
                <a:gd name="T79" fmla="*/ 178 h 319"/>
                <a:gd name="T80" fmla="*/ 44 w 192"/>
                <a:gd name="T81" fmla="*/ 167 h 319"/>
                <a:gd name="T82" fmla="*/ 44 w 192"/>
                <a:gd name="T83" fmla="*/ 71 h 319"/>
                <a:gd name="T84" fmla="*/ 56 w 192"/>
                <a:gd name="T85" fmla="*/ 59 h 319"/>
                <a:gd name="T86" fmla="*/ 68 w 192"/>
                <a:gd name="T87" fmla="*/ 50 h 319"/>
                <a:gd name="T88" fmla="*/ 82 w 192"/>
                <a:gd name="T89" fmla="*/ 44 h 319"/>
                <a:gd name="T90" fmla="*/ 96 w 192"/>
                <a:gd name="T91" fmla="*/ 42 h 319"/>
                <a:gd name="T92" fmla="*/ 102 w 192"/>
                <a:gd name="T93" fmla="*/ 42 h 319"/>
                <a:gd name="T94" fmla="*/ 113 w 192"/>
                <a:gd name="T95" fmla="*/ 45 h 319"/>
                <a:gd name="T96" fmla="*/ 123 w 192"/>
                <a:gd name="T97" fmla="*/ 49 h 319"/>
                <a:gd name="T98" fmla="*/ 131 w 192"/>
                <a:gd name="T99" fmla="*/ 57 h 319"/>
                <a:gd name="T100" fmla="*/ 137 w 192"/>
                <a:gd name="T101" fmla="*/ 67 h 319"/>
                <a:gd name="T102" fmla="*/ 144 w 192"/>
                <a:gd name="T103" fmla="*/ 88 h 319"/>
                <a:gd name="T104" fmla="*/ 147 w 192"/>
                <a:gd name="T105" fmla="*/ 125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2" h="319">
                  <a:moveTo>
                    <a:pt x="192" y="123"/>
                  </a:moveTo>
                  <a:lnTo>
                    <a:pt x="192" y="123"/>
                  </a:lnTo>
                  <a:lnTo>
                    <a:pt x="192" y="107"/>
                  </a:lnTo>
                  <a:lnTo>
                    <a:pt x="191" y="93"/>
                  </a:lnTo>
                  <a:lnTo>
                    <a:pt x="188" y="79"/>
                  </a:lnTo>
                  <a:lnTo>
                    <a:pt x="186" y="67"/>
                  </a:lnTo>
                  <a:lnTo>
                    <a:pt x="182" y="56"/>
                  </a:lnTo>
                  <a:lnTo>
                    <a:pt x="178" y="46"/>
                  </a:lnTo>
                  <a:lnTo>
                    <a:pt x="172" y="37"/>
                  </a:lnTo>
                  <a:lnTo>
                    <a:pt x="167" y="29"/>
                  </a:lnTo>
                  <a:lnTo>
                    <a:pt x="161" y="22"/>
                  </a:lnTo>
                  <a:lnTo>
                    <a:pt x="154" y="16"/>
                  </a:lnTo>
                  <a:lnTo>
                    <a:pt x="147" y="11"/>
                  </a:lnTo>
                  <a:lnTo>
                    <a:pt x="139" y="7"/>
                  </a:lnTo>
                  <a:lnTo>
                    <a:pt x="131" y="4"/>
                  </a:lnTo>
                  <a:lnTo>
                    <a:pt x="122" y="2"/>
                  </a:lnTo>
                  <a:lnTo>
                    <a:pt x="113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6" y="1"/>
                  </a:lnTo>
                  <a:lnTo>
                    <a:pt x="87" y="2"/>
                  </a:lnTo>
                  <a:lnTo>
                    <a:pt x="79" y="5"/>
                  </a:lnTo>
                  <a:lnTo>
                    <a:pt x="72" y="8"/>
                  </a:lnTo>
                  <a:lnTo>
                    <a:pt x="64" y="12"/>
                  </a:lnTo>
                  <a:lnTo>
                    <a:pt x="58" y="16"/>
                  </a:lnTo>
                  <a:lnTo>
                    <a:pt x="45" y="27"/>
                  </a:lnTo>
                  <a:lnTo>
                    <a:pt x="45" y="5"/>
                  </a:lnTo>
                  <a:lnTo>
                    <a:pt x="0" y="5"/>
                  </a:lnTo>
                  <a:lnTo>
                    <a:pt x="0" y="319"/>
                  </a:lnTo>
                  <a:lnTo>
                    <a:pt x="45" y="295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51" y="219"/>
                  </a:lnTo>
                  <a:lnTo>
                    <a:pt x="58" y="224"/>
                  </a:lnTo>
                  <a:lnTo>
                    <a:pt x="65" y="229"/>
                  </a:lnTo>
                  <a:lnTo>
                    <a:pt x="72" y="232"/>
                  </a:lnTo>
                  <a:lnTo>
                    <a:pt x="79" y="235"/>
                  </a:lnTo>
                  <a:lnTo>
                    <a:pt x="87" y="237"/>
                  </a:lnTo>
                  <a:lnTo>
                    <a:pt x="95" y="238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11" y="238"/>
                  </a:lnTo>
                  <a:lnTo>
                    <a:pt x="120" y="237"/>
                  </a:lnTo>
                  <a:lnTo>
                    <a:pt x="128" y="235"/>
                  </a:lnTo>
                  <a:lnTo>
                    <a:pt x="136" y="232"/>
                  </a:lnTo>
                  <a:lnTo>
                    <a:pt x="144" y="228"/>
                  </a:lnTo>
                  <a:lnTo>
                    <a:pt x="152" y="223"/>
                  </a:lnTo>
                  <a:lnTo>
                    <a:pt x="159" y="217"/>
                  </a:lnTo>
                  <a:lnTo>
                    <a:pt x="165" y="211"/>
                  </a:lnTo>
                  <a:lnTo>
                    <a:pt x="171" y="203"/>
                  </a:lnTo>
                  <a:lnTo>
                    <a:pt x="176" y="194"/>
                  </a:lnTo>
                  <a:lnTo>
                    <a:pt x="181" y="185"/>
                  </a:lnTo>
                  <a:lnTo>
                    <a:pt x="185" y="174"/>
                  </a:lnTo>
                  <a:lnTo>
                    <a:pt x="188" y="163"/>
                  </a:lnTo>
                  <a:lnTo>
                    <a:pt x="190" y="151"/>
                  </a:lnTo>
                  <a:lnTo>
                    <a:pt x="192" y="138"/>
                  </a:lnTo>
                  <a:lnTo>
                    <a:pt x="192" y="123"/>
                  </a:lnTo>
                  <a:lnTo>
                    <a:pt x="192" y="123"/>
                  </a:lnTo>
                  <a:close/>
                  <a:moveTo>
                    <a:pt x="147" y="125"/>
                  </a:moveTo>
                  <a:lnTo>
                    <a:pt x="147" y="125"/>
                  </a:lnTo>
                  <a:lnTo>
                    <a:pt x="147" y="142"/>
                  </a:lnTo>
                  <a:lnTo>
                    <a:pt x="144" y="156"/>
                  </a:lnTo>
                  <a:lnTo>
                    <a:pt x="140" y="169"/>
                  </a:lnTo>
                  <a:lnTo>
                    <a:pt x="138" y="174"/>
                  </a:lnTo>
                  <a:lnTo>
                    <a:pt x="135" y="179"/>
                  </a:lnTo>
                  <a:lnTo>
                    <a:pt x="132" y="183"/>
                  </a:lnTo>
                  <a:lnTo>
                    <a:pt x="128" y="187"/>
                  </a:lnTo>
                  <a:lnTo>
                    <a:pt x="124" y="190"/>
                  </a:lnTo>
                  <a:lnTo>
                    <a:pt x="119" y="193"/>
                  </a:lnTo>
                  <a:lnTo>
                    <a:pt x="115" y="195"/>
                  </a:lnTo>
                  <a:lnTo>
                    <a:pt x="109" y="196"/>
                  </a:lnTo>
                  <a:lnTo>
                    <a:pt x="104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89" y="197"/>
                  </a:lnTo>
                  <a:lnTo>
                    <a:pt x="81" y="195"/>
                  </a:lnTo>
                  <a:lnTo>
                    <a:pt x="74" y="191"/>
                  </a:lnTo>
                  <a:lnTo>
                    <a:pt x="66" y="187"/>
                  </a:lnTo>
                  <a:lnTo>
                    <a:pt x="60" y="183"/>
                  </a:lnTo>
                  <a:lnTo>
                    <a:pt x="54" y="178"/>
                  </a:lnTo>
                  <a:lnTo>
                    <a:pt x="48" y="173"/>
                  </a:lnTo>
                  <a:lnTo>
                    <a:pt x="44" y="167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50" y="64"/>
                  </a:lnTo>
                  <a:lnTo>
                    <a:pt x="56" y="59"/>
                  </a:lnTo>
                  <a:lnTo>
                    <a:pt x="62" y="54"/>
                  </a:lnTo>
                  <a:lnTo>
                    <a:pt x="68" y="50"/>
                  </a:lnTo>
                  <a:lnTo>
                    <a:pt x="75" y="46"/>
                  </a:lnTo>
                  <a:lnTo>
                    <a:pt x="82" y="44"/>
                  </a:lnTo>
                  <a:lnTo>
                    <a:pt x="89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102" y="42"/>
                  </a:lnTo>
                  <a:lnTo>
                    <a:pt x="108" y="43"/>
                  </a:lnTo>
                  <a:lnTo>
                    <a:pt x="113" y="45"/>
                  </a:lnTo>
                  <a:lnTo>
                    <a:pt x="118" y="47"/>
                  </a:lnTo>
                  <a:lnTo>
                    <a:pt x="123" y="49"/>
                  </a:lnTo>
                  <a:lnTo>
                    <a:pt x="127" y="53"/>
                  </a:lnTo>
                  <a:lnTo>
                    <a:pt x="131" y="57"/>
                  </a:lnTo>
                  <a:lnTo>
                    <a:pt x="134" y="62"/>
                  </a:lnTo>
                  <a:lnTo>
                    <a:pt x="137" y="67"/>
                  </a:lnTo>
                  <a:lnTo>
                    <a:pt x="140" y="73"/>
                  </a:lnTo>
                  <a:lnTo>
                    <a:pt x="144" y="88"/>
                  </a:lnTo>
                  <a:lnTo>
                    <a:pt x="147" y="105"/>
                  </a:lnTo>
                  <a:lnTo>
                    <a:pt x="147" y="125"/>
                  </a:lnTo>
                  <a:lnTo>
                    <a:pt x="147" y="1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7" name="Freeform 176"/>
            <p:cNvSpPr>
              <a:spLocks noEditPoints="1"/>
            </p:cNvSpPr>
            <p:nvPr userDrawn="1"/>
          </p:nvSpPr>
          <p:spPr bwMode="auto">
            <a:xfrm>
              <a:off x="1701800" y="6151563"/>
              <a:ext cx="82550" cy="95250"/>
            </a:xfrm>
            <a:custGeom>
              <a:avLst/>
              <a:gdLst>
                <a:gd name="T0" fmla="*/ 205 w 206"/>
                <a:gd name="T1" fmla="*/ 105 h 239"/>
                <a:gd name="T2" fmla="*/ 198 w 206"/>
                <a:gd name="T3" fmla="*/ 70 h 239"/>
                <a:gd name="T4" fmla="*/ 183 w 206"/>
                <a:gd name="T5" fmla="*/ 41 h 239"/>
                <a:gd name="T6" fmla="*/ 161 w 206"/>
                <a:gd name="T7" fmla="*/ 19 h 239"/>
                <a:gd name="T8" fmla="*/ 135 w 206"/>
                <a:gd name="T9" fmla="*/ 5 h 239"/>
                <a:gd name="T10" fmla="*/ 103 w 206"/>
                <a:gd name="T11" fmla="*/ 0 h 239"/>
                <a:gd name="T12" fmla="*/ 82 w 206"/>
                <a:gd name="T13" fmla="*/ 2 h 239"/>
                <a:gd name="T14" fmla="*/ 53 w 206"/>
                <a:gd name="T15" fmla="*/ 13 h 239"/>
                <a:gd name="T16" fmla="*/ 30 w 206"/>
                <a:gd name="T17" fmla="*/ 32 h 239"/>
                <a:gd name="T18" fmla="*/ 13 w 206"/>
                <a:gd name="T19" fmla="*/ 59 h 239"/>
                <a:gd name="T20" fmla="*/ 2 w 206"/>
                <a:gd name="T21" fmla="*/ 93 h 239"/>
                <a:gd name="T22" fmla="*/ 0 w 206"/>
                <a:gd name="T23" fmla="*/ 120 h 239"/>
                <a:gd name="T24" fmla="*/ 5 w 206"/>
                <a:gd name="T25" fmla="*/ 157 h 239"/>
                <a:gd name="T26" fmla="*/ 17 w 206"/>
                <a:gd name="T27" fmla="*/ 189 h 239"/>
                <a:gd name="T28" fmla="*/ 36 w 206"/>
                <a:gd name="T29" fmla="*/ 214 h 239"/>
                <a:gd name="T30" fmla="*/ 61 w 206"/>
                <a:gd name="T31" fmla="*/ 230 h 239"/>
                <a:gd name="T32" fmla="*/ 91 w 206"/>
                <a:gd name="T33" fmla="*/ 238 h 239"/>
                <a:gd name="T34" fmla="*/ 113 w 206"/>
                <a:gd name="T35" fmla="*/ 238 h 239"/>
                <a:gd name="T36" fmla="*/ 143 w 206"/>
                <a:gd name="T37" fmla="*/ 231 h 239"/>
                <a:gd name="T38" fmla="*/ 169 w 206"/>
                <a:gd name="T39" fmla="*/ 214 h 239"/>
                <a:gd name="T40" fmla="*/ 188 w 206"/>
                <a:gd name="T41" fmla="*/ 190 h 239"/>
                <a:gd name="T42" fmla="*/ 201 w 206"/>
                <a:gd name="T43" fmla="*/ 158 h 239"/>
                <a:gd name="T44" fmla="*/ 206 w 206"/>
                <a:gd name="T45" fmla="*/ 119 h 239"/>
                <a:gd name="T46" fmla="*/ 160 w 206"/>
                <a:gd name="T47" fmla="*/ 120 h 239"/>
                <a:gd name="T48" fmla="*/ 151 w 206"/>
                <a:gd name="T49" fmla="*/ 162 h 239"/>
                <a:gd name="T50" fmla="*/ 137 w 206"/>
                <a:gd name="T51" fmla="*/ 183 h 239"/>
                <a:gd name="T52" fmla="*/ 122 w 206"/>
                <a:gd name="T53" fmla="*/ 193 h 239"/>
                <a:gd name="T54" fmla="*/ 104 w 206"/>
                <a:gd name="T55" fmla="*/ 196 h 239"/>
                <a:gd name="T56" fmla="*/ 91 w 206"/>
                <a:gd name="T57" fmla="*/ 195 h 239"/>
                <a:gd name="T58" fmla="*/ 75 w 206"/>
                <a:gd name="T59" fmla="*/ 188 h 239"/>
                <a:gd name="T60" fmla="*/ 62 w 206"/>
                <a:gd name="T61" fmla="*/ 176 h 239"/>
                <a:gd name="T62" fmla="*/ 52 w 206"/>
                <a:gd name="T63" fmla="*/ 159 h 239"/>
                <a:gd name="T64" fmla="*/ 46 w 206"/>
                <a:gd name="T65" fmla="*/ 119 h 239"/>
                <a:gd name="T66" fmla="*/ 50 w 206"/>
                <a:gd name="T67" fmla="*/ 88 h 239"/>
                <a:gd name="T68" fmla="*/ 61 w 206"/>
                <a:gd name="T69" fmla="*/ 64 h 239"/>
                <a:gd name="T70" fmla="*/ 73 w 206"/>
                <a:gd name="T71" fmla="*/ 51 h 239"/>
                <a:gd name="T72" fmla="*/ 89 w 206"/>
                <a:gd name="T73" fmla="*/ 44 h 239"/>
                <a:gd name="T74" fmla="*/ 101 w 206"/>
                <a:gd name="T75" fmla="*/ 43 h 239"/>
                <a:gd name="T76" fmla="*/ 121 w 206"/>
                <a:gd name="T77" fmla="*/ 46 h 239"/>
                <a:gd name="T78" fmla="*/ 136 w 206"/>
                <a:gd name="T79" fmla="*/ 55 h 239"/>
                <a:gd name="T80" fmla="*/ 148 w 206"/>
                <a:gd name="T81" fmla="*/ 69 h 239"/>
                <a:gd name="T82" fmla="*/ 156 w 206"/>
                <a:gd name="T83" fmla="*/ 88 h 239"/>
                <a:gd name="T84" fmla="*/ 160 w 206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6" h="239">
                  <a:moveTo>
                    <a:pt x="206" y="119"/>
                  </a:moveTo>
                  <a:lnTo>
                    <a:pt x="206" y="119"/>
                  </a:lnTo>
                  <a:lnTo>
                    <a:pt x="205" y="105"/>
                  </a:lnTo>
                  <a:lnTo>
                    <a:pt x="204" y="93"/>
                  </a:lnTo>
                  <a:lnTo>
                    <a:pt x="201" y="81"/>
                  </a:lnTo>
                  <a:lnTo>
                    <a:pt x="198" y="70"/>
                  </a:lnTo>
                  <a:lnTo>
                    <a:pt x="194" y="59"/>
                  </a:lnTo>
                  <a:lnTo>
                    <a:pt x="189" y="50"/>
                  </a:lnTo>
                  <a:lnTo>
                    <a:pt x="183" y="41"/>
                  </a:lnTo>
                  <a:lnTo>
                    <a:pt x="176" y="33"/>
                  </a:lnTo>
                  <a:lnTo>
                    <a:pt x="169" y="25"/>
                  </a:lnTo>
                  <a:lnTo>
                    <a:pt x="161" y="19"/>
                  </a:lnTo>
                  <a:lnTo>
                    <a:pt x="153" y="13"/>
                  </a:lnTo>
                  <a:lnTo>
                    <a:pt x="144" y="9"/>
                  </a:lnTo>
                  <a:lnTo>
                    <a:pt x="135" y="5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92" y="1"/>
                  </a:lnTo>
                  <a:lnTo>
                    <a:pt x="82" y="2"/>
                  </a:lnTo>
                  <a:lnTo>
                    <a:pt x="72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0" y="32"/>
                  </a:lnTo>
                  <a:lnTo>
                    <a:pt x="23" y="40"/>
                  </a:lnTo>
                  <a:lnTo>
                    <a:pt x="18" y="49"/>
                  </a:lnTo>
                  <a:lnTo>
                    <a:pt x="13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4" y="220"/>
                  </a:lnTo>
                  <a:lnTo>
                    <a:pt x="52" y="226"/>
                  </a:lnTo>
                  <a:lnTo>
                    <a:pt x="61" y="230"/>
                  </a:lnTo>
                  <a:lnTo>
                    <a:pt x="71" y="234"/>
                  </a:lnTo>
                  <a:lnTo>
                    <a:pt x="80" y="237"/>
                  </a:lnTo>
                  <a:lnTo>
                    <a:pt x="91" y="238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3" y="238"/>
                  </a:lnTo>
                  <a:lnTo>
                    <a:pt x="124" y="237"/>
                  </a:lnTo>
                  <a:lnTo>
                    <a:pt x="134" y="234"/>
                  </a:lnTo>
                  <a:lnTo>
                    <a:pt x="143" y="231"/>
                  </a:lnTo>
                  <a:lnTo>
                    <a:pt x="152" y="226"/>
                  </a:lnTo>
                  <a:lnTo>
                    <a:pt x="161" y="221"/>
                  </a:lnTo>
                  <a:lnTo>
                    <a:pt x="169" y="214"/>
                  </a:lnTo>
                  <a:lnTo>
                    <a:pt x="176" y="207"/>
                  </a:lnTo>
                  <a:lnTo>
                    <a:pt x="182" y="199"/>
                  </a:lnTo>
                  <a:lnTo>
                    <a:pt x="188" y="190"/>
                  </a:lnTo>
                  <a:lnTo>
                    <a:pt x="193" y="180"/>
                  </a:lnTo>
                  <a:lnTo>
                    <a:pt x="198" y="169"/>
                  </a:lnTo>
                  <a:lnTo>
                    <a:pt x="201" y="158"/>
                  </a:lnTo>
                  <a:lnTo>
                    <a:pt x="203" y="145"/>
                  </a:lnTo>
                  <a:lnTo>
                    <a:pt x="205" y="132"/>
                  </a:lnTo>
                  <a:lnTo>
                    <a:pt x="206" y="119"/>
                  </a:lnTo>
                  <a:lnTo>
                    <a:pt x="206" y="119"/>
                  </a:lnTo>
                  <a:close/>
                  <a:moveTo>
                    <a:pt x="160" y="120"/>
                  </a:moveTo>
                  <a:lnTo>
                    <a:pt x="160" y="120"/>
                  </a:lnTo>
                  <a:lnTo>
                    <a:pt x="159" y="135"/>
                  </a:lnTo>
                  <a:lnTo>
                    <a:pt x="156" y="149"/>
                  </a:lnTo>
                  <a:lnTo>
                    <a:pt x="151" y="162"/>
                  </a:lnTo>
                  <a:lnTo>
                    <a:pt x="145" y="174"/>
                  </a:lnTo>
                  <a:lnTo>
                    <a:pt x="141" y="179"/>
                  </a:lnTo>
                  <a:lnTo>
                    <a:pt x="137" y="183"/>
                  </a:lnTo>
                  <a:lnTo>
                    <a:pt x="132" y="187"/>
                  </a:lnTo>
                  <a:lnTo>
                    <a:pt x="127" y="190"/>
                  </a:lnTo>
                  <a:lnTo>
                    <a:pt x="122" y="193"/>
                  </a:lnTo>
                  <a:lnTo>
                    <a:pt x="116" y="195"/>
                  </a:lnTo>
                  <a:lnTo>
                    <a:pt x="110" y="196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97" y="196"/>
                  </a:lnTo>
                  <a:lnTo>
                    <a:pt x="91" y="195"/>
                  </a:lnTo>
                  <a:lnTo>
                    <a:pt x="85" y="193"/>
                  </a:lnTo>
                  <a:lnTo>
                    <a:pt x="80" y="191"/>
                  </a:lnTo>
                  <a:lnTo>
                    <a:pt x="75" y="188"/>
                  </a:lnTo>
                  <a:lnTo>
                    <a:pt x="70" y="185"/>
                  </a:lnTo>
                  <a:lnTo>
                    <a:pt x="66" y="181"/>
                  </a:lnTo>
                  <a:lnTo>
                    <a:pt x="62" y="176"/>
                  </a:lnTo>
                  <a:lnTo>
                    <a:pt x="58" y="171"/>
                  </a:lnTo>
                  <a:lnTo>
                    <a:pt x="55" y="165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7" y="102"/>
                  </a:lnTo>
                  <a:lnTo>
                    <a:pt x="50" y="88"/>
                  </a:lnTo>
                  <a:lnTo>
                    <a:pt x="54" y="75"/>
                  </a:lnTo>
                  <a:lnTo>
                    <a:pt x="57" y="69"/>
                  </a:lnTo>
                  <a:lnTo>
                    <a:pt x="61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3" y="51"/>
                  </a:lnTo>
                  <a:lnTo>
                    <a:pt x="78" y="48"/>
                  </a:lnTo>
                  <a:lnTo>
                    <a:pt x="83" y="46"/>
                  </a:lnTo>
                  <a:lnTo>
                    <a:pt x="89" y="44"/>
                  </a:lnTo>
                  <a:lnTo>
                    <a:pt x="95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8" y="43"/>
                  </a:lnTo>
                  <a:lnTo>
                    <a:pt x="115" y="44"/>
                  </a:lnTo>
                  <a:lnTo>
                    <a:pt x="121" y="46"/>
                  </a:lnTo>
                  <a:lnTo>
                    <a:pt x="126" y="49"/>
                  </a:lnTo>
                  <a:lnTo>
                    <a:pt x="131" y="51"/>
                  </a:lnTo>
                  <a:lnTo>
                    <a:pt x="136" y="55"/>
                  </a:lnTo>
                  <a:lnTo>
                    <a:pt x="141" y="59"/>
                  </a:lnTo>
                  <a:lnTo>
                    <a:pt x="145" y="64"/>
                  </a:lnTo>
                  <a:lnTo>
                    <a:pt x="148" y="69"/>
                  </a:lnTo>
                  <a:lnTo>
                    <a:pt x="151" y="75"/>
                  </a:lnTo>
                  <a:lnTo>
                    <a:pt x="154" y="81"/>
                  </a:lnTo>
                  <a:lnTo>
                    <a:pt x="156" y="88"/>
                  </a:lnTo>
                  <a:lnTo>
                    <a:pt x="159" y="103"/>
                  </a:lnTo>
                  <a:lnTo>
                    <a:pt x="160" y="120"/>
                  </a:lnTo>
                  <a:lnTo>
                    <a:pt x="160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8" name="Freeform 177"/>
            <p:cNvSpPr>
              <a:spLocks/>
            </p:cNvSpPr>
            <p:nvPr userDrawn="1"/>
          </p:nvSpPr>
          <p:spPr bwMode="auto">
            <a:xfrm>
              <a:off x="1798638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2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3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6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2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8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3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6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4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79" name="Freeform 178"/>
            <p:cNvSpPr>
              <a:spLocks noEditPoints="1"/>
            </p:cNvSpPr>
            <p:nvPr userDrawn="1"/>
          </p:nvSpPr>
          <p:spPr bwMode="auto">
            <a:xfrm>
              <a:off x="1882775" y="6121401"/>
              <a:ext cx="82550" cy="125413"/>
            </a:xfrm>
            <a:custGeom>
              <a:avLst/>
              <a:gdLst>
                <a:gd name="T0" fmla="*/ 211 w 211"/>
                <a:gd name="T1" fmla="*/ 81 h 315"/>
                <a:gd name="T2" fmla="*/ 209 w 211"/>
                <a:gd name="T3" fmla="*/ 62 h 315"/>
                <a:gd name="T4" fmla="*/ 204 w 211"/>
                <a:gd name="T5" fmla="*/ 46 h 315"/>
                <a:gd name="T6" fmla="*/ 195 w 211"/>
                <a:gd name="T7" fmla="*/ 32 h 315"/>
                <a:gd name="T8" fmla="*/ 182 w 211"/>
                <a:gd name="T9" fmla="*/ 21 h 315"/>
                <a:gd name="T10" fmla="*/ 167 w 211"/>
                <a:gd name="T11" fmla="*/ 12 h 315"/>
                <a:gd name="T12" fmla="*/ 149 w 211"/>
                <a:gd name="T13" fmla="*/ 5 h 315"/>
                <a:gd name="T14" fmla="*/ 128 w 211"/>
                <a:gd name="T15" fmla="*/ 1 h 315"/>
                <a:gd name="T16" fmla="*/ 106 w 211"/>
                <a:gd name="T17" fmla="*/ 0 h 315"/>
                <a:gd name="T18" fmla="*/ 89 w 211"/>
                <a:gd name="T19" fmla="*/ 1 h 315"/>
                <a:gd name="T20" fmla="*/ 59 w 211"/>
                <a:gd name="T21" fmla="*/ 8 h 315"/>
                <a:gd name="T22" fmla="*/ 32 w 211"/>
                <a:gd name="T23" fmla="*/ 20 h 315"/>
                <a:gd name="T24" fmla="*/ 9 w 211"/>
                <a:gd name="T25" fmla="*/ 36 h 315"/>
                <a:gd name="T26" fmla="*/ 29 w 211"/>
                <a:gd name="T27" fmla="*/ 79 h 315"/>
                <a:gd name="T28" fmla="*/ 38 w 211"/>
                <a:gd name="T29" fmla="*/ 71 h 315"/>
                <a:gd name="T30" fmla="*/ 56 w 211"/>
                <a:gd name="T31" fmla="*/ 58 h 315"/>
                <a:gd name="T32" fmla="*/ 74 w 211"/>
                <a:gd name="T33" fmla="*/ 50 h 315"/>
                <a:gd name="T34" fmla="*/ 94 w 211"/>
                <a:gd name="T35" fmla="*/ 46 h 315"/>
                <a:gd name="T36" fmla="*/ 105 w 211"/>
                <a:gd name="T37" fmla="*/ 45 h 315"/>
                <a:gd name="T38" fmla="*/ 130 w 211"/>
                <a:gd name="T39" fmla="*/ 48 h 315"/>
                <a:gd name="T40" fmla="*/ 149 w 211"/>
                <a:gd name="T41" fmla="*/ 55 h 315"/>
                <a:gd name="T42" fmla="*/ 161 w 211"/>
                <a:gd name="T43" fmla="*/ 67 h 315"/>
                <a:gd name="T44" fmla="*/ 165 w 211"/>
                <a:gd name="T45" fmla="*/ 84 h 315"/>
                <a:gd name="T46" fmla="*/ 164 w 211"/>
                <a:gd name="T47" fmla="*/ 91 h 315"/>
                <a:gd name="T48" fmla="*/ 160 w 211"/>
                <a:gd name="T49" fmla="*/ 103 h 315"/>
                <a:gd name="T50" fmla="*/ 152 w 211"/>
                <a:gd name="T51" fmla="*/ 113 h 315"/>
                <a:gd name="T52" fmla="*/ 131 w 211"/>
                <a:gd name="T53" fmla="*/ 127 h 315"/>
                <a:gd name="T54" fmla="*/ 115 w 211"/>
                <a:gd name="T55" fmla="*/ 137 h 315"/>
                <a:gd name="T56" fmla="*/ 92 w 211"/>
                <a:gd name="T57" fmla="*/ 155 h 315"/>
                <a:gd name="T58" fmla="*/ 84 w 211"/>
                <a:gd name="T59" fmla="*/ 165 h 315"/>
                <a:gd name="T60" fmla="*/ 79 w 211"/>
                <a:gd name="T61" fmla="*/ 177 h 315"/>
                <a:gd name="T62" fmla="*/ 74 w 211"/>
                <a:gd name="T63" fmla="*/ 204 h 315"/>
                <a:gd name="T64" fmla="*/ 121 w 211"/>
                <a:gd name="T65" fmla="*/ 222 h 315"/>
                <a:gd name="T66" fmla="*/ 121 w 211"/>
                <a:gd name="T67" fmla="*/ 211 h 315"/>
                <a:gd name="T68" fmla="*/ 124 w 211"/>
                <a:gd name="T69" fmla="*/ 193 h 315"/>
                <a:gd name="T70" fmla="*/ 131 w 211"/>
                <a:gd name="T71" fmla="*/ 180 h 315"/>
                <a:gd name="T72" fmla="*/ 145 w 211"/>
                <a:gd name="T73" fmla="*/ 168 h 315"/>
                <a:gd name="T74" fmla="*/ 155 w 211"/>
                <a:gd name="T75" fmla="*/ 163 h 315"/>
                <a:gd name="T76" fmla="*/ 179 w 211"/>
                <a:gd name="T77" fmla="*/ 147 h 315"/>
                <a:gd name="T78" fmla="*/ 197 w 211"/>
                <a:gd name="T79" fmla="*/ 130 h 315"/>
                <a:gd name="T80" fmla="*/ 208 w 211"/>
                <a:gd name="T81" fmla="*/ 109 h 315"/>
                <a:gd name="T82" fmla="*/ 211 w 211"/>
                <a:gd name="T83" fmla="*/ 81 h 315"/>
                <a:gd name="T84" fmla="*/ 130 w 211"/>
                <a:gd name="T85" fmla="*/ 282 h 315"/>
                <a:gd name="T86" fmla="*/ 129 w 211"/>
                <a:gd name="T87" fmla="*/ 276 h 315"/>
                <a:gd name="T88" fmla="*/ 124 w 211"/>
                <a:gd name="T89" fmla="*/ 264 h 315"/>
                <a:gd name="T90" fmla="*/ 115 w 211"/>
                <a:gd name="T91" fmla="*/ 255 h 315"/>
                <a:gd name="T92" fmla="*/ 104 w 211"/>
                <a:gd name="T93" fmla="*/ 250 h 315"/>
                <a:gd name="T94" fmla="*/ 97 w 211"/>
                <a:gd name="T95" fmla="*/ 249 h 315"/>
                <a:gd name="T96" fmla="*/ 85 w 211"/>
                <a:gd name="T97" fmla="*/ 252 h 315"/>
                <a:gd name="T98" fmla="*/ 74 w 211"/>
                <a:gd name="T99" fmla="*/ 259 h 315"/>
                <a:gd name="T100" fmla="*/ 67 w 211"/>
                <a:gd name="T101" fmla="*/ 269 h 315"/>
                <a:gd name="T102" fmla="*/ 65 w 211"/>
                <a:gd name="T103" fmla="*/ 282 h 315"/>
                <a:gd name="T104" fmla="*/ 65 w 211"/>
                <a:gd name="T105" fmla="*/ 289 h 315"/>
                <a:gd name="T106" fmla="*/ 70 w 211"/>
                <a:gd name="T107" fmla="*/ 301 h 315"/>
                <a:gd name="T108" fmla="*/ 79 w 211"/>
                <a:gd name="T109" fmla="*/ 309 h 315"/>
                <a:gd name="T110" fmla="*/ 91 w 211"/>
                <a:gd name="T111" fmla="*/ 314 h 315"/>
                <a:gd name="T112" fmla="*/ 97 w 211"/>
                <a:gd name="T113" fmla="*/ 315 h 315"/>
                <a:gd name="T114" fmla="*/ 110 w 211"/>
                <a:gd name="T115" fmla="*/ 312 h 315"/>
                <a:gd name="T116" fmla="*/ 120 w 211"/>
                <a:gd name="T117" fmla="*/ 305 h 315"/>
                <a:gd name="T118" fmla="*/ 127 w 211"/>
                <a:gd name="T119" fmla="*/ 295 h 315"/>
                <a:gd name="T120" fmla="*/ 130 w 211"/>
                <a:gd name="T121" fmla="*/ 28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1" h="315">
                  <a:moveTo>
                    <a:pt x="211" y="81"/>
                  </a:moveTo>
                  <a:lnTo>
                    <a:pt x="211" y="81"/>
                  </a:lnTo>
                  <a:lnTo>
                    <a:pt x="211" y="71"/>
                  </a:lnTo>
                  <a:lnTo>
                    <a:pt x="209" y="62"/>
                  </a:lnTo>
                  <a:lnTo>
                    <a:pt x="207" y="54"/>
                  </a:lnTo>
                  <a:lnTo>
                    <a:pt x="204" y="46"/>
                  </a:lnTo>
                  <a:lnTo>
                    <a:pt x="199" y="39"/>
                  </a:lnTo>
                  <a:lnTo>
                    <a:pt x="195" y="32"/>
                  </a:lnTo>
                  <a:lnTo>
                    <a:pt x="189" y="26"/>
                  </a:lnTo>
                  <a:lnTo>
                    <a:pt x="182" y="21"/>
                  </a:lnTo>
                  <a:lnTo>
                    <a:pt x="175" y="16"/>
                  </a:lnTo>
                  <a:lnTo>
                    <a:pt x="167" y="12"/>
                  </a:lnTo>
                  <a:lnTo>
                    <a:pt x="159" y="8"/>
                  </a:lnTo>
                  <a:lnTo>
                    <a:pt x="149" y="5"/>
                  </a:lnTo>
                  <a:lnTo>
                    <a:pt x="139" y="3"/>
                  </a:lnTo>
                  <a:lnTo>
                    <a:pt x="128" y="1"/>
                  </a:lnTo>
                  <a:lnTo>
                    <a:pt x="117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89" y="1"/>
                  </a:lnTo>
                  <a:lnTo>
                    <a:pt x="74" y="4"/>
                  </a:lnTo>
                  <a:lnTo>
                    <a:pt x="59" y="8"/>
                  </a:lnTo>
                  <a:lnTo>
                    <a:pt x="45" y="13"/>
                  </a:lnTo>
                  <a:lnTo>
                    <a:pt x="32" y="20"/>
                  </a:lnTo>
                  <a:lnTo>
                    <a:pt x="20" y="27"/>
                  </a:lnTo>
                  <a:lnTo>
                    <a:pt x="9" y="36"/>
                  </a:lnTo>
                  <a:lnTo>
                    <a:pt x="0" y="45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8" y="71"/>
                  </a:lnTo>
                  <a:lnTo>
                    <a:pt x="47" y="64"/>
                  </a:lnTo>
                  <a:lnTo>
                    <a:pt x="56" y="58"/>
                  </a:lnTo>
                  <a:lnTo>
                    <a:pt x="65" y="54"/>
                  </a:lnTo>
                  <a:lnTo>
                    <a:pt x="74" y="50"/>
                  </a:lnTo>
                  <a:lnTo>
                    <a:pt x="84" y="47"/>
                  </a:lnTo>
                  <a:lnTo>
                    <a:pt x="94" y="46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18" y="46"/>
                  </a:lnTo>
                  <a:lnTo>
                    <a:pt x="130" y="48"/>
                  </a:lnTo>
                  <a:lnTo>
                    <a:pt x="140" y="51"/>
                  </a:lnTo>
                  <a:lnTo>
                    <a:pt x="149" y="55"/>
                  </a:lnTo>
                  <a:lnTo>
                    <a:pt x="156" y="61"/>
                  </a:lnTo>
                  <a:lnTo>
                    <a:pt x="161" y="67"/>
                  </a:lnTo>
                  <a:lnTo>
                    <a:pt x="164" y="75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4" y="91"/>
                  </a:lnTo>
                  <a:lnTo>
                    <a:pt x="163" y="98"/>
                  </a:lnTo>
                  <a:lnTo>
                    <a:pt x="160" y="103"/>
                  </a:lnTo>
                  <a:lnTo>
                    <a:pt x="157" y="108"/>
                  </a:lnTo>
                  <a:lnTo>
                    <a:pt x="152" y="113"/>
                  </a:lnTo>
                  <a:lnTo>
                    <a:pt x="147" y="118"/>
                  </a:lnTo>
                  <a:lnTo>
                    <a:pt x="131" y="127"/>
                  </a:lnTo>
                  <a:lnTo>
                    <a:pt x="131" y="127"/>
                  </a:lnTo>
                  <a:lnTo>
                    <a:pt x="115" y="137"/>
                  </a:lnTo>
                  <a:lnTo>
                    <a:pt x="102" y="146"/>
                  </a:lnTo>
                  <a:lnTo>
                    <a:pt x="92" y="155"/>
                  </a:lnTo>
                  <a:lnTo>
                    <a:pt x="88" y="160"/>
                  </a:lnTo>
                  <a:lnTo>
                    <a:pt x="84" y="165"/>
                  </a:lnTo>
                  <a:lnTo>
                    <a:pt x="81" y="171"/>
                  </a:lnTo>
                  <a:lnTo>
                    <a:pt x="79" y="177"/>
                  </a:lnTo>
                  <a:lnTo>
                    <a:pt x="76" y="189"/>
                  </a:lnTo>
                  <a:lnTo>
                    <a:pt x="74" y="204"/>
                  </a:lnTo>
                  <a:lnTo>
                    <a:pt x="74" y="222"/>
                  </a:lnTo>
                  <a:lnTo>
                    <a:pt x="121" y="222"/>
                  </a:lnTo>
                  <a:lnTo>
                    <a:pt x="121" y="222"/>
                  </a:lnTo>
                  <a:lnTo>
                    <a:pt x="121" y="211"/>
                  </a:lnTo>
                  <a:lnTo>
                    <a:pt x="122" y="201"/>
                  </a:lnTo>
                  <a:lnTo>
                    <a:pt x="124" y="193"/>
                  </a:lnTo>
                  <a:lnTo>
                    <a:pt x="127" y="186"/>
                  </a:lnTo>
                  <a:lnTo>
                    <a:pt x="131" y="180"/>
                  </a:lnTo>
                  <a:lnTo>
                    <a:pt x="137" y="174"/>
                  </a:lnTo>
                  <a:lnTo>
                    <a:pt x="145" y="168"/>
                  </a:lnTo>
                  <a:lnTo>
                    <a:pt x="155" y="163"/>
                  </a:lnTo>
                  <a:lnTo>
                    <a:pt x="155" y="163"/>
                  </a:lnTo>
                  <a:lnTo>
                    <a:pt x="168" y="155"/>
                  </a:lnTo>
                  <a:lnTo>
                    <a:pt x="179" y="147"/>
                  </a:lnTo>
                  <a:lnTo>
                    <a:pt x="189" y="139"/>
                  </a:lnTo>
                  <a:lnTo>
                    <a:pt x="197" y="130"/>
                  </a:lnTo>
                  <a:lnTo>
                    <a:pt x="203" y="120"/>
                  </a:lnTo>
                  <a:lnTo>
                    <a:pt x="208" y="109"/>
                  </a:lnTo>
                  <a:lnTo>
                    <a:pt x="210" y="96"/>
                  </a:lnTo>
                  <a:lnTo>
                    <a:pt x="211" y="81"/>
                  </a:lnTo>
                  <a:lnTo>
                    <a:pt x="211" y="81"/>
                  </a:lnTo>
                  <a:close/>
                  <a:moveTo>
                    <a:pt x="130" y="282"/>
                  </a:moveTo>
                  <a:lnTo>
                    <a:pt x="130" y="282"/>
                  </a:lnTo>
                  <a:lnTo>
                    <a:pt x="129" y="276"/>
                  </a:lnTo>
                  <a:lnTo>
                    <a:pt x="127" y="269"/>
                  </a:lnTo>
                  <a:lnTo>
                    <a:pt x="124" y="264"/>
                  </a:lnTo>
                  <a:lnTo>
                    <a:pt x="120" y="259"/>
                  </a:lnTo>
                  <a:lnTo>
                    <a:pt x="115" y="255"/>
                  </a:lnTo>
                  <a:lnTo>
                    <a:pt x="110" y="252"/>
                  </a:lnTo>
                  <a:lnTo>
                    <a:pt x="104" y="250"/>
                  </a:lnTo>
                  <a:lnTo>
                    <a:pt x="97" y="249"/>
                  </a:lnTo>
                  <a:lnTo>
                    <a:pt x="97" y="249"/>
                  </a:lnTo>
                  <a:lnTo>
                    <a:pt x="91" y="250"/>
                  </a:lnTo>
                  <a:lnTo>
                    <a:pt x="85" y="252"/>
                  </a:lnTo>
                  <a:lnTo>
                    <a:pt x="79" y="255"/>
                  </a:lnTo>
                  <a:lnTo>
                    <a:pt x="74" y="259"/>
                  </a:lnTo>
                  <a:lnTo>
                    <a:pt x="70" y="264"/>
                  </a:lnTo>
                  <a:lnTo>
                    <a:pt x="67" y="269"/>
                  </a:lnTo>
                  <a:lnTo>
                    <a:pt x="65" y="276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65" y="289"/>
                  </a:lnTo>
                  <a:lnTo>
                    <a:pt x="67" y="295"/>
                  </a:lnTo>
                  <a:lnTo>
                    <a:pt x="70" y="301"/>
                  </a:lnTo>
                  <a:lnTo>
                    <a:pt x="74" y="305"/>
                  </a:lnTo>
                  <a:lnTo>
                    <a:pt x="79" y="309"/>
                  </a:lnTo>
                  <a:lnTo>
                    <a:pt x="85" y="312"/>
                  </a:lnTo>
                  <a:lnTo>
                    <a:pt x="91" y="314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104" y="314"/>
                  </a:lnTo>
                  <a:lnTo>
                    <a:pt x="110" y="312"/>
                  </a:lnTo>
                  <a:lnTo>
                    <a:pt x="115" y="309"/>
                  </a:lnTo>
                  <a:lnTo>
                    <a:pt x="120" y="305"/>
                  </a:lnTo>
                  <a:lnTo>
                    <a:pt x="124" y="301"/>
                  </a:lnTo>
                  <a:lnTo>
                    <a:pt x="127" y="295"/>
                  </a:lnTo>
                  <a:lnTo>
                    <a:pt x="129" y="289"/>
                  </a:lnTo>
                  <a:lnTo>
                    <a:pt x="130" y="282"/>
                  </a:lnTo>
                  <a:lnTo>
                    <a:pt x="130" y="2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0" name="Freeform 179"/>
            <p:cNvSpPr>
              <a:spLocks/>
            </p:cNvSpPr>
            <p:nvPr userDrawn="1"/>
          </p:nvSpPr>
          <p:spPr bwMode="auto">
            <a:xfrm>
              <a:off x="2019300" y="6122988"/>
              <a:ext cx="104775" cy="122238"/>
            </a:xfrm>
            <a:custGeom>
              <a:avLst/>
              <a:gdLst>
                <a:gd name="T0" fmla="*/ 120 w 264"/>
                <a:gd name="T1" fmla="*/ 305 h 305"/>
                <a:gd name="T2" fmla="*/ 264 w 264"/>
                <a:gd name="T3" fmla="*/ 0 h 305"/>
                <a:gd name="T4" fmla="*/ 212 w 264"/>
                <a:gd name="T5" fmla="*/ 0 h 305"/>
                <a:gd name="T6" fmla="*/ 170 w 264"/>
                <a:gd name="T7" fmla="*/ 98 h 305"/>
                <a:gd name="T8" fmla="*/ 170 w 264"/>
                <a:gd name="T9" fmla="*/ 98 h 305"/>
                <a:gd name="T10" fmla="*/ 154 w 264"/>
                <a:gd name="T11" fmla="*/ 136 h 305"/>
                <a:gd name="T12" fmla="*/ 141 w 264"/>
                <a:gd name="T13" fmla="*/ 167 h 305"/>
                <a:gd name="T14" fmla="*/ 141 w 264"/>
                <a:gd name="T15" fmla="*/ 167 h 305"/>
                <a:gd name="T16" fmla="*/ 126 w 264"/>
                <a:gd name="T17" fmla="*/ 135 h 305"/>
                <a:gd name="T18" fmla="*/ 107 w 264"/>
                <a:gd name="T19" fmla="*/ 97 h 305"/>
                <a:gd name="T20" fmla="*/ 57 w 264"/>
                <a:gd name="T21" fmla="*/ 0 h 305"/>
                <a:gd name="T22" fmla="*/ 0 w 264"/>
                <a:gd name="T23" fmla="*/ 0 h 305"/>
                <a:gd name="T24" fmla="*/ 115 w 264"/>
                <a:gd name="T25" fmla="*/ 213 h 305"/>
                <a:gd name="T26" fmla="*/ 69 w 264"/>
                <a:gd name="T27" fmla="*/ 305 h 305"/>
                <a:gd name="T28" fmla="*/ 120 w 264"/>
                <a:gd name="T29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305">
                  <a:moveTo>
                    <a:pt x="120" y="305"/>
                  </a:moveTo>
                  <a:lnTo>
                    <a:pt x="264" y="0"/>
                  </a:lnTo>
                  <a:lnTo>
                    <a:pt x="212" y="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54" y="136"/>
                  </a:lnTo>
                  <a:lnTo>
                    <a:pt x="141" y="167"/>
                  </a:lnTo>
                  <a:lnTo>
                    <a:pt x="141" y="167"/>
                  </a:lnTo>
                  <a:lnTo>
                    <a:pt x="126" y="135"/>
                  </a:lnTo>
                  <a:lnTo>
                    <a:pt x="107" y="97"/>
                  </a:lnTo>
                  <a:lnTo>
                    <a:pt x="57" y="0"/>
                  </a:lnTo>
                  <a:lnTo>
                    <a:pt x="0" y="0"/>
                  </a:lnTo>
                  <a:lnTo>
                    <a:pt x="115" y="213"/>
                  </a:lnTo>
                  <a:lnTo>
                    <a:pt x="69" y="305"/>
                  </a:lnTo>
                  <a:lnTo>
                    <a:pt x="120" y="3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1" name="Freeform 180"/>
            <p:cNvSpPr>
              <a:spLocks/>
            </p:cNvSpPr>
            <p:nvPr userDrawn="1"/>
          </p:nvSpPr>
          <p:spPr bwMode="auto">
            <a:xfrm>
              <a:off x="2182813" y="6153151"/>
              <a:ext cx="73025" cy="92075"/>
            </a:xfrm>
            <a:custGeom>
              <a:avLst/>
              <a:gdLst>
                <a:gd name="T0" fmla="*/ 139 w 184"/>
                <a:gd name="T1" fmla="*/ 0 h 229"/>
                <a:gd name="T2" fmla="*/ 139 w 184"/>
                <a:gd name="T3" fmla="*/ 88 h 229"/>
                <a:gd name="T4" fmla="*/ 45 w 184"/>
                <a:gd name="T5" fmla="*/ 88 h 229"/>
                <a:gd name="T6" fmla="*/ 45 w 184"/>
                <a:gd name="T7" fmla="*/ 0 h 229"/>
                <a:gd name="T8" fmla="*/ 0 w 184"/>
                <a:gd name="T9" fmla="*/ 0 h 229"/>
                <a:gd name="T10" fmla="*/ 0 w 184"/>
                <a:gd name="T11" fmla="*/ 229 h 229"/>
                <a:gd name="T12" fmla="*/ 45 w 184"/>
                <a:gd name="T13" fmla="*/ 229 h 229"/>
                <a:gd name="T14" fmla="*/ 45 w 184"/>
                <a:gd name="T15" fmla="*/ 127 h 229"/>
                <a:gd name="T16" fmla="*/ 139 w 184"/>
                <a:gd name="T17" fmla="*/ 127 h 229"/>
                <a:gd name="T18" fmla="*/ 139 w 184"/>
                <a:gd name="T19" fmla="*/ 229 h 229"/>
                <a:gd name="T20" fmla="*/ 184 w 184"/>
                <a:gd name="T21" fmla="*/ 229 h 229"/>
                <a:gd name="T22" fmla="*/ 184 w 184"/>
                <a:gd name="T23" fmla="*/ 0 h 229"/>
                <a:gd name="T24" fmla="*/ 139 w 184"/>
                <a:gd name="T25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29">
                  <a:moveTo>
                    <a:pt x="139" y="0"/>
                  </a:moveTo>
                  <a:lnTo>
                    <a:pt x="139" y="88"/>
                  </a:lnTo>
                  <a:lnTo>
                    <a:pt x="45" y="88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29"/>
                  </a:lnTo>
                  <a:lnTo>
                    <a:pt x="45" y="229"/>
                  </a:lnTo>
                  <a:lnTo>
                    <a:pt x="45" y="127"/>
                  </a:lnTo>
                  <a:lnTo>
                    <a:pt x="139" y="127"/>
                  </a:lnTo>
                  <a:lnTo>
                    <a:pt x="139" y="229"/>
                  </a:lnTo>
                  <a:lnTo>
                    <a:pt x="184" y="229"/>
                  </a:lnTo>
                  <a:lnTo>
                    <a:pt x="184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2" name="Freeform 181"/>
            <p:cNvSpPr>
              <a:spLocks noEditPoints="1"/>
            </p:cNvSpPr>
            <p:nvPr userDrawn="1"/>
          </p:nvSpPr>
          <p:spPr bwMode="auto">
            <a:xfrm>
              <a:off x="2274888" y="6151563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8 h 239"/>
                <a:gd name="T4" fmla="*/ 184 w 187"/>
                <a:gd name="T5" fmla="*/ 51 h 239"/>
                <a:gd name="T6" fmla="*/ 178 w 187"/>
                <a:gd name="T7" fmla="*/ 36 h 239"/>
                <a:gd name="T8" fmla="*/ 169 w 187"/>
                <a:gd name="T9" fmla="*/ 24 h 239"/>
                <a:gd name="T10" fmla="*/ 158 w 187"/>
                <a:gd name="T11" fmla="*/ 15 h 239"/>
                <a:gd name="T12" fmla="*/ 143 w 187"/>
                <a:gd name="T13" fmla="*/ 8 h 239"/>
                <a:gd name="T14" fmla="*/ 127 w 187"/>
                <a:gd name="T15" fmla="*/ 3 h 239"/>
                <a:gd name="T16" fmla="*/ 110 w 187"/>
                <a:gd name="T17" fmla="*/ 1 h 239"/>
                <a:gd name="T18" fmla="*/ 101 w 187"/>
                <a:gd name="T19" fmla="*/ 0 h 239"/>
                <a:gd name="T20" fmla="*/ 78 w 187"/>
                <a:gd name="T21" fmla="*/ 2 h 239"/>
                <a:gd name="T22" fmla="*/ 57 w 187"/>
                <a:gd name="T23" fmla="*/ 6 h 239"/>
                <a:gd name="T24" fmla="*/ 39 w 187"/>
                <a:gd name="T25" fmla="*/ 12 h 239"/>
                <a:gd name="T26" fmla="*/ 22 w 187"/>
                <a:gd name="T27" fmla="*/ 21 h 239"/>
                <a:gd name="T28" fmla="*/ 39 w 187"/>
                <a:gd name="T29" fmla="*/ 55 h 239"/>
                <a:gd name="T30" fmla="*/ 67 w 187"/>
                <a:gd name="T31" fmla="*/ 44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2 w 187"/>
                <a:gd name="T41" fmla="*/ 70 h 239"/>
                <a:gd name="T42" fmla="*/ 142 w 187"/>
                <a:gd name="T43" fmla="*/ 96 h 239"/>
                <a:gd name="T44" fmla="*/ 133 w 187"/>
                <a:gd name="T45" fmla="*/ 93 h 239"/>
                <a:gd name="T46" fmla="*/ 108 w 187"/>
                <a:gd name="T47" fmla="*/ 88 h 239"/>
                <a:gd name="T48" fmla="*/ 91 w 187"/>
                <a:gd name="T49" fmla="*/ 88 h 239"/>
                <a:gd name="T50" fmla="*/ 64 w 187"/>
                <a:gd name="T51" fmla="*/ 90 h 239"/>
                <a:gd name="T52" fmla="*/ 47 w 187"/>
                <a:gd name="T53" fmla="*/ 94 h 239"/>
                <a:gd name="T54" fmla="*/ 33 w 187"/>
                <a:gd name="T55" fmla="*/ 101 h 239"/>
                <a:gd name="T56" fmla="*/ 21 w 187"/>
                <a:gd name="T57" fmla="*/ 110 h 239"/>
                <a:gd name="T58" fmla="*/ 11 w 187"/>
                <a:gd name="T59" fmla="*/ 122 h 239"/>
                <a:gd name="T60" fmla="*/ 4 w 187"/>
                <a:gd name="T61" fmla="*/ 136 h 239"/>
                <a:gd name="T62" fmla="*/ 1 w 187"/>
                <a:gd name="T63" fmla="*/ 152 h 239"/>
                <a:gd name="T64" fmla="*/ 0 w 187"/>
                <a:gd name="T65" fmla="*/ 162 h 239"/>
                <a:gd name="T66" fmla="*/ 2 w 187"/>
                <a:gd name="T67" fmla="*/ 181 h 239"/>
                <a:gd name="T68" fmla="*/ 7 w 187"/>
                <a:gd name="T69" fmla="*/ 197 h 239"/>
                <a:gd name="T70" fmla="*/ 16 w 187"/>
                <a:gd name="T71" fmla="*/ 211 h 239"/>
                <a:gd name="T72" fmla="*/ 26 w 187"/>
                <a:gd name="T73" fmla="*/ 221 h 239"/>
                <a:gd name="T74" fmla="*/ 38 w 187"/>
                <a:gd name="T75" fmla="*/ 229 h 239"/>
                <a:gd name="T76" fmla="*/ 52 w 187"/>
                <a:gd name="T77" fmla="*/ 235 h 239"/>
                <a:gd name="T78" fmla="*/ 80 w 187"/>
                <a:gd name="T79" fmla="*/ 239 h 239"/>
                <a:gd name="T80" fmla="*/ 91 w 187"/>
                <a:gd name="T81" fmla="*/ 238 h 239"/>
                <a:gd name="T82" fmla="*/ 109 w 187"/>
                <a:gd name="T83" fmla="*/ 234 h 239"/>
                <a:gd name="T84" fmla="*/ 116 w 187"/>
                <a:gd name="T85" fmla="*/ 231 h 239"/>
                <a:gd name="T86" fmla="*/ 134 w 187"/>
                <a:gd name="T87" fmla="*/ 218 h 239"/>
                <a:gd name="T88" fmla="*/ 142 w 187"/>
                <a:gd name="T89" fmla="*/ 234 h 239"/>
                <a:gd name="T90" fmla="*/ 142 w 187"/>
                <a:gd name="T91" fmla="*/ 169 h 239"/>
                <a:gd name="T92" fmla="*/ 138 w 187"/>
                <a:gd name="T93" fmla="*/ 174 h 239"/>
                <a:gd name="T94" fmla="*/ 127 w 187"/>
                <a:gd name="T95" fmla="*/ 185 h 239"/>
                <a:gd name="T96" fmla="*/ 112 w 187"/>
                <a:gd name="T97" fmla="*/ 193 h 239"/>
                <a:gd name="T98" fmla="*/ 96 w 187"/>
                <a:gd name="T99" fmla="*/ 198 h 239"/>
                <a:gd name="T100" fmla="*/ 87 w 187"/>
                <a:gd name="T101" fmla="*/ 198 h 239"/>
                <a:gd name="T102" fmla="*/ 69 w 187"/>
                <a:gd name="T103" fmla="*/ 196 h 239"/>
                <a:gd name="T104" fmla="*/ 56 w 187"/>
                <a:gd name="T105" fmla="*/ 189 h 239"/>
                <a:gd name="T106" fmla="*/ 51 w 187"/>
                <a:gd name="T107" fmla="*/ 184 h 239"/>
                <a:gd name="T108" fmla="*/ 44 w 187"/>
                <a:gd name="T109" fmla="*/ 170 h 239"/>
                <a:gd name="T110" fmla="*/ 43 w 187"/>
                <a:gd name="T111" fmla="*/ 160 h 239"/>
                <a:gd name="T112" fmla="*/ 46 w 187"/>
                <a:gd name="T113" fmla="*/ 146 h 239"/>
                <a:gd name="T114" fmla="*/ 56 w 187"/>
                <a:gd name="T115" fmla="*/ 136 h 239"/>
                <a:gd name="T116" fmla="*/ 70 w 187"/>
                <a:gd name="T117" fmla="*/ 129 h 239"/>
                <a:gd name="T118" fmla="*/ 90 w 187"/>
                <a:gd name="T119" fmla="*/ 126 h 239"/>
                <a:gd name="T120" fmla="*/ 107 w 187"/>
                <a:gd name="T121" fmla="*/ 127 h 239"/>
                <a:gd name="T122" fmla="*/ 120 w 187"/>
                <a:gd name="T123" fmla="*/ 129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4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8"/>
                  </a:lnTo>
                  <a:lnTo>
                    <a:pt x="186" y="59"/>
                  </a:lnTo>
                  <a:lnTo>
                    <a:pt x="184" y="51"/>
                  </a:lnTo>
                  <a:lnTo>
                    <a:pt x="181" y="43"/>
                  </a:lnTo>
                  <a:lnTo>
                    <a:pt x="178" y="36"/>
                  </a:lnTo>
                  <a:lnTo>
                    <a:pt x="174" y="30"/>
                  </a:lnTo>
                  <a:lnTo>
                    <a:pt x="169" y="24"/>
                  </a:lnTo>
                  <a:lnTo>
                    <a:pt x="164" y="19"/>
                  </a:lnTo>
                  <a:lnTo>
                    <a:pt x="158" y="15"/>
                  </a:lnTo>
                  <a:lnTo>
                    <a:pt x="150" y="11"/>
                  </a:lnTo>
                  <a:lnTo>
                    <a:pt x="143" y="8"/>
                  </a:lnTo>
                  <a:lnTo>
                    <a:pt x="135" y="5"/>
                  </a:lnTo>
                  <a:lnTo>
                    <a:pt x="127" y="3"/>
                  </a:lnTo>
                  <a:lnTo>
                    <a:pt x="119" y="2"/>
                  </a:lnTo>
                  <a:lnTo>
                    <a:pt x="110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7" y="3"/>
                  </a:lnTo>
                  <a:lnTo>
                    <a:pt x="57" y="6"/>
                  </a:lnTo>
                  <a:lnTo>
                    <a:pt x="48" y="8"/>
                  </a:lnTo>
                  <a:lnTo>
                    <a:pt x="39" y="12"/>
                  </a:lnTo>
                  <a:lnTo>
                    <a:pt x="30" y="16"/>
                  </a:lnTo>
                  <a:lnTo>
                    <a:pt x="22" y="21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53" y="48"/>
                  </a:lnTo>
                  <a:lnTo>
                    <a:pt x="67" y="44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1" y="51"/>
                  </a:lnTo>
                  <a:lnTo>
                    <a:pt x="136" y="56"/>
                  </a:lnTo>
                  <a:lnTo>
                    <a:pt x="140" y="63"/>
                  </a:lnTo>
                  <a:lnTo>
                    <a:pt x="142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3"/>
                  </a:lnTo>
                  <a:lnTo>
                    <a:pt x="122" y="90"/>
                  </a:lnTo>
                  <a:lnTo>
                    <a:pt x="108" y="88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73" y="89"/>
                  </a:lnTo>
                  <a:lnTo>
                    <a:pt x="64" y="90"/>
                  </a:lnTo>
                  <a:lnTo>
                    <a:pt x="55" y="92"/>
                  </a:lnTo>
                  <a:lnTo>
                    <a:pt x="47" y="94"/>
                  </a:lnTo>
                  <a:lnTo>
                    <a:pt x="40" y="98"/>
                  </a:lnTo>
                  <a:lnTo>
                    <a:pt x="33" y="101"/>
                  </a:lnTo>
                  <a:lnTo>
                    <a:pt x="26" y="105"/>
                  </a:lnTo>
                  <a:lnTo>
                    <a:pt x="21" y="110"/>
                  </a:lnTo>
                  <a:lnTo>
                    <a:pt x="15" y="116"/>
                  </a:lnTo>
                  <a:lnTo>
                    <a:pt x="11" y="122"/>
                  </a:lnTo>
                  <a:lnTo>
                    <a:pt x="7" y="129"/>
                  </a:lnTo>
                  <a:lnTo>
                    <a:pt x="4" y="136"/>
                  </a:lnTo>
                  <a:lnTo>
                    <a:pt x="2" y="144"/>
                  </a:lnTo>
                  <a:lnTo>
                    <a:pt x="1" y="152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1" y="172"/>
                  </a:lnTo>
                  <a:lnTo>
                    <a:pt x="2" y="181"/>
                  </a:lnTo>
                  <a:lnTo>
                    <a:pt x="4" y="190"/>
                  </a:lnTo>
                  <a:lnTo>
                    <a:pt x="7" y="197"/>
                  </a:lnTo>
                  <a:lnTo>
                    <a:pt x="11" y="204"/>
                  </a:lnTo>
                  <a:lnTo>
                    <a:pt x="16" y="211"/>
                  </a:lnTo>
                  <a:lnTo>
                    <a:pt x="21" y="216"/>
                  </a:lnTo>
                  <a:lnTo>
                    <a:pt x="26" y="221"/>
                  </a:lnTo>
                  <a:lnTo>
                    <a:pt x="32" y="226"/>
                  </a:lnTo>
                  <a:lnTo>
                    <a:pt x="38" y="229"/>
                  </a:lnTo>
                  <a:lnTo>
                    <a:pt x="45" y="232"/>
                  </a:lnTo>
                  <a:lnTo>
                    <a:pt x="52" y="235"/>
                  </a:lnTo>
                  <a:lnTo>
                    <a:pt x="66" y="238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91" y="238"/>
                  </a:lnTo>
                  <a:lnTo>
                    <a:pt x="100" y="236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3"/>
                  </a:lnTo>
                  <a:lnTo>
                    <a:pt x="134" y="218"/>
                  </a:lnTo>
                  <a:lnTo>
                    <a:pt x="142" y="211"/>
                  </a:lnTo>
                  <a:lnTo>
                    <a:pt x="142" y="234"/>
                  </a:lnTo>
                  <a:lnTo>
                    <a:pt x="187" y="234"/>
                  </a:lnTo>
                  <a:close/>
                  <a:moveTo>
                    <a:pt x="142" y="169"/>
                  </a:moveTo>
                  <a:lnTo>
                    <a:pt x="142" y="169"/>
                  </a:lnTo>
                  <a:lnTo>
                    <a:pt x="138" y="174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89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6" y="198"/>
                  </a:lnTo>
                  <a:lnTo>
                    <a:pt x="87" y="198"/>
                  </a:lnTo>
                  <a:lnTo>
                    <a:pt x="87" y="198"/>
                  </a:lnTo>
                  <a:lnTo>
                    <a:pt x="77" y="198"/>
                  </a:lnTo>
                  <a:lnTo>
                    <a:pt x="69" y="196"/>
                  </a:lnTo>
                  <a:lnTo>
                    <a:pt x="62" y="193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1" y="184"/>
                  </a:lnTo>
                  <a:lnTo>
                    <a:pt x="47" y="178"/>
                  </a:lnTo>
                  <a:lnTo>
                    <a:pt x="44" y="170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4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6" y="136"/>
                  </a:lnTo>
                  <a:lnTo>
                    <a:pt x="62" y="132"/>
                  </a:lnTo>
                  <a:lnTo>
                    <a:pt x="70" y="129"/>
                  </a:lnTo>
                  <a:lnTo>
                    <a:pt x="80" y="127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7" y="127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31" y="132"/>
                  </a:lnTo>
                  <a:lnTo>
                    <a:pt x="142" y="136"/>
                  </a:lnTo>
                  <a:lnTo>
                    <a:pt x="142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3" name="Freeform 182"/>
            <p:cNvSpPr>
              <a:spLocks/>
            </p:cNvSpPr>
            <p:nvPr userDrawn="1"/>
          </p:nvSpPr>
          <p:spPr bwMode="auto">
            <a:xfrm>
              <a:off x="2366963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4" name="Freeform 183"/>
            <p:cNvSpPr>
              <a:spLocks noEditPoints="1"/>
            </p:cNvSpPr>
            <p:nvPr userDrawn="1"/>
          </p:nvSpPr>
          <p:spPr bwMode="auto">
            <a:xfrm>
              <a:off x="2497138" y="6151563"/>
              <a:ext cx="77788" cy="95250"/>
            </a:xfrm>
            <a:custGeom>
              <a:avLst/>
              <a:gdLst>
                <a:gd name="T0" fmla="*/ 198 w 198"/>
                <a:gd name="T1" fmla="*/ 115 h 239"/>
                <a:gd name="T2" fmla="*/ 197 w 198"/>
                <a:gd name="T3" fmla="*/ 92 h 239"/>
                <a:gd name="T4" fmla="*/ 192 w 198"/>
                <a:gd name="T5" fmla="*/ 71 h 239"/>
                <a:gd name="T6" fmla="*/ 185 w 198"/>
                <a:gd name="T7" fmla="*/ 52 h 239"/>
                <a:gd name="T8" fmla="*/ 174 w 198"/>
                <a:gd name="T9" fmla="*/ 34 h 239"/>
                <a:gd name="T10" fmla="*/ 161 w 198"/>
                <a:gd name="T11" fmla="*/ 20 h 239"/>
                <a:gd name="T12" fmla="*/ 144 w 198"/>
                <a:gd name="T13" fmla="*/ 10 h 239"/>
                <a:gd name="T14" fmla="*/ 125 w 198"/>
                <a:gd name="T15" fmla="*/ 3 h 239"/>
                <a:gd name="T16" fmla="*/ 102 w 198"/>
                <a:gd name="T17" fmla="*/ 0 h 239"/>
                <a:gd name="T18" fmla="*/ 90 w 198"/>
                <a:gd name="T19" fmla="*/ 1 h 239"/>
                <a:gd name="T20" fmla="*/ 69 w 198"/>
                <a:gd name="T21" fmla="*/ 5 h 239"/>
                <a:gd name="T22" fmla="*/ 51 w 198"/>
                <a:gd name="T23" fmla="*/ 12 h 239"/>
                <a:gd name="T24" fmla="*/ 35 w 198"/>
                <a:gd name="T25" fmla="*/ 24 h 239"/>
                <a:gd name="T26" fmla="*/ 22 w 198"/>
                <a:gd name="T27" fmla="*/ 39 h 239"/>
                <a:gd name="T28" fmla="*/ 12 w 198"/>
                <a:gd name="T29" fmla="*/ 58 h 239"/>
                <a:gd name="T30" fmla="*/ 5 w 198"/>
                <a:gd name="T31" fmla="*/ 80 h 239"/>
                <a:gd name="T32" fmla="*/ 1 w 198"/>
                <a:gd name="T33" fmla="*/ 106 h 239"/>
                <a:gd name="T34" fmla="*/ 0 w 198"/>
                <a:gd name="T35" fmla="*/ 120 h 239"/>
                <a:gd name="T36" fmla="*/ 3 w 198"/>
                <a:gd name="T37" fmla="*/ 148 h 239"/>
                <a:gd name="T38" fmla="*/ 9 w 198"/>
                <a:gd name="T39" fmla="*/ 172 h 239"/>
                <a:gd name="T40" fmla="*/ 19 w 198"/>
                <a:gd name="T41" fmla="*/ 193 h 239"/>
                <a:gd name="T42" fmla="*/ 31 w 198"/>
                <a:gd name="T43" fmla="*/ 209 h 239"/>
                <a:gd name="T44" fmla="*/ 37 w 198"/>
                <a:gd name="T45" fmla="*/ 215 h 239"/>
                <a:gd name="T46" fmla="*/ 51 w 198"/>
                <a:gd name="T47" fmla="*/ 226 h 239"/>
                <a:gd name="T48" fmla="*/ 68 w 198"/>
                <a:gd name="T49" fmla="*/ 234 h 239"/>
                <a:gd name="T50" fmla="*/ 88 w 198"/>
                <a:gd name="T51" fmla="*/ 238 h 239"/>
                <a:gd name="T52" fmla="*/ 100 w 198"/>
                <a:gd name="T53" fmla="*/ 239 h 239"/>
                <a:gd name="T54" fmla="*/ 126 w 198"/>
                <a:gd name="T55" fmla="*/ 237 h 239"/>
                <a:gd name="T56" fmla="*/ 146 w 198"/>
                <a:gd name="T57" fmla="*/ 231 h 239"/>
                <a:gd name="T58" fmla="*/ 155 w 198"/>
                <a:gd name="T59" fmla="*/ 227 h 239"/>
                <a:gd name="T60" fmla="*/ 171 w 198"/>
                <a:gd name="T61" fmla="*/ 216 h 239"/>
                <a:gd name="T62" fmla="*/ 153 w 198"/>
                <a:gd name="T63" fmla="*/ 180 h 239"/>
                <a:gd name="T64" fmla="*/ 141 w 198"/>
                <a:gd name="T65" fmla="*/ 188 h 239"/>
                <a:gd name="T66" fmla="*/ 130 w 198"/>
                <a:gd name="T67" fmla="*/ 193 h 239"/>
                <a:gd name="T68" fmla="*/ 117 w 198"/>
                <a:gd name="T69" fmla="*/ 197 h 239"/>
                <a:gd name="T70" fmla="*/ 103 w 198"/>
                <a:gd name="T71" fmla="*/ 198 h 239"/>
                <a:gd name="T72" fmla="*/ 93 w 198"/>
                <a:gd name="T73" fmla="*/ 197 h 239"/>
                <a:gd name="T74" fmla="*/ 73 w 198"/>
                <a:gd name="T75" fmla="*/ 190 h 239"/>
                <a:gd name="T76" fmla="*/ 58 w 198"/>
                <a:gd name="T77" fmla="*/ 175 h 239"/>
                <a:gd name="T78" fmla="*/ 47 w 198"/>
                <a:gd name="T79" fmla="*/ 151 h 239"/>
                <a:gd name="T80" fmla="*/ 197 w 198"/>
                <a:gd name="T81" fmla="*/ 136 h 239"/>
                <a:gd name="T82" fmla="*/ 198 w 198"/>
                <a:gd name="T83" fmla="*/ 127 h 239"/>
                <a:gd name="T84" fmla="*/ 198 w 198"/>
                <a:gd name="T85" fmla="*/ 115 h 239"/>
                <a:gd name="T86" fmla="*/ 45 w 198"/>
                <a:gd name="T87" fmla="*/ 98 h 239"/>
                <a:gd name="T88" fmla="*/ 51 w 198"/>
                <a:gd name="T89" fmla="*/ 74 h 239"/>
                <a:gd name="T90" fmla="*/ 61 w 198"/>
                <a:gd name="T91" fmla="*/ 56 h 239"/>
                <a:gd name="T92" fmla="*/ 77 w 198"/>
                <a:gd name="T93" fmla="*/ 45 h 239"/>
                <a:gd name="T94" fmla="*/ 99 w 198"/>
                <a:gd name="T95" fmla="*/ 41 h 239"/>
                <a:gd name="T96" fmla="*/ 105 w 198"/>
                <a:gd name="T97" fmla="*/ 41 h 239"/>
                <a:gd name="T98" fmla="*/ 117 w 198"/>
                <a:gd name="T99" fmla="*/ 44 h 239"/>
                <a:gd name="T100" fmla="*/ 127 w 198"/>
                <a:gd name="T101" fmla="*/ 48 h 239"/>
                <a:gd name="T102" fmla="*/ 139 w 198"/>
                <a:gd name="T103" fmla="*/ 58 h 239"/>
                <a:gd name="T104" fmla="*/ 149 w 198"/>
                <a:gd name="T105" fmla="*/ 76 h 239"/>
                <a:gd name="T106" fmla="*/ 153 w 198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8" h="239">
                  <a:moveTo>
                    <a:pt x="198" y="115"/>
                  </a:moveTo>
                  <a:lnTo>
                    <a:pt x="198" y="115"/>
                  </a:lnTo>
                  <a:lnTo>
                    <a:pt x="198" y="104"/>
                  </a:lnTo>
                  <a:lnTo>
                    <a:pt x="197" y="92"/>
                  </a:lnTo>
                  <a:lnTo>
                    <a:pt x="195" y="81"/>
                  </a:lnTo>
                  <a:lnTo>
                    <a:pt x="192" y="71"/>
                  </a:lnTo>
                  <a:lnTo>
                    <a:pt x="189" y="61"/>
                  </a:lnTo>
                  <a:lnTo>
                    <a:pt x="185" y="52"/>
                  </a:lnTo>
                  <a:lnTo>
                    <a:pt x="180" y="43"/>
                  </a:lnTo>
                  <a:lnTo>
                    <a:pt x="174" y="34"/>
                  </a:lnTo>
                  <a:lnTo>
                    <a:pt x="168" y="27"/>
                  </a:lnTo>
                  <a:lnTo>
                    <a:pt x="161" y="20"/>
                  </a:lnTo>
                  <a:lnTo>
                    <a:pt x="153" y="14"/>
                  </a:lnTo>
                  <a:lnTo>
                    <a:pt x="144" y="10"/>
                  </a:lnTo>
                  <a:lnTo>
                    <a:pt x="135" y="6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69" y="5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2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8"/>
                  </a:lnTo>
                  <a:lnTo>
                    <a:pt x="5" y="80"/>
                  </a:lnTo>
                  <a:lnTo>
                    <a:pt x="2" y="92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4"/>
                  </a:lnTo>
                  <a:lnTo>
                    <a:pt x="3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4" y="183"/>
                  </a:lnTo>
                  <a:lnTo>
                    <a:pt x="19" y="193"/>
                  </a:lnTo>
                  <a:lnTo>
                    <a:pt x="25" y="201"/>
                  </a:lnTo>
                  <a:lnTo>
                    <a:pt x="31" y="209"/>
                  </a:lnTo>
                  <a:lnTo>
                    <a:pt x="31" y="209"/>
                  </a:lnTo>
                  <a:lnTo>
                    <a:pt x="37" y="215"/>
                  </a:lnTo>
                  <a:lnTo>
                    <a:pt x="44" y="220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6"/>
                  </a:lnTo>
                  <a:lnTo>
                    <a:pt x="88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4" y="238"/>
                  </a:lnTo>
                  <a:lnTo>
                    <a:pt x="126" y="237"/>
                  </a:lnTo>
                  <a:lnTo>
                    <a:pt x="137" y="234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5" y="227"/>
                  </a:lnTo>
                  <a:lnTo>
                    <a:pt x="163" y="222"/>
                  </a:lnTo>
                  <a:lnTo>
                    <a:pt x="171" y="216"/>
                  </a:lnTo>
                  <a:lnTo>
                    <a:pt x="179" y="209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41" y="188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24" y="195"/>
                  </a:lnTo>
                  <a:lnTo>
                    <a:pt x="117" y="197"/>
                  </a:lnTo>
                  <a:lnTo>
                    <a:pt x="110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93" y="197"/>
                  </a:lnTo>
                  <a:lnTo>
                    <a:pt x="82" y="195"/>
                  </a:lnTo>
                  <a:lnTo>
                    <a:pt x="73" y="190"/>
                  </a:lnTo>
                  <a:lnTo>
                    <a:pt x="65" y="183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7" y="151"/>
                  </a:lnTo>
                  <a:lnTo>
                    <a:pt x="45" y="136"/>
                  </a:lnTo>
                  <a:lnTo>
                    <a:pt x="197" y="136"/>
                  </a:lnTo>
                  <a:lnTo>
                    <a:pt x="197" y="136"/>
                  </a:lnTo>
                  <a:lnTo>
                    <a:pt x="198" y="127"/>
                  </a:lnTo>
                  <a:lnTo>
                    <a:pt x="198" y="115"/>
                  </a:lnTo>
                  <a:lnTo>
                    <a:pt x="198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1" y="74"/>
                  </a:lnTo>
                  <a:lnTo>
                    <a:pt x="56" y="64"/>
                  </a:lnTo>
                  <a:lnTo>
                    <a:pt x="61" y="56"/>
                  </a:lnTo>
                  <a:lnTo>
                    <a:pt x="69" y="49"/>
                  </a:lnTo>
                  <a:lnTo>
                    <a:pt x="77" y="45"/>
                  </a:lnTo>
                  <a:lnTo>
                    <a:pt x="87" y="42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105" y="41"/>
                  </a:lnTo>
                  <a:lnTo>
                    <a:pt x="112" y="42"/>
                  </a:lnTo>
                  <a:lnTo>
                    <a:pt x="117" y="44"/>
                  </a:lnTo>
                  <a:lnTo>
                    <a:pt x="122" y="45"/>
                  </a:lnTo>
                  <a:lnTo>
                    <a:pt x="127" y="48"/>
                  </a:lnTo>
                  <a:lnTo>
                    <a:pt x="132" y="51"/>
                  </a:lnTo>
                  <a:lnTo>
                    <a:pt x="139" y="58"/>
                  </a:lnTo>
                  <a:lnTo>
                    <a:pt x="144" y="66"/>
                  </a:lnTo>
                  <a:lnTo>
                    <a:pt x="149" y="76"/>
                  </a:lnTo>
                  <a:lnTo>
                    <a:pt x="151" y="87"/>
                  </a:lnTo>
                  <a:lnTo>
                    <a:pt x="153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5" name="Freeform 184"/>
            <p:cNvSpPr>
              <a:spLocks/>
            </p:cNvSpPr>
            <p:nvPr userDrawn="1"/>
          </p:nvSpPr>
          <p:spPr bwMode="auto">
            <a:xfrm>
              <a:off x="2590800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6" name="Freeform 185"/>
            <p:cNvSpPr>
              <a:spLocks/>
            </p:cNvSpPr>
            <p:nvPr userDrawn="1"/>
          </p:nvSpPr>
          <p:spPr bwMode="auto">
            <a:xfrm>
              <a:off x="2671763" y="6153151"/>
              <a:ext cx="73025" cy="92075"/>
            </a:xfrm>
            <a:custGeom>
              <a:avLst/>
              <a:gdLst>
                <a:gd name="T0" fmla="*/ 185 w 185"/>
                <a:gd name="T1" fmla="*/ 39 h 229"/>
                <a:gd name="T2" fmla="*/ 185 w 185"/>
                <a:gd name="T3" fmla="*/ 0 h 229"/>
                <a:gd name="T4" fmla="*/ 0 w 185"/>
                <a:gd name="T5" fmla="*/ 0 h 229"/>
                <a:gd name="T6" fmla="*/ 0 w 185"/>
                <a:gd name="T7" fmla="*/ 39 h 229"/>
                <a:gd name="T8" fmla="*/ 69 w 185"/>
                <a:gd name="T9" fmla="*/ 39 h 229"/>
                <a:gd name="T10" fmla="*/ 69 w 185"/>
                <a:gd name="T11" fmla="*/ 229 h 229"/>
                <a:gd name="T12" fmla="*/ 114 w 185"/>
                <a:gd name="T13" fmla="*/ 229 h 229"/>
                <a:gd name="T14" fmla="*/ 114 w 185"/>
                <a:gd name="T15" fmla="*/ 39 h 229"/>
                <a:gd name="T16" fmla="*/ 185 w 185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185" y="39"/>
                  </a:moveTo>
                  <a:lnTo>
                    <a:pt x="185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9" y="39"/>
                  </a:lnTo>
                  <a:lnTo>
                    <a:pt x="69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5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 userDrawn="1"/>
          </p:nvSpPr>
          <p:spPr bwMode="auto">
            <a:xfrm>
              <a:off x="2757488" y="6153151"/>
              <a:ext cx="74613" cy="92075"/>
            </a:xfrm>
            <a:custGeom>
              <a:avLst/>
              <a:gdLst>
                <a:gd name="T0" fmla="*/ 45 w 184"/>
                <a:gd name="T1" fmla="*/ 0 h 229"/>
                <a:gd name="T2" fmla="*/ 0 w 184"/>
                <a:gd name="T3" fmla="*/ 0 h 229"/>
                <a:gd name="T4" fmla="*/ 0 w 184"/>
                <a:gd name="T5" fmla="*/ 229 h 229"/>
                <a:gd name="T6" fmla="*/ 106 w 184"/>
                <a:gd name="T7" fmla="*/ 229 h 229"/>
                <a:gd name="T8" fmla="*/ 106 w 184"/>
                <a:gd name="T9" fmla="*/ 229 h 229"/>
                <a:gd name="T10" fmla="*/ 114 w 184"/>
                <a:gd name="T11" fmla="*/ 229 h 229"/>
                <a:gd name="T12" fmla="*/ 122 w 184"/>
                <a:gd name="T13" fmla="*/ 228 h 229"/>
                <a:gd name="T14" fmla="*/ 130 w 184"/>
                <a:gd name="T15" fmla="*/ 226 h 229"/>
                <a:gd name="T16" fmla="*/ 137 w 184"/>
                <a:gd name="T17" fmla="*/ 224 h 229"/>
                <a:gd name="T18" fmla="*/ 144 w 184"/>
                <a:gd name="T19" fmla="*/ 222 h 229"/>
                <a:gd name="T20" fmla="*/ 151 w 184"/>
                <a:gd name="T21" fmla="*/ 218 h 229"/>
                <a:gd name="T22" fmla="*/ 157 w 184"/>
                <a:gd name="T23" fmla="*/ 214 h 229"/>
                <a:gd name="T24" fmla="*/ 162 w 184"/>
                <a:gd name="T25" fmla="*/ 210 h 229"/>
                <a:gd name="T26" fmla="*/ 167 w 184"/>
                <a:gd name="T27" fmla="*/ 205 h 229"/>
                <a:gd name="T28" fmla="*/ 172 w 184"/>
                <a:gd name="T29" fmla="*/ 200 h 229"/>
                <a:gd name="T30" fmla="*/ 175 w 184"/>
                <a:gd name="T31" fmla="*/ 193 h 229"/>
                <a:gd name="T32" fmla="*/ 178 w 184"/>
                <a:gd name="T33" fmla="*/ 187 h 229"/>
                <a:gd name="T34" fmla="*/ 181 w 184"/>
                <a:gd name="T35" fmla="*/ 180 h 229"/>
                <a:gd name="T36" fmla="*/ 183 w 184"/>
                <a:gd name="T37" fmla="*/ 172 h 229"/>
                <a:gd name="T38" fmla="*/ 184 w 184"/>
                <a:gd name="T39" fmla="*/ 163 h 229"/>
                <a:gd name="T40" fmla="*/ 184 w 184"/>
                <a:gd name="T41" fmla="*/ 154 h 229"/>
                <a:gd name="T42" fmla="*/ 184 w 184"/>
                <a:gd name="T43" fmla="*/ 154 h 229"/>
                <a:gd name="T44" fmla="*/ 184 w 184"/>
                <a:gd name="T45" fmla="*/ 146 h 229"/>
                <a:gd name="T46" fmla="*/ 183 w 184"/>
                <a:gd name="T47" fmla="*/ 137 h 229"/>
                <a:gd name="T48" fmla="*/ 181 w 184"/>
                <a:gd name="T49" fmla="*/ 130 h 229"/>
                <a:gd name="T50" fmla="*/ 178 w 184"/>
                <a:gd name="T51" fmla="*/ 122 h 229"/>
                <a:gd name="T52" fmla="*/ 175 w 184"/>
                <a:gd name="T53" fmla="*/ 116 h 229"/>
                <a:gd name="T54" fmla="*/ 172 w 184"/>
                <a:gd name="T55" fmla="*/ 110 h 229"/>
                <a:gd name="T56" fmla="*/ 167 w 184"/>
                <a:gd name="T57" fmla="*/ 104 h 229"/>
                <a:gd name="T58" fmla="*/ 163 w 184"/>
                <a:gd name="T59" fmla="*/ 99 h 229"/>
                <a:gd name="T60" fmla="*/ 157 w 184"/>
                <a:gd name="T61" fmla="*/ 95 h 229"/>
                <a:gd name="T62" fmla="*/ 151 w 184"/>
                <a:gd name="T63" fmla="*/ 91 h 229"/>
                <a:gd name="T64" fmla="*/ 145 w 184"/>
                <a:gd name="T65" fmla="*/ 88 h 229"/>
                <a:gd name="T66" fmla="*/ 139 w 184"/>
                <a:gd name="T67" fmla="*/ 85 h 229"/>
                <a:gd name="T68" fmla="*/ 132 w 184"/>
                <a:gd name="T69" fmla="*/ 83 h 229"/>
                <a:gd name="T70" fmla="*/ 124 w 184"/>
                <a:gd name="T71" fmla="*/ 82 h 229"/>
                <a:gd name="T72" fmla="*/ 116 w 184"/>
                <a:gd name="T73" fmla="*/ 81 h 229"/>
                <a:gd name="T74" fmla="*/ 108 w 184"/>
                <a:gd name="T75" fmla="*/ 81 h 229"/>
                <a:gd name="T76" fmla="*/ 45 w 184"/>
                <a:gd name="T77" fmla="*/ 81 h 229"/>
                <a:gd name="T78" fmla="*/ 45 w 184"/>
                <a:gd name="T79" fmla="*/ 0 h 229"/>
                <a:gd name="T80" fmla="*/ 45 w 184"/>
                <a:gd name="T81" fmla="*/ 192 h 229"/>
                <a:gd name="T82" fmla="*/ 45 w 184"/>
                <a:gd name="T83" fmla="*/ 118 h 229"/>
                <a:gd name="T84" fmla="*/ 102 w 184"/>
                <a:gd name="T85" fmla="*/ 118 h 229"/>
                <a:gd name="T86" fmla="*/ 102 w 184"/>
                <a:gd name="T87" fmla="*/ 118 h 229"/>
                <a:gd name="T88" fmla="*/ 110 w 184"/>
                <a:gd name="T89" fmla="*/ 118 h 229"/>
                <a:gd name="T90" fmla="*/ 118 w 184"/>
                <a:gd name="T91" fmla="*/ 120 h 229"/>
                <a:gd name="T92" fmla="*/ 124 w 184"/>
                <a:gd name="T93" fmla="*/ 123 h 229"/>
                <a:gd name="T94" fmla="*/ 129 w 184"/>
                <a:gd name="T95" fmla="*/ 127 h 229"/>
                <a:gd name="T96" fmla="*/ 134 w 184"/>
                <a:gd name="T97" fmla="*/ 133 h 229"/>
                <a:gd name="T98" fmla="*/ 137 w 184"/>
                <a:gd name="T99" fmla="*/ 139 h 229"/>
                <a:gd name="T100" fmla="*/ 139 w 184"/>
                <a:gd name="T101" fmla="*/ 146 h 229"/>
                <a:gd name="T102" fmla="*/ 139 w 184"/>
                <a:gd name="T103" fmla="*/ 155 h 229"/>
                <a:gd name="T104" fmla="*/ 139 w 184"/>
                <a:gd name="T105" fmla="*/ 155 h 229"/>
                <a:gd name="T106" fmla="*/ 139 w 184"/>
                <a:gd name="T107" fmla="*/ 163 h 229"/>
                <a:gd name="T108" fmla="*/ 137 w 184"/>
                <a:gd name="T109" fmla="*/ 170 h 229"/>
                <a:gd name="T110" fmla="*/ 134 w 184"/>
                <a:gd name="T111" fmla="*/ 177 h 229"/>
                <a:gd name="T112" fmla="*/ 130 w 184"/>
                <a:gd name="T113" fmla="*/ 182 h 229"/>
                <a:gd name="T114" fmla="*/ 125 w 184"/>
                <a:gd name="T115" fmla="*/ 186 h 229"/>
                <a:gd name="T116" fmla="*/ 119 w 184"/>
                <a:gd name="T117" fmla="*/ 189 h 229"/>
                <a:gd name="T118" fmla="*/ 111 w 184"/>
                <a:gd name="T119" fmla="*/ 191 h 229"/>
                <a:gd name="T120" fmla="*/ 102 w 184"/>
                <a:gd name="T121" fmla="*/ 192 h 229"/>
                <a:gd name="T122" fmla="*/ 45 w 184"/>
                <a:gd name="T123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4" h="229">
                  <a:moveTo>
                    <a:pt x="45" y="0"/>
                  </a:moveTo>
                  <a:lnTo>
                    <a:pt x="0" y="0"/>
                  </a:ln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14" y="229"/>
                  </a:lnTo>
                  <a:lnTo>
                    <a:pt x="122" y="228"/>
                  </a:lnTo>
                  <a:lnTo>
                    <a:pt x="130" y="226"/>
                  </a:lnTo>
                  <a:lnTo>
                    <a:pt x="137" y="224"/>
                  </a:lnTo>
                  <a:lnTo>
                    <a:pt x="144" y="222"/>
                  </a:lnTo>
                  <a:lnTo>
                    <a:pt x="151" y="218"/>
                  </a:lnTo>
                  <a:lnTo>
                    <a:pt x="157" y="214"/>
                  </a:lnTo>
                  <a:lnTo>
                    <a:pt x="162" y="210"/>
                  </a:lnTo>
                  <a:lnTo>
                    <a:pt x="167" y="205"/>
                  </a:lnTo>
                  <a:lnTo>
                    <a:pt x="172" y="200"/>
                  </a:lnTo>
                  <a:lnTo>
                    <a:pt x="175" y="193"/>
                  </a:lnTo>
                  <a:lnTo>
                    <a:pt x="178" y="187"/>
                  </a:lnTo>
                  <a:lnTo>
                    <a:pt x="181" y="180"/>
                  </a:lnTo>
                  <a:lnTo>
                    <a:pt x="183" y="172"/>
                  </a:lnTo>
                  <a:lnTo>
                    <a:pt x="184" y="163"/>
                  </a:lnTo>
                  <a:lnTo>
                    <a:pt x="184" y="154"/>
                  </a:lnTo>
                  <a:lnTo>
                    <a:pt x="184" y="154"/>
                  </a:lnTo>
                  <a:lnTo>
                    <a:pt x="184" y="146"/>
                  </a:lnTo>
                  <a:lnTo>
                    <a:pt x="183" y="137"/>
                  </a:lnTo>
                  <a:lnTo>
                    <a:pt x="181" y="130"/>
                  </a:lnTo>
                  <a:lnTo>
                    <a:pt x="178" y="122"/>
                  </a:lnTo>
                  <a:lnTo>
                    <a:pt x="175" y="116"/>
                  </a:lnTo>
                  <a:lnTo>
                    <a:pt x="172" y="110"/>
                  </a:lnTo>
                  <a:lnTo>
                    <a:pt x="167" y="104"/>
                  </a:lnTo>
                  <a:lnTo>
                    <a:pt x="163" y="99"/>
                  </a:lnTo>
                  <a:lnTo>
                    <a:pt x="157" y="95"/>
                  </a:lnTo>
                  <a:lnTo>
                    <a:pt x="151" y="91"/>
                  </a:lnTo>
                  <a:lnTo>
                    <a:pt x="145" y="88"/>
                  </a:lnTo>
                  <a:lnTo>
                    <a:pt x="139" y="85"/>
                  </a:lnTo>
                  <a:lnTo>
                    <a:pt x="132" y="83"/>
                  </a:lnTo>
                  <a:lnTo>
                    <a:pt x="124" y="82"/>
                  </a:lnTo>
                  <a:lnTo>
                    <a:pt x="116" y="81"/>
                  </a:lnTo>
                  <a:lnTo>
                    <a:pt x="108" y="81"/>
                  </a:lnTo>
                  <a:lnTo>
                    <a:pt x="45" y="81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10" y="118"/>
                  </a:lnTo>
                  <a:lnTo>
                    <a:pt x="118" y="120"/>
                  </a:lnTo>
                  <a:lnTo>
                    <a:pt x="124" y="123"/>
                  </a:lnTo>
                  <a:lnTo>
                    <a:pt x="129" y="127"/>
                  </a:lnTo>
                  <a:lnTo>
                    <a:pt x="134" y="133"/>
                  </a:lnTo>
                  <a:lnTo>
                    <a:pt x="137" y="139"/>
                  </a:lnTo>
                  <a:lnTo>
                    <a:pt x="139" y="146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9" y="163"/>
                  </a:lnTo>
                  <a:lnTo>
                    <a:pt x="137" y="170"/>
                  </a:lnTo>
                  <a:lnTo>
                    <a:pt x="134" y="177"/>
                  </a:lnTo>
                  <a:lnTo>
                    <a:pt x="130" y="182"/>
                  </a:lnTo>
                  <a:lnTo>
                    <a:pt x="125" y="186"/>
                  </a:lnTo>
                  <a:lnTo>
                    <a:pt x="119" y="189"/>
                  </a:lnTo>
                  <a:lnTo>
                    <a:pt x="111" y="191"/>
                  </a:lnTo>
                  <a:lnTo>
                    <a:pt x="102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 userDrawn="1"/>
          </p:nvSpPr>
          <p:spPr bwMode="auto">
            <a:xfrm>
              <a:off x="2889250" y="6151563"/>
              <a:ext cx="80963" cy="95250"/>
            </a:xfrm>
            <a:custGeom>
              <a:avLst/>
              <a:gdLst>
                <a:gd name="T0" fmla="*/ 205 w 205"/>
                <a:gd name="T1" fmla="*/ 105 h 239"/>
                <a:gd name="T2" fmla="*/ 198 w 205"/>
                <a:gd name="T3" fmla="*/ 70 h 239"/>
                <a:gd name="T4" fmla="*/ 183 w 205"/>
                <a:gd name="T5" fmla="*/ 41 h 239"/>
                <a:gd name="T6" fmla="*/ 161 w 205"/>
                <a:gd name="T7" fmla="*/ 19 h 239"/>
                <a:gd name="T8" fmla="*/ 135 w 205"/>
                <a:gd name="T9" fmla="*/ 5 h 239"/>
                <a:gd name="T10" fmla="*/ 103 w 205"/>
                <a:gd name="T11" fmla="*/ 0 h 239"/>
                <a:gd name="T12" fmla="*/ 81 w 205"/>
                <a:gd name="T13" fmla="*/ 2 h 239"/>
                <a:gd name="T14" fmla="*/ 53 w 205"/>
                <a:gd name="T15" fmla="*/ 13 h 239"/>
                <a:gd name="T16" fmla="*/ 30 w 205"/>
                <a:gd name="T17" fmla="*/ 32 h 239"/>
                <a:gd name="T18" fmla="*/ 12 w 205"/>
                <a:gd name="T19" fmla="*/ 59 h 239"/>
                <a:gd name="T20" fmla="*/ 2 w 205"/>
                <a:gd name="T21" fmla="*/ 93 h 239"/>
                <a:gd name="T22" fmla="*/ 0 w 205"/>
                <a:gd name="T23" fmla="*/ 120 h 239"/>
                <a:gd name="T24" fmla="*/ 5 w 205"/>
                <a:gd name="T25" fmla="*/ 157 h 239"/>
                <a:gd name="T26" fmla="*/ 17 w 205"/>
                <a:gd name="T27" fmla="*/ 189 h 239"/>
                <a:gd name="T28" fmla="*/ 36 w 205"/>
                <a:gd name="T29" fmla="*/ 214 h 239"/>
                <a:gd name="T30" fmla="*/ 61 w 205"/>
                <a:gd name="T31" fmla="*/ 230 h 239"/>
                <a:gd name="T32" fmla="*/ 90 w 205"/>
                <a:gd name="T33" fmla="*/ 238 h 239"/>
                <a:gd name="T34" fmla="*/ 113 w 205"/>
                <a:gd name="T35" fmla="*/ 238 h 239"/>
                <a:gd name="T36" fmla="*/ 143 w 205"/>
                <a:gd name="T37" fmla="*/ 231 h 239"/>
                <a:gd name="T38" fmla="*/ 169 w 205"/>
                <a:gd name="T39" fmla="*/ 214 h 239"/>
                <a:gd name="T40" fmla="*/ 188 w 205"/>
                <a:gd name="T41" fmla="*/ 190 h 239"/>
                <a:gd name="T42" fmla="*/ 201 w 205"/>
                <a:gd name="T43" fmla="*/ 158 h 239"/>
                <a:gd name="T44" fmla="*/ 205 w 205"/>
                <a:gd name="T45" fmla="*/ 119 h 239"/>
                <a:gd name="T46" fmla="*/ 160 w 205"/>
                <a:gd name="T47" fmla="*/ 120 h 239"/>
                <a:gd name="T48" fmla="*/ 151 w 205"/>
                <a:gd name="T49" fmla="*/ 162 h 239"/>
                <a:gd name="T50" fmla="*/ 137 w 205"/>
                <a:gd name="T51" fmla="*/ 183 h 239"/>
                <a:gd name="T52" fmla="*/ 122 w 205"/>
                <a:gd name="T53" fmla="*/ 193 h 239"/>
                <a:gd name="T54" fmla="*/ 104 w 205"/>
                <a:gd name="T55" fmla="*/ 196 h 239"/>
                <a:gd name="T56" fmla="*/ 91 w 205"/>
                <a:gd name="T57" fmla="*/ 195 h 239"/>
                <a:gd name="T58" fmla="*/ 75 w 205"/>
                <a:gd name="T59" fmla="*/ 188 h 239"/>
                <a:gd name="T60" fmla="*/ 62 w 205"/>
                <a:gd name="T61" fmla="*/ 176 h 239"/>
                <a:gd name="T62" fmla="*/ 52 w 205"/>
                <a:gd name="T63" fmla="*/ 159 h 239"/>
                <a:gd name="T64" fmla="*/ 46 w 205"/>
                <a:gd name="T65" fmla="*/ 119 h 239"/>
                <a:gd name="T66" fmla="*/ 50 w 205"/>
                <a:gd name="T67" fmla="*/ 88 h 239"/>
                <a:gd name="T68" fmla="*/ 60 w 205"/>
                <a:gd name="T69" fmla="*/ 64 h 239"/>
                <a:gd name="T70" fmla="*/ 73 w 205"/>
                <a:gd name="T71" fmla="*/ 51 h 239"/>
                <a:gd name="T72" fmla="*/ 89 w 205"/>
                <a:gd name="T73" fmla="*/ 44 h 239"/>
                <a:gd name="T74" fmla="*/ 101 w 205"/>
                <a:gd name="T75" fmla="*/ 43 h 239"/>
                <a:gd name="T76" fmla="*/ 120 w 205"/>
                <a:gd name="T77" fmla="*/ 46 h 239"/>
                <a:gd name="T78" fmla="*/ 136 w 205"/>
                <a:gd name="T79" fmla="*/ 55 h 239"/>
                <a:gd name="T80" fmla="*/ 148 w 205"/>
                <a:gd name="T81" fmla="*/ 69 h 239"/>
                <a:gd name="T82" fmla="*/ 156 w 205"/>
                <a:gd name="T83" fmla="*/ 88 h 239"/>
                <a:gd name="T84" fmla="*/ 160 w 205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5" h="239">
                  <a:moveTo>
                    <a:pt x="205" y="119"/>
                  </a:moveTo>
                  <a:lnTo>
                    <a:pt x="205" y="119"/>
                  </a:lnTo>
                  <a:lnTo>
                    <a:pt x="205" y="105"/>
                  </a:lnTo>
                  <a:lnTo>
                    <a:pt x="203" y="93"/>
                  </a:lnTo>
                  <a:lnTo>
                    <a:pt x="201" y="81"/>
                  </a:lnTo>
                  <a:lnTo>
                    <a:pt x="198" y="70"/>
                  </a:lnTo>
                  <a:lnTo>
                    <a:pt x="194" y="59"/>
                  </a:lnTo>
                  <a:lnTo>
                    <a:pt x="189" y="50"/>
                  </a:lnTo>
                  <a:lnTo>
                    <a:pt x="183" y="41"/>
                  </a:lnTo>
                  <a:lnTo>
                    <a:pt x="176" y="33"/>
                  </a:lnTo>
                  <a:lnTo>
                    <a:pt x="169" y="25"/>
                  </a:lnTo>
                  <a:lnTo>
                    <a:pt x="161" y="19"/>
                  </a:lnTo>
                  <a:lnTo>
                    <a:pt x="153" y="13"/>
                  </a:lnTo>
                  <a:lnTo>
                    <a:pt x="144" y="9"/>
                  </a:lnTo>
                  <a:lnTo>
                    <a:pt x="135" y="5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92" y="1"/>
                  </a:lnTo>
                  <a:lnTo>
                    <a:pt x="81" y="2"/>
                  </a:lnTo>
                  <a:lnTo>
                    <a:pt x="72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0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4" y="220"/>
                  </a:lnTo>
                  <a:lnTo>
                    <a:pt x="52" y="226"/>
                  </a:lnTo>
                  <a:lnTo>
                    <a:pt x="61" y="230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8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3" y="238"/>
                  </a:lnTo>
                  <a:lnTo>
                    <a:pt x="123" y="237"/>
                  </a:lnTo>
                  <a:lnTo>
                    <a:pt x="133" y="234"/>
                  </a:lnTo>
                  <a:lnTo>
                    <a:pt x="143" y="231"/>
                  </a:lnTo>
                  <a:lnTo>
                    <a:pt x="152" y="226"/>
                  </a:lnTo>
                  <a:lnTo>
                    <a:pt x="161" y="221"/>
                  </a:lnTo>
                  <a:lnTo>
                    <a:pt x="169" y="214"/>
                  </a:lnTo>
                  <a:lnTo>
                    <a:pt x="176" y="207"/>
                  </a:lnTo>
                  <a:lnTo>
                    <a:pt x="182" y="199"/>
                  </a:lnTo>
                  <a:lnTo>
                    <a:pt x="188" y="190"/>
                  </a:lnTo>
                  <a:lnTo>
                    <a:pt x="193" y="180"/>
                  </a:lnTo>
                  <a:lnTo>
                    <a:pt x="198" y="169"/>
                  </a:lnTo>
                  <a:lnTo>
                    <a:pt x="201" y="158"/>
                  </a:lnTo>
                  <a:lnTo>
                    <a:pt x="203" y="145"/>
                  </a:lnTo>
                  <a:lnTo>
                    <a:pt x="205" y="132"/>
                  </a:lnTo>
                  <a:lnTo>
                    <a:pt x="205" y="119"/>
                  </a:lnTo>
                  <a:lnTo>
                    <a:pt x="205" y="119"/>
                  </a:lnTo>
                  <a:close/>
                  <a:moveTo>
                    <a:pt x="160" y="120"/>
                  </a:moveTo>
                  <a:lnTo>
                    <a:pt x="160" y="120"/>
                  </a:lnTo>
                  <a:lnTo>
                    <a:pt x="159" y="135"/>
                  </a:lnTo>
                  <a:lnTo>
                    <a:pt x="156" y="149"/>
                  </a:lnTo>
                  <a:lnTo>
                    <a:pt x="151" y="162"/>
                  </a:lnTo>
                  <a:lnTo>
                    <a:pt x="145" y="174"/>
                  </a:lnTo>
                  <a:lnTo>
                    <a:pt x="141" y="179"/>
                  </a:lnTo>
                  <a:lnTo>
                    <a:pt x="137" y="183"/>
                  </a:lnTo>
                  <a:lnTo>
                    <a:pt x="132" y="187"/>
                  </a:lnTo>
                  <a:lnTo>
                    <a:pt x="127" y="190"/>
                  </a:lnTo>
                  <a:lnTo>
                    <a:pt x="122" y="193"/>
                  </a:lnTo>
                  <a:lnTo>
                    <a:pt x="116" y="195"/>
                  </a:lnTo>
                  <a:lnTo>
                    <a:pt x="110" y="196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97" y="196"/>
                  </a:lnTo>
                  <a:lnTo>
                    <a:pt x="91" y="195"/>
                  </a:lnTo>
                  <a:lnTo>
                    <a:pt x="85" y="193"/>
                  </a:lnTo>
                  <a:lnTo>
                    <a:pt x="80" y="191"/>
                  </a:lnTo>
                  <a:lnTo>
                    <a:pt x="75" y="188"/>
                  </a:lnTo>
                  <a:lnTo>
                    <a:pt x="70" y="185"/>
                  </a:lnTo>
                  <a:lnTo>
                    <a:pt x="65" y="181"/>
                  </a:lnTo>
                  <a:lnTo>
                    <a:pt x="62" y="176"/>
                  </a:lnTo>
                  <a:lnTo>
                    <a:pt x="58" y="171"/>
                  </a:lnTo>
                  <a:lnTo>
                    <a:pt x="55" y="165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7" y="102"/>
                  </a:lnTo>
                  <a:lnTo>
                    <a:pt x="50" y="88"/>
                  </a:lnTo>
                  <a:lnTo>
                    <a:pt x="54" y="75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3" y="51"/>
                  </a:lnTo>
                  <a:lnTo>
                    <a:pt x="78" y="48"/>
                  </a:lnTo>
                  <a:lnTo>
                    <a:pt x="83" y="46"/>
                  </a:lnTo>
                  <a:lnTo>
                    <a:pt x="89" y="44"/>
                  </a:lnTo>
                  <a:lnTo>
                    <a:pt x="94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8" y="43"/>
                  </a:lnTo>
                  <a:lnTo>
                    <a:pt x="115" y="44"/>
                  </a:lnTo>
                  <a:lnTo>
                    <a:pt x="120" y="46"/>
                  </a:lnTo>
                  <a:lnTo>
                    <a:pt x="126" y="49"/>
                  </a:lnTo>
                  <a:lnTo>
                    <a:pt x="131" y="51"/>
                  </a:lnTo>
                  <a:lnTo>
                    <a:pt x="136" y="55"/>
                  </a:lnTo>
                  <a:lnTo>
                    <a:pt x="140" y="59"/>
                  </a:lnTo>
                  <a:lnTo>
                    <a:pt x="144" y="64"/>
                  </a:lnTo>
                  <a:lnTo>
                    <a:pt x="148" y="69"/>
                  </a:lnTo>
                  <a:lnTo>
                    <a:pt x="151" y="75"/>
                  </a:lnTo>
                  <a:lnTo>
                    <a:pt x="154" y="81"/>
                  </a:lnTo>
                  <a:lnTo>
                    <a:pt x="156" y="88"/>
                  </a:lnTo>
                  <a:lnTo>
                    <a:pt x="159" y="103"/>
                  </a:lnTo>
                  <a:lnTo>
                    <a:pt x="160" y="120"/>
                  </a:lnTo>
                  <a:lnTo>
                    <a:pt x="160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89" name="Freeform 188"/>
            <p:cNvSpPr>
              <a:spLocks/>
            </p:cNvSpPr>
            <p:nvPr userDrawn="1"/>
          </p:nvSpPr>
          <p:spPr bwMode="auto">
            <a:xfrm>
              <a:off x="2979738" y="6153151"/>
              <a:ext cx="73025" cy="92075"/>
            </a:xfrm>
            <a:custGeom>
              <a:avLst/>
              <a:gdLst>
                <a:gd name="T0" fmla="*/ 184 w 184"/>
                <a:gd name="T1" fmla="*/ 39 h 229"/>
                <a:gd name="T2" fmla="*/ 184 w 184"/>
                <a:gd name="T3" fmla="*/ 0 h 229"/>
                <a:gd name="T4" fmla="*/ 0 w 184"/>
                <a:gd name="T5" fmla="*/ 0 h 229"/>
                <a:gd name="T6" fmla="*/ 0 w 184"/>
                <a:gd name="T7" fmla="*/ 39 h 229"/>
                <a:gd name="T8" fmla="*/ 69 w 184"/>
                <a:gd name="T9" fmla="*/ 39 h 229"/>
                <a:gd name="T10" fmla="*/ 69 w 184"/>
                <a:gd name="T11" fmla="*/ 229 h 229"/>
                <a:gd name="T12" fmla="*/ 114 w 184"/>
                <a:gd name="T13" fmla="*/ 229 h 229"/>
                <a:gd name="T14" fmla="*/ 114 w 184"/>
                <a:gd name="T15" fmla="*/ 39 h 229"/>
                <a:gd name="T16" fmla="*/ 184 w 184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229">
                  <a:moveTo>
                    <a:pt x="184" y="39"/>
                  </a:moveTo>
                  <a:lnTo>
                    <a:pt x="184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9" y="39"/>
                  </a:lnTo>
                  <a:lnTo>
                    <a:pt x="69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0" name="Freeform 189"/>
            <p:cNvSpPr>
              <a:spLocks noEditPoints="1"/>
            </p:cNvSpPr>
            <p:nvPr userDrawn="1"/>
          </p:nvSpPr>
          <p:spPr bwMode="auto">
            <a:xfrm>
              <a:off x="3065463" y="6153151"/>
              <a:ext cx="73025" cy="92075"/>
            </a:xfrm>
            <a:custGeom>
              <a:avLst/>
              <a:gdLst>
                <a:gd name="T0" fmla="*/ 0 w 185"/>
                <a:gd name="T1" fmla="*/ 229 h 229"/>
                <a:gd name="T2" fmla="*/ 105 w 185"/>
                <a:gd name="T3" fmla="*/ 229 h 229"/>
                <a:gd name="T4" fmla="*/ 131 w 185"/>
                <a:gd name="T5" fmla="*/ 227 h 229"/>
                <a:gd name="T6" fmla="*/ 146 w 185"/>
                <a:gd name="T7" fmla="*/ 222 h 229"/>
                <a:gd name="T8" fmla="*/ 159 w 185"/>
                <a:gd name="T9" fmla="*/ 215 h 229"/>
                <a:gd name="T10" fmla="*/ 169 w 185"/>
                <a:gd name="T11" fmla="*/ 207 h 229"/>
                <a:gd name="T12" fmla="*/ 177 w 185"/>
                <a:gd name="T13" fmla="*/ 196 h 229"/>
                <a:gd name="T14" fmla="*/ 182 w 185"/>
                <a:gd name="T15" fmla="*/ 182 h 229"/>
                <a:gd name="T16" fmla="*/ 184 w 185"/>
                <a:gd name="T17" fmla="*/ 167 h 229"/>
                <a:gd name="T18" fmla="*/ 185 w 185"/>
                <a:gd name="T19" fmla="*/ 159 h 229"/>
                <a:gd name="T20" fmla="*/ 181 w 185"/>
                <a:gd name="T21" fmla="*/ 138 h 229"/>
                <a:gd name="T22" fmla="*/ 173 w 185"/>
                <a:gd name="T23" fmla="*/ 122 h 229"/>
                <a:gd name="T24" fmla="*/ 161 w 185"/>
                <a:gd name="T25" fmla="*/ 112 h 229"/>
                <a:gd name="T26" fmla="*/ 147 w 185"/>
                <a:gd name="T27" fmla="*/ 106 h 229"/>
                <a:gd name="T28" fmla="*/ 153 w 185"/>
                <a:gd name="T29" fmla="*/ 102 h 229"/>
                <a:gd name="T30" fmla="*/ 165 w 185"/>
                <a:gd name="T31" fmla="*/ 94 h 229"/>
                <a:gd name="T32" fmla="*/ 173 w 185"/>
                <a:gd name="T33" fmla="*/ 82 h 229"/>
                <a:gd name="T34" fmla="*/ 177 w 185"/>
                <a:gd name="T35" fmla="*/ 68 h 229"/>
                <a:gd name="T36" fmla="*/ 178 w 185"/>
                <a:gd name="T37" fmla="*/ 60 h 229"/>
                <a:gd name="T38" fmla="*/ 177 w 185"/>
                <a:gd name="T39" fmla="*/ 46 h 229"/>
                <a:gd name="T40" fmla="*/ 173 w 185"/>
                <a:gd name="T41" fmla="*/ 34 h 229"/>
                <a:gd name="T42" fmla="*/ 167 w 185"/>
                <a:gd name="T43" fmla="*/ 24 h 229"/>
                <a:gd name="T44" fmla="*/ 160 w 185"/>
                <a:gd name="T45" fmla="*/ 15 h 229"/>
                <a:gd name="T46" fmla="*/ 149 w 185"/>
                <a:gd name="T47" fmla="*/ 9 h 229"/>
                <a:gd name="T48" fmla="*/ 125 w 185"/>
                <a:gd name="T49" fmla="*/ 1 h 229"/>
                <a:gd name="T50" fmla="*/ 0 w 185"/>
                <a:gd name="T51" fmla="*/ 0 h 229"/>
                <a:gd name="T52" fmla="*/ 44 w 185"/>
                <a:gd name="T53" fmla="*/ 37 h 229"/>
                <a:gd name="T54" fmla="*/ 104 w 185"/>
                <a:gd name="T55" fmla="*/ 37 h 229"/>
                <a:gd name="T56" fmla="*/ 117 w 185"/>
                <a:gd name="T57" fmla="*/ 39 h 229"/>
                <a:gd name="T58" fmla="*/ 125 w 185"/>
                <a:gd name="T59" fmla="*/ 45 h 229"/>
                <a:gd name="T60" fmla="*/ 130 w 185"/>
                <a:gd name="T61" fmla="*/ 53 h 229"/>
                <a:gd name="T62" fmla="*/ 132 w 185"/>
                <a:gd name="T63" fmla="*/ 64 h 229"/>
                <a:gd name="T64" fmla="*/ 131 w 185"/>
                <a:gd name="T65" fmla="*/ 69 h 229"/>
                <a:gd name="T66" fmla="*/ 128 w 185"/>
                <a:gd name="T67" fmla="*/ 78 h 229"/>
                <a:gd name="T68" fmla="*/ 121 w 185"/>
                <a:gd name="T69" fmla="*/ 85 h 229"/>
                <a:gd name="T70" fmla="*/ 111 w 185"/>
                <a:gd name="T71" fmla="*/ 89 h 229"/>
                <a:gd name="T72" fmla="*/ 44 w 185"/>
                <a:gd name="T73" fmla="*/ 90 h 229"/>
                <a:gd name="T74" fmla="*/ 44 w 185"/>
                <a:gd name="T75" fmla="*/ 127 h 229"/>
                <a:gd name="T76" fmla="*/ 104 w 185"/>
                <a:gd name="T77" fmla="*/ 127 h 229"/>
                <a:gd name="T78" fmla="*/ 119 w 185"/>
                <a:gd name="T79" fmla="*/ 129 h 229"/>
                <a:gd name="T80" fmla="*/ 130 w 185"/>
                <a:gd name="T81" fmla="*/ 136 h 229"/>
                <a:gd name="T82" fmla="*/ 137 w 185"/>
                <a:gd name="T83" fmla="*/ 146 h 229"/>
                <a:gd name="T84" fmla="*/ 139 w 185"/>
                <a:gd name="T85" fmla="*/ 160 h 229"/>
                <a:gd name="T86" fmla="*/ 138 w 185"/>
                <a:gd name="T87" fmla="*/ 167 h 229"/>
                <a:gd name="T88" fmla="*/ 134 w 185"/>
                <a:gd name="T89" fmla="*/ 178 h 229"/>
                <a:gd name="T90" fmla="*/ 126 w 185"/>
                <a:gd name="T91" fmla="*/ 187 h 229"/>
                <a:gd name="T92" fmla="*/ 112 w 185"/>
                <a:gd name="T93" fmla="*/ 191 h 229"/>
                <a:gd name="T94" fmla="*/ 44 w 185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105" y="229"/>
                  </a:lnTo>
                  <a:lnTo>
                    <a:pt x="105" y="229"/>
                  </a:lnTo>
                  <a:lnTo>
                    <a:pt x="123" y="228"/>
                  </a:lnTo>
                  <a:lnTo>
                    <a:pt x="131" y="227"/>
                  </a:lnTo>
                  <a:lnTo>
                    <a:pt x="139" y="225"/>
                  </a:lnTo>
                  <a:lnTo>
                    <a:pt x="146" y="222"/>
                  </a:lnTo>
                  <a:lnTo>
                    <a:pt x="152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7" y="196"/>
                  </a:lnTo>
                  <a:lnTo>
                    <a:pt x="180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8" y="129"/>
                  </a:lnTo>
                  <a:lnTo>
                    <a:pt x="173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3" y="108"/>
                  </a:lnTo>
                  <a:lnTo>
                    <a:pt x="147" y="106"/>
                  </a:lnTo>
                  <a:lnTo>
                    <a:pt x="147" y="106"/>
                  </a:lnTo>
                  <a:lnTo>
                    <a:pt x="153" y="102"/>
                  </a:lnTo>
                  <a:lnTo>
                    <a:pt x="160" y="98"/>
                  </a:lnTo>
                  <a:lnTo>
                    <a:pt x="165" y="94"/>
                  </a:lnTo>
                  <a:lnTo>
                    <a:pt x="169" y="88"/>
                  </a:lnTo>
                  <a:lnTo>
                    <a:pt x="173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7" y="53"/>
                  </a:lnTo>
                  <a:lnTo>
                    <a:pt x="177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1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60" y="15"/>
                  </a:lnTo>
                  <a:lnTo>
                    <a:pt x="154" y="12"/>
                  </a:lnTo>
                  <a:lnTo>
                    <a:pt x="149" y="9"/>
                  </a:lnTo>
                  <a:lnTo>
                    <a:pt x="138" y="4"/>
                  </a:lnTo>
                  <a:lnTo>
                    <a:pt x="125" y="1"/>
                  </a:lnTo>
                  <a:lnTo>
                    <a:pt x="111" y="0"/>
                  </a:lnTo>
                  <a:lnTo>
                    <a:pt x="0" y="0"/>
                  </a:lnTo>
                  <a:close/>
                  <a:moveTo>
                    <a:pt x="44" y="90"/>
                  </a:moveTo>
                  <a:lnTo>
                    <a:pt x="4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1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5" y="45"/>
                  </a:lnTo>
                  <a:lnTo>
                    <a:pt x="128" y="49"/>
                  </a:lnTo>
                  <a:lnTo>
                    <a:pt x="130" y="53"/>
                  </a:lnTo>
                  <a:lnTo>
                    <a:pt x="132" y="58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1" y="69"/>
                  </a:lnTo>
                  <a:lnTo>
                    <a:pt x="130" y="74"/>
                  </a:lnTo>
                  <a:lnTo>
                    <a:pt x="128" y="78"/>
                  </a:lnTo>
                  <a:lnTo>
                    <a:pt x="125" y="82"/>
                  </a:lnTo>
                  <a:lnTo>
                    <a:pt x="121" y="85"/>
                  </a:lnTo>
                  <a:lnTo>
                    <a:pt x="116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4" y="90"/>
                  </a:lnTo>
                  <a:close/>
                  <a:moveTo>
                    <a:pt x="44" y="192"/>
                  </a:moveTo>
                  <a:lnTo>
                    <a:pt x="44" y="127"/>
                  </a:lnTo>
                  <a:lnTo>
                    <a:pt x="104" y="127"/>
                  </a:lnTo>
                  <a:lnTo>
                    <a:pt x="104" y="127"/>
                  </a:lnTo>
                  <a:lnTo>
                    <a:pt x="112" y="128"/>
                  </a:lnTo>
                  <a:lnTo>
                    <a:pt x="119" y="129"/>
                  </a:lnTo>
                  <a:lnTo>
                    <a:pt x="125" y="132"/>
                  </a:lnTo>
                  <a:lnTo>
                    <a:pt x="130" y="136"/>
                  </a:lnTo>
                  <a:lnTo>
                    <a:pt x="134" y="141"/>
                  </a:lnTo>
                  <a:lnTo>
                    <a:pt x="137" y="146"/>
                  </a:lnTo>
                  <a:lnTo>
                    <a:pt x="138" y="153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38" y="167"/>
                  </a:lnTo>
                  <a:lnTo>
                    <a:pt x="137" y="173"/>
                  </a:lnTo>
                  <a:lnTo>
                    <a:pt x="134" y="178"/>
                  </a:lnTo>
                  <a:lnTo>
                    <a:pt x="131" y="183"/>
                  </a:lnTo>
                  <a:lnTo>
                    <a:pt x="126" y="187"/>
                  </a:lnTo>
                  <a:lnTo>
                    <a:pt x="120" y="190"/>
                  </a:lnTo>
                  <a:lnTo>
                    <a:pt x="112" y="191"/>
                  </a:lnTo>
                  <a:lnTo>
                    <a:pt x="103" y="192"/>
                  </a:lnTo>
                  <a:lnTo>
                    <a:pt x="44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1" name="Freeform 190"/>
            <p:cNvSpPr>
              <a:spLocks noEditPoints="1"/>
            </p:cNvSpPr>
            <p:nvPr userDrawn="1"/>
          </p:nvSpPr>
          <p:spPr bwMode="auto">
            <a:xfrm>
              <a:off x="3151188" y="6151563"/>
              <a:ext cx="79375" cy="95250"/>
            </a:xfrm>
            <a:custGeom>
              <a:avLst/>
              <a:gdLst>
                <a:gd name="T0" fmla="*/ 197 w 197"/>
                <a:gd name="T1" fmla="*/ 115 h 239"/>
                <a:gd name="T2" fmla="*/ 195 w 197"/>
                <a:gd name="T3" fmla="*/ 92 h 239"/>
                <a:gd name="T4" fmla="*/ 191 w 197"/>
                <a:gd name="T5" fmla="*/ 71 h 239"/>
                <a:gd name="T6" fmla="*/ 183 w 197"/>
                <a:gd name="T7" fmla="*/ 52 h 239"/>
                <a:gd name="T8" fmla="*/ 173 w 197"/>
                <a:gd name="T9" fmla="*/ 34 h 239"/>
                <a:gd name="T10" fmla="*/ 159 w 197"/>
                <a:gd name="T11" fmla="*/ 20 h 239"/>
                <a:gd name="T12" fmla="*/ 143 w 197"/>
                <a:gd name="T13" fmla="*/ 10 h 239"/>
                <a:gd name="T14" fmla="*/ 123 w 197"/>
                <a:gd name="T15" fmla="*/ 3 h 239"/>
                <a:gd name="T16" fmla="*/ 100 w 197"/>
                <a:gd name="T17" fmla="*/ 0 h 239"/>
                <a:gd name="T18" fmla="*/ 89 w 197"/>
                <a:gd name="T19" fmla="*/ 1 h 239"/>
                <a:gd name="T20" fmla="*/ 69 w 197"/>
                <a:gd name="T21" fmla="*/ 5 h 239"/>
                <a:gd name="T22" fmla="*/ 51 w 197"/>
                <a:gd name="T23" fmla="*/ 12 h 239"/>
                <a:gd name="T24" fmla="*/ 35 w 197"/>
                <a:gd name="T25" fmla="*/ 24 h 239"/>
                <a:gd name="T26" fmla="*/ 22 w 197"/>
                <a:gd name="T27" fmla="*/ 39 h 239"/>
                <a:gd name="T28" fmla="*/ 11 w 197"/>
                <a:gd name="T29" fmla="*/ 58 h 239"/>
                <a:gd name="T30" fmla="*/ 4 w 197"/>
                <a:gd name="T31" fmla="*/ 80 h 239"/>
                <a:gd name="T32" fmla="*/ 0 w 197"/>
                <a:gd name="T33" fmla="*/ 106 h 239"/>
                <a:gd name="T34" fmla="*/ 0 w 197"/>
                <a:gd name="T35" fmla="*/ 120 h 239"/>
                <a:gd name="T36" fmla="*/ 2 w 197"/>
                <a:gd name="T37" fmla="*/ 148 h 239"/>
                <a:gd name="T38" fmla="*/ 9 w 197"/>
                <a:gd name="T39" fmla="*/ 172 h 239"/>
                <a:gd name="T40" fmla="*/ 18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8 h 239"/>
                <a:gd name="T52" fmla="*/ 99 w 197"/>
                <a:gd name="T53" fmla="*/ 239 h 239"/>
                <a:gd name="T54" fmla="*/ 124 w 197"/>
                <a:gd name="T55" fmla="*/ 237 h 239"/>
                <a:gd name="T56" fmla="*/ 145 w 197"/>
                <a:gd name="T57" fmla="*/ 231 h 239"/>
                <a:gd name="T58" fmla="*/ 153 w 197"/>
                <a:gd name="T59" fmla="*/ 227 h 239"/>
                <a:gd name="T60" fmla="*/ 170 w 197"/>
                <a:gd name="T61" fmla="*/ 216 h 239"/>
                <a:gd name="T62" fmla="*/ 151 w 197"/>
                <a:gd name="T63" fmla="*/ 180 h 239"/>
                <a:gd name="T64" fmla="*/ 139 w 197"/>
                <a:gd name="T65" fmla="*/ 188 h 239"/>
                <a:gd name="T66" fmla="*/ 128 w 197"/>
                <a:gd name="T67" fmla="*/ 193 h 239"/>
                <a:gd name="T68" fmla="*/ 116 w 197"/>
                <a:gd name="T69" fmla="*/ 197 h 239"/>
                <a:gd name="T70" fmla="*/ 101 w 197"/>
                <a:gd name="T71" fmla="*/ 198 h 239"/>
                <a:gd name="T72" fmla="*/ 91 w 197"/>
                <a:gd name="T73" fmla="*/ 197 h 239"/>
                <a:gd name="T74" fmla="*/ 72 w 197"/>
                <a:gd name="T75" fmla="*/ 190 h 239"/>
                <a:gd name="T76" fmla="*/ 57 w 197"/>
                <a:gd name="T77" fmla="*/ 175 h 239"/>
                <a:gd name="T78" fmla="*/ 47 w 197"/>
                <a:gd name="T79" fmla="*/ 151 h 239"/>
                <a:gd name="T80" fmla="*/ 195 w 197"/>
                <a:gd name="T81" fmla="*/ 136 h 239"/>
                <a:gd name="T82" fmla="*/ 196 w 197"/>
                <a:gd name="T83" fmla="*/ 127 h 239"/>
                <a:gd name="T84" fmla="*/ 197 w 197"/>
                <a:gd name="T85" fmla="*/ 115 h 239"/>
                <a:gd name="T86" fmla="*/ 45 w 197"/>
                <a:gd name="T87" fmla="*/ 98 h 239"/>
                <a:gd name="T88" fmla="*/ 50 w 197"/>
                <a:gd name="T89" fmla="*/ 74 h 239"/>
                <a:gd name="T90" fmla="*/ 61 w 197"/>
                <a:gd name="T91" fmla="*/ 56 h 239"/>
                <a:gd name="T92" fmla="*/ 76 w 197"/>
                <a:gd name="T93" fmla="*/ 45 h 239"/>
                <a:gd name="T94" fmla="*/ 97 w 197"/>
                <a:gd name="T95" fmla="*/ 41 h 239"/>
                <a:gd name="T96" fmla="*/ 104 w 197"/>
                <a:gd name="T97" fmla="*/ 41 h 239"/>
                <a:gd name="T98" fmla="*/ 116 w 197"/>
                <a:gd name="T99" fmla="*/ 44 h 239"/>
                <a:gd name="T100" fmla="*/ 126 w 197"/>
                <a:gd name="T101" fmla="*/ 48 h 239"/>
                <a:gd name="T102" fmla="*/ 137 w 197"/>
                <a:gd name="T103" fmla="*/ 58 h 239"/>
                <a:gd name="T104" fmla="*/ 147 w 197"/>
                <a:gd name="T105" fmla="*/ 76 h 239"/>
                <a:gd name="T106" fmla="*/ 151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5"/>
                  </a:moveTo>
                  <a:lnTo>
                    <a:pt x="197" y="115"/>
                  </a:lnTo>
                  <a:lnTo>
                    <a:pt x="196" y="104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1"/>
                  </a:lnTo>
                  <a:lnTo>
                    <a:pt x="187" y="61"/>
                  </a:lnTo>
                  <a:lnTo>
                    <a:pt x="183" y="52"/>
                  </a:lnTo>
                  <a:lnTo>
                    <a:pt x="178" y="43"/>
                  </a:lnTo>
                  <a:lnTo>
                    <a:pt x="173" y="34"/>
                  </a:lnTo>
                  <a:lnTo>
                    <a:pt x="166" y="27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10"/>
                  </a:lnTo>
                  <a:lnTo>
                    <a:pt x="133" y="6"/>
                  </a:lnTo>
                  <a:lnTo>
                    <a:pt x="123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1"/>
                  </a:lnTo>
                  <a:lnTo>
                    <a:pt x="79" y="2"/>
                  </a:lnTo>
                  <a:lnTo>
                    <a:pt x="69" y="5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2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2" y="39"/>
                  </a:lnTo>
                  <a:lnTo>
                    <a:pt x="16" y="48"/>
                  </a:lnTo>
                  <a:lnTo>
                    <a:pt x="11" y="58"/>
                  </a:lnTo>
                  <a:lnTo>
                    <a:pt x="7" y="68"/>
                  </a:lnTo>
                  <a:lnTo>
                    <a:pt x="4" y="80"/>
                  </a:lnTo>
                  <a:lnTo>
                    <a:pt x="2" y="92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4"/>
                  </a:lnTo>
                  <a:lnTo>
                    <a:pt x="2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3" y="183"/>
                  </a:lnTo>
                  <a:lnTo>
                    <a:pt x="18" y="193"/>
                  </a:lnTo>
                  <a:lnTo>
                    <a:pt x="24" y="201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6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8"/>
                  </a:lnTo>
                  <a:lnTo>
                    <a:pt x="124" y="237"/>
                  </a:lnTo>
                  <a:lnTo>
                    <a:pt x="135" y="234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2" y="222"/>
                  </a:lnTo>
                  <a:lnTo>
                    <a:pt x="170" y="216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2" y="195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1" y="198"/>
                  </a:lnTo>
                  <a:lnTo>
                    <a:pt x="101" y="198"/>
                  </a:lnTo>
                  <a:lnTo>
                    <a:pt x="91" y="197"/>
                  </a:lnTo>
                  <a:lnTo>
                    <a:pt x="81" y="195"/>
                  </a:lnTo>
                  <a:lnTo>
                    <a:pt x="72" y="190"/>
                  </a:lnTo>
                  <a:lnTo>
                    <a:pt x="64" y="183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6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6" y="127"/>
                  </a:lnTo>
                  <a:lnTo>
                    <a:pt x="197" y="115"/>
                  </a:lnTo>
                  <a:lnTo>
                    <a:pt x="197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4"/>
                  </a:lnTo>
                  <a:lnTo>
                    <a:pt x="55" y="64"/>
                  </a:lnTo>
                  <a:lnTo>
                    <a:pt x="61" y="56"/>
                  </a:lnTo>
                  <a:lnTo>
                    <a:pt x="68" y="49"/>
                  </a:lnTo>
                  <a:lnTo>
                    <a:pt x="76" y="45"/>
                  </a:lnTo>
                  <a:lnTo>
                    <a:pt x="86" y="42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4"/>
                  </a:lnTo>
                  <a:lnTo>
                    <a:pt x="121" y="45"/>
                  </a:lnTo>
                  <a:lnTo>
                    <a:pt x="126" y="48"/>
                  </a:lnTo>
                  <a:lnTo>
                    <a:pt x="130" y="51"/>
                  </a:lnTo>
                  <a:lnTo>
                    <a:pt x="137" y="58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7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 userDrawn="1"/>
          </p:nvSpPr>
          <p:spPr bwMode="auto">
            <a:xfrm>
              <a:off x="3238500" y="6153151"/>
              <a:ext cx="73025" cy="92075"/>
            </a:xfrm>
            <a:custGeom>
              <a:avLst/>
              <a:gdLst>
                <a:gd name="T0" fmla="*/ 184 w 184"/>
                <a:gd name="T1" fmla="*/ 39 h 229"/>
                <a:gd name="T2" fmla="*/ 184 w 184"/>
                <a:gd name="T3" fmla="*/ 0 h 229"/>
                <a:gd name="T4" fmla="*/ 0 w 184"/>
                <a:gd name="T5" fmla="*/ 0 h 229"/>
                <a:gd name="T6" fmla="*/ 0 w 184"/>
                <a:gd name="T7" fmla="*/ 39 h 229"/>
                <a:gd name="T8" fmla="*/ 70 w 184"/>
                <a:gd name="T9" fmla="*/ 39 h 229"/>
                <a:gd name="T10" fmla="*/ 70 w 184"/>
                <a:gd name="T11" fmla="*/ 229 h 229"/>
                <a:gd name="T12" fmla="*/ 114 w 184"/>
                <a:gd name="T13" fmla="*/ 229 h 229"/>
                <a:gd name="T14" fmla="*/ 114 w 184"/>
                <a:gd name="T15" fmla="*/ 39 h 229"/>
                <a:gd name="T16" fmla="*/ 184 w 184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229">
                  <a:moveTo>
                    <a:pt x="184" y="39"/>
                  </a:moveTo>
                  <a:lnTo>
                    <a:pt x="184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3" name="Freeform 192"/>
            <p:cNvSpPr>
              <a:spLocks/>
            </p:cNvSpPr>
            <p:nvPr userDrawn="1"/>
          </p:nvSpPr>
          <p:spPr bwMode="auto">
            <a:xfrm>
              <a:off x="3325813" y="6219826"/>
              <a:ext cx="26988" cy="26988"/>
            </a:xfrm>
            <a:custGeom>
              <a:avLst/>
              <a:gdLst>
                <a:gd name="T0" fmla="*/ 69 w 69"/>
                <a:gd name="T1" fmla="*/ 34 h 69"/>
                <a:gd name="T2" fmla="*/ 69 w 69"/>
                <a:gd name="T3" fmla="*/ 34 h 69"/>
                <a:gd name="T4" fmla="*/ 69 w 69"/>
                <a:gd name="T5" fmla="*/ 27 h 69"/>
                <a:gd name="T6" fmla="*/ 67 w 69"/>
                <a:gd name="T7" fmla="*/ 21 h 69"/>
                <a:gd name="T8" fmla="*/ 63 w 69"/>
                <a:gd name="T9" fmla="*/ 15 h 69"/>
                <a:gd name="T10" fmla="*/ 59 w 69"/>
                <a:gd name="T11" fmla="*/ 10 h 69"/>
                <a:gd name="T12" fmla="*/ 54 w 69"/>
                <a:gd name="T13" fmla="*/ 5 h 69"/>
                <a:gd name="T14" fmla="*/ 48 w 69"/>
                <a:gd name="T15" fmla="*/ 2 h 69"/>
                <a:gd name="T16" fmla="*/ 42 w 69"/>
                <a:gd name="T17" fmla="*/ 0 h 69"/>
                <a:gd name="T18" fmla="*/ 35 w 69"/>
                <a:gd name="T19" fmla="*/ 0 h 69"/>
                <a:gd name="T20" fmla="*/ 35 w 69"/>
                <a:gd name="T21" fmla="*/ 0 h 69"/>
                <a:gd name="T22" fmla="*/ 28 w 69"/>
                <a:gd name="T23" fmla="*/ 0 h 69"/>
                <a:gd name="T24" fmla="*/ 21 w 69"/>
                <a:gd name="T25" fmla="*/ 2 h 69"/>
                <a:gd name="T26" fmla="*/ 15 w 69"/>
                <a:gd name="T27" fmla="*/ 5 h 69"/>
                <a:gd name="T28" fmla="*/ 10 w 69"/>
                <a:gd name="T29" fmla="*/ 10 h 69"/>
                <a:gd name="T30" fmla="*/ 6 w 69"/>
                <a:gd name="T31" fmla="*/ 15 h 69"/>
                <a:gd name="T32" fmla="*/ 3 w 69"/>
                <a:gd name="T33" fmla="*/ 21 h 69"/>
                <a:gd name="T34" fmla="*/ 1 w 69"/>
                <a:gd name="T35" fmla="*/ 27 h 69"/>
                <a:gd name="T36" fmla="*/ 0 w 69"/>
                <a:gd name="T37" fmla="*/ 34 h 69"/>
                <a:gd name="T38" fmla="*/ 0 w 69"/>
                <a:gd name="T39" fmla="*/ 34 h 69"/>
                <a:gd name="T40" fmla="*/ 1 w 69"/>
                <a:gd name="T41" fmla="*/ 42 h 69"/>
                <a:gd name="T42" fmla="*/ 3 w 69"/>
                <a:gd name="T43" fmla="*/ 48 h 69"/>
                <a:gd name="T44" fmla="*/ 6 w 69"/>
                <a:gd name="T45" fmla="*/ 54 h 69"/>
                <a:gd name="T46" fmla="*/ 10 w 69"/>
                <a:gd name="T47" fmla="*/ 59 h 69"/>
                <a:gd name="T48" fmla="*/ 15 w 69"/>
                <a:gd name="T49" fmla="*/ 63 h 69"/>
                <a:gd name="T50" fmla="*/ 21 w 69"/>
                <a:gd name="T51" fmla="*/ 66 h 69"/>
                <a:gd name="T52" fmla="*/ 28 w 69"/>
                <a:gd name="T53" fmla="*/ 68 h 69"/>
                <a:gd name="T54" fmla="*/ 35 w 69"/>
                <a:gd name="T55" fmla="*/ 69 h 69"/>
                <a:gd name="T56" fmla="*/ 35 w 69"/>
                <a:gd name="T57" fmla="*/ 69 h 69"/>
                <a:gd name="T58" fmla="*/ 42 w 69"/>
                <a:gd name="T59" fmla="*/ 68 h 69"/>
                <a:gd name="T60" fmla="*/ 48 w 69"/>
                <a:gd name="T61" fmla="*/ 66 h 69"/>
                <a:gd name="T62" fmla="*/ 54 w 69"/>
                <a:gd name="T63" fmla="*/ 63 h 69"/>
                <a:gd name="T64" fmla="*/ 59 w 69"/>
                <a:gd name="T65" fmla="*/ 59 h 69"/>
                <a:gd name="T66" fmla="*/ 63 w 69"/>
                <a:gd name="T67" fmla="*/ 54 h 69"/>
                <a:gd name="T68" fmla="*/ 67 w 69"/>
                <a:gd name="T69" fmla="*/ 48 h 69"/>
                <a:gd name="T70" fmla="*/ 69 w 69"/>
                <a:gd name="T71" fmla="*/ 42 h 69"/>
                <a:gd name="T72" fmla="*/ 69 w 69"/>
                <a:gd name="T73" fmla="*/ 34 h 69"/>
                <a:gd name="T74" fmla="*/ 69 w 69"/>
                <a:gd name="T75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9" h="69">
                  <a:moveTo>
                    <a:pt x="69" y="34"/>
                  </a:moveTo>
                  <a:lnTo>
                    <a:pt x="69" y="34"/>
                  </a:lnTo>
                  <a:lnTo>
                    <a:pt x="69" y="27"/>
                  </a:lnTo>
                  <a:lnTo>
                    <a:pt x="67" y="21"/>
                  </a:lnTo>
                  <a:lnTo>
                    <a:pt x="63" y="15"/>
                  </a:lnTo>
                  <a:lnTo>
                    <a:pt x="59" y="10"/>
                  </a:lnTo>
                  <a:lnTo>
                    <a:pt x="54" y="5"/>
                  </a:lnTo>
                  <a:lnTo>
                    <a:pt x="48" y="2"/>
                  </a:lnTo>
                  <a:lnTo>
                    <a:pt x="42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21" y="2"/>
                  </a:lnTo>
                  <a:lnTo>
                    <a:pt x="15" y="5"/>
                  </a:lnTo>
                  <a:lnTo>
                    <a:pt x="10" y="10"/>
                  </a:lnTo>
                  <a:lnTo>
                    <a:pt x="6" y="15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42"/>
                  </a:lnTo>
                  <a:lnTo>
                    <a:pt x="3" y="48"/>
                  </a:lnTo>
                  <a:lnTo>
                    <a:pt x="6" y="54"/>
                  </a:lnTo>
                  <a:lnTo>
                    <a:pt x="10" y="59"/>
                  </a:lnTo>
                  <a:lnTo>
                    <a:pt x="15" y="63"/>
                  </a:lnTo>
                  <a:lnTo>
                    <a:pt x="21" y="66"/>
                  </a:lnTo>
                  <a:lnTo>
                    <a:pt x="28" y="68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42" y="68"/>
                  </a:lnTo>
                  <a:lnTo>
                    <a:pt x="48" y="66"/>
                  </a:lnTo>
                  <a:lnTo>
                    <a:pt x="54" y="63"/>
                  </a:lnTo>
                  <a:lnTo>
                    <a:pt x="59" y="59"/>
                  </a:lnTo>
                  <a:lnTo>
                    <a:pt x="63" y="54"/>
                  </a:lnTo>
                  <a:lnTo>
                    <a:pt x="67" y="48"/>
                  </a:lnTo>
                  <a:lnTo>
                    <a:pt x="69" y="42"/>
                  </a:lnTo>
                  <a:lnTo>
                    <a:pt x="69" y="34"/>
                  </a:lnTo>
                  <a:lnTo>
                    <a:pt x="69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4" name="Freeform 193"/>
            <p:cNvSpPr>
              <a:spLocks noEditPoints="1"/>
            </p:cNvSpPr>
            <p:nvPr userDrawn="1"/>
          </p:nvSpPr>
          <p:spPr bwMode="auto">
            <a:xfrm>
              <a:off x="473075" y="6334126"/>
              <a:ext cx="90488" cy="122238"/>
            </a:xfrm>
            <a:custGeom>
              <a:avLst/>
              <a:gdLst>
                <a:gd name="T0" fmla="*/ 227 w 227"/>
                <a:gd name="T1" fmla="*/ 96 h 307"/>
                <a:gd name="T2" fmla="*/ 225 w 227"/>
                <a:gd name="T3" fmla="*/ 74 h 307"/>
                <a:gd name="T4" fmla="*/ 219 w 227"/>
                <a:gd name="T5" fmla="*/ 54 h 307"/>
                <a:gd name="T6" fmla="*/ 210 w 227"/>
                <a:gd name="T7" fmla="*/ 38 h 307"/>
                <a:gd name="T8" fmla="*/ 198 w 227"/>
                <a:gd name="T9" fmla="*/ 24 h 307"/>
                <a:gd name="T10" fmla="*/ 183 w 227"/>
                <a:gd name="T11" fmla="*/ 14 h 307"/>
                <a:gd name="T12" fmla="*/ 167 w 227"/>
                <a:gd name="T13" fmla="*/ 6 h 307"/>
                <a:gd name="T14" fmla="*/ 148 w 227"/>
                <a:gd name="T15" fmla="*/ 2 h 307"/>
                <a:gd name="T16" fmla="*/ 128 w 227"/>
                <a:gd name="T17" fmla="*/ 0 h 307"/>
                <a:gd name="T18" fmla="*/ 0 w 227"/>
                <a:gd name="T19" fmla="*/ 307 h 307"/>
                <a:gd name="T20" fmla="*/ 45 w 227"/>
                <a:gd name="T21" fmla="*/ 192 h 307"/>
                <a:gd name="T22" fmla="*/ 125 w 227"/>
                <a:gd name="T23" fmla="*/ 192 h 307"/>
                <a:gd name="T24" fmla="*/ 146 w 227"/>
                <a:gd name="T25" fmla="*/ 190 h 307"/>
                <a:gd name="T26" fmla="*/ 165 w 227"/>
                <a:gd name="T27" fmla="*/ 186 h 307"/>
                <a:gd name="T28" fmla="*/ 183 w 227"/>
                <a:gd name="T29" fmla="*/ 178 h 307"/>
                <a:gd name="T30" fmla="*/ 197 w 227"/>
                <a:gd name="T31" fmla="*/ 167 h 307"/>
                <a:gd name="T32" fmla="*/ 210 w 227"/>
                <a:gd name="T33" fmla="*/ 154 h 307"/>
                <a:gd name="T34" fmla="*/ 219 w 227"/>
                <a:gd name="T35" fmla="*/ 137 h 307"/>
                <a:gd name="T36" fmla="*/ 225 w 227"/>
                <a:gd name="T37" fmla="*/ 118 h 307"/>
                <a:gd name="T38" fmla="*/ 227 w 227"/>
                <a:gd name="T39" fmla="*/ 96 h 307"/>
                <a:gd name="T40" fmla="*/ 179 w 227"/>
                <a:gd name="T41" fmla="*/ 96 h 307"/>
                <a:gd name="T42" fmla="*/ 178 w 227"/>
                <a:gd name="T43" fmla="*/ 108 h 307"/>
                <a:gd name="T44" fmla="*/ 172 w 227"/>
                <a:gd name="T45" fmla="*/ 127 h 307"/>
                <a:gd name="T46" fmla="*/ 159 w 227"/>
                <a:gd name="T47" fmla="*/ 141 h 307"/>
                <a:gd name="T48" fmla="*/ 139 w 227"/>
                <a:gd name="T49" fmla="*/ 148 h 307"/>
                <a:gd name="T50" fmla="*/ 45 w 227"/>
                <a:gd name="T51" fmla="*/ 149 h 307"/>
                <a:gd name="T52" fmla="*/ 127 w 227"/>
                <a:gd name="T53" fmla="*/ 43 h 307"/>
                <a:gd name="T54" fmla="*/ 138 w 227"/>
                <a:gd name="T55" fmla="*/ 44 h 307"/>
                <a:gd name="T56" fmla="*/ 157 w 227"/>
                <a:gd name="T57" fmla="*/ 51 h 307"/>
                <a:gd name="T58" fmla="*/ 171 w 227"/>
                <a:gd name="T59" fmla="*/ 65 h 307"/>
                <a:gd name="T60" fmla="*/ 178 w 227"/>
                <a:gd name="T61" fmla="*/ 84 h 307"/>
                <a:gd name="T62" fmla="*/ 179 w 227"/>
                <a:gd name="T63" fmla="*/ 9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7" h="307">
                  <a:moveTo>
                    <a:pt x="227" y="96"/>
                  </a:moveTo>
                  <a:lnTo>
                    <a:pt x="227" y="96"/>
                  </a:lnTo>
                  <a:lnTo>
                    <a:pt x="226" y="84"/>
                  </a:lnTo>
                  <a:lnTo>
                    <a:pt x="225" y="74"/>
                  </a:lnTo>
                  <a:lnTo>
                    <a:pt x="222" y="64"/>
                  </a:lnTo>
                  <a:lnTo>
                    <a:pt x="219" y="54"/>
                  </a:lnTo>
                  <a:lnTo>
                    <a:pt x="215" y="46"/>
                  </a:lnTo>
                  <a:lnTo>
                    <a:pt x="210" y="38"/>
                  </a:lnTo>
                  <a:lnTo>
                    <a:pt x="204" y="31"/>
                  </a:lnTo>
                  <a:lnTo>
                    <a:pt x="198" y="24"/>
                  </a:lnTo>
                  <a:lnTo>
                    <a:pt x="191" y="19"/>
                  </a:lnTo>
                  <a:lnTo>
                    <a:pt x="183" y="14"/>
                  </a:lnTo>
                  <a:lnTo>
                    <a:pt x="175" y="10"/>
                  </a:lnTo>
                  <a:lnTo>
                    <a:pt x="167" y="6"/>
                  </a:lnTo>
                  <a:lnTo>
                    <a:pt x="158" y="4"/>
                  </a:lnTo>
                  <a:lnTo>
                    <a:pt x="148" y="2"/>
                  </a:lnTo>
                  <a:lnTo>
                    <a:pt x="138" y="1"/>
                  </a:lnTo>
                  <a:lnTo>
                    <a:pt x="128" y="0"/>
                  </a:lnTo>
                  <a:lnTo>
                    <a:pt x="0" y="0"/>
                  </a:lnTo>
                  <a:lnTo>
                    <a:pt x="0" y="307"/>
                  </a:lnTo>
                  <a:lnTo>
                    <a:pt x="45" y="307"/>
                  </a:lnTo>
                  <a:lnTo>
                    <a:pt x="45" y="192"/>
                  </a:lnTo>
                  <a:lnTo>
                    <a:pt x="125" y="192"/>
                  </a:lnTo>
                  <a:lnTo>
                    <a:pt x="125" y="192"/>
                  </a:lnTo>
                  <a:lnTo>
                    <a:pt x="135" y="191"/>
                  </a:lnTo>
                  <a:lnTo>
                    <a:pt x="146" y="190"/>
                  </a:lnTo>
                  <a:lnTo>
                    <a:pt x="156" y="188"/>
                  </a:lnTo>
                  <a:lnTo>
                    <a:pt x="165" y="186"/>
                  </a:lnTo>
                  <a:lnTo>
                    <a:pt x="174" y="182"/>
                  </a:lnTo>
                  <a:lnTo>
                    <a:pt x="183" y="178"/>
                  </a:lnTo>
                  <a:lnTo>
                    <a:pt x="190" y="173"/>
                  </a:lnTo>
                  <a:lnTo>
                    <a:pt x="197" y="167"/>
                  </a:lnTo>
                  <a:lnTo>
                    <a:pt x="204" y="161"/>
                  </a:lnTo>
                  <a:lnTo>
                    <a:pt x="210" y="154"/>
                  </a:lnTo>
                  <a:lnTo>
                    <a:pt x="215" y="146"/>
                  </a:lnTo>
                  <a:lnTo>
                    <a:pt x="219" y="137"/>
                  </a:lnTo>
                  <a:lnTo>
                    <a:pt x="222" y="128"/>
                  </a:lnTo>
                  <a:lnTo>
                    <a:pt x="225" y="118"/>
                  </a:lnTo>
                  <a:lnTo>
                    <a:pt x="226" y="107"/>
                  </a:lnTo>
                  <a:lnTo>
                    <a:pt x="227" y="96"/>
                  </a:lnTo>
                  <a:lnTo>
                    <a:pt x="227" y="96"/>
                  </a:lnTo>
                  <a:close/>
                  <a:moveTo>
                    <a:pt x="179" y="96"/>
                  </a:moveTo>
                  <a:lnTo>
                    <a:pt x="179" y="96"/>
                  </a:lnTo>
                  <a:lnTo>
                    <a:pt x="178" y="108"/>
                  </a:lnTo>
                  <a:lnTo>
                    <a:pt x="176" y="118"/>
                  </a:lnTo>
                  <a:lnTo>
                    <a:pt x="172" y="127"/>
                  </a:lnTo>
                  <a:lnTo>
                    <a:pt x="166" y="135"/>
                  </a:lnTo>
                  <a:lnTo>
                    <a:pt x="159" y="141"/>
                  </a:lnTo>
                  <a:lnTo>
                    <a:pt x="150" y="145"/>
                  </a:lnTo>
                  <a:lnTo>
                    <a:pt x="139" y="148"/>
                  </a:lnTo>
                  <a:lnTo>
                    <a:pt x="127" y="149"/>
                  </a:lnTo>
                  <a:lnTo>
                    <a:pt x="45" y="149"/>
                  </a:lnTo>
                  <a:lnTo>
                    <a:pt x="45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38" y="44"/>
                  </a:lnTo>
                  <a:lnTo>
                    <a:pt x="148" y="47"/>
                  </a:lnTo>
                  <a:lnTo>
                    <a:pt x="157" y="51"/>
                  </a:lnTo>
                  <a:lnTo>
                    <a:pt x="165" y="57"/>
                  </a:lnTo>
                  <a:lnTo>
                    <a:pt x="171" y="65"/>
                  </a:lnTo>
                  <a:lnTo>
                    <a:pt x="175" y="73"/>
                  </a:lnTo>
                  <a:lnTo>
                    <a:pt x="178" y="84"/>
                  </a:lnTo>
                  <a:lnTo>
                    <a:pt x="179" y="96"/>
                  </a:lnTo>
                  <a:lnTo>
                    <a:pt x="179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5" name="Freeform 194"/>
            <p:cNvSpPr>
              <a:spLocks noEditPoints="1"/>
            </p:cNvSpPr>
            <p:nvPr userDrawn="1"/>
          </p:nvSpPr>
          <p:spPr bwMode="auto">
            <a:xfrm>
              <a:off x="576263" y="6362701"/>
              <a:ext cx="77788" cy="95250"/>
            </a:xfrm>
            <a:custGeom>
              <a:avLst/>
              <a:gdLst>
                <a:gd name="T0" fmla="*/ 196 w 196"/>
                <a:gd name="T1" fmla="*/ 114 h 239"/>
                <a:gd name="T2" fmla="*/ 195 w 196"/>
                <a:gd name="T3" fmla="*/ 92 h 239"/>
                <a:gd name="T4" fmla="*/ 191 w 196"/>
                <a:gd name="T5" fmla="*/ 70 h 239"/>
                <a:gd name="T6" fmla="*/ 183 w 196"/>
                <a:gd name="T7" fmla="*/ 51 h 239"/>
                <a:gd name="T8" fmla="*/ 173 w 196"/>
                <a:gd name="T9" fmla="*/ 34 h 239"/>
                <a:gd name="T10" fmla="*/ 159 w 196"/>
                <a:gd name="T11" fmla="*/ 20 h 239"/>
                <a:gd name="T12" fmla="*/ 143 w 196"/>
                <a:gd name="T13" fmla="*/ 9 h 239"/>
                <a:gd name="T14" fmla="*/ 123 w 196"/>
                <a:gd name="T15" fmla="*/ 2 h 239"/>
                <a:gd name="T16" fmla="*/ 100 w 196"/>
                <a:gd name="T17" fmla="*/ 0 h 239"/>
                <a:gd name="T18" fmla="*/ 89 w 196"/>
                <a:gd name="T19" fmla="*/ 0 h 239"/>
                <a:gd name="T20" fmla="*/ 69 w 196"/>
                <a:gd name="T21" fmla="*/ 4 h 239"/>
                <a:gd name="T22" fmla="*/ 51 w 196"/>
                <a:gd name="T23" fmla="*/ 12 h 239"/>
                <a:gd name="T24" fmla="*/ 35 w 196"/>
                <a:gd name="T25" fmla="*/ 23 h 239"/>
                <a:gd name="T26" fmla="*/ 21 w 196"/>
                <a:gd name="T27" fmla="*/ 38 h 239"/>
                <a:gd name="T28" fmla="*/ 11 w 196"/>
                <a:gd name="T29" fmla="*/ 57 h 239"/>
                <a:gd name="T30" fmla="*/ 4 w 196"/>
                <a:gd name="T31" fmla="*/ 79 h 239"/>
                <a:gd name="T32" fmla="*/ 0 w 196"/>
                <a:gd name="T33" fmla="*/ 105 h 239"/>
                <a:gd name="T34" fmla="*/ 0 w 196"/>
                <a:gd name="T35" fmla="*/ 119 h 239"/>
                <a:gd name="T36" fmla="*/ 2 w 196"/>
                <a:gd name="T37" fmla="*/ 147 h 239"/>
                <a:gd name="T38" fmla="*/ 9 w 196"/>
                <a:gd name="T39" fmla="*/ 173 h 239"/>
                <a:gd name="T40" fmla="*/ 18 w 196"/>
                <a:gd name="T41" fmla="*/ 193 h 239"/>
                <a:gd name="T42" fmla="*/ 30 w 196"/>
                <a:gd name="T43" fmla="*/ 209 h 239"/>
                <a:gd name="T44" fmla="*/ 36 w 196"/>
                <a:gd name="T45" fmla="*/ 215 h 239"/>
                <a:gd name="T46" fmla="*/ 51 w 196"/>
                <a:gd name="T47" fmla="*/ 226 h 239"/>
                <a:gd name="T48" fmla="*/ 68 w 196"/>
                <a:gd name="T49" fmla="*/ 234 h 239"/>
                <a:gd name="T50" fmla="*/ 88 w 196"/>
                <a:gd name="T51" fmla="*/ 239 h 239"/>
                <a:gd name="T52" fmla="*/ 99 w 196"/>
                <a:gd name="T53" fmla="*/ 239 h 239"/>
                <a:gd name="T54" fmla="*/ 124 w 196"/>
                <a:gd name="T55" fmla="*/ 237 h 239"/>
                <a:gd name="T56" fmla="*/ 145 w 196"/>
                <a:gd name="T57" fmla="*/ 231 h 239"/>
                <a:gd name="T58" fmla="*/ 153 w 196"/>
                <a:gd name="T59" fmla="*/ 227 h 239"/>
                <a:gd name="T60" fmla="*/ 169 w 196"/>
                <a:gd name="T61" fmla="*/ 217 h 239"/>
                <a:gd name="T62" fmla="*/ 151 w 196"/>
                <a:gd name="T63" fmla="*/ 180 h 239"/>
                <a:gd name="T64" fmla="*/ 139 w 196"/>
                <a:gd name="T65" fmla="*/ 188 h 239"/>
                <a:gd name="T66" fmla="*/ 128 w 196"/>
                <a:gd name="T67" fmla="*/ 194 h 239"/>
                <a:gd name="T68" fmla="*/ 116 w 196"/>
                <a:gd name="T69" fmla="*/ 197 h 239"/>
                <a:gd name="T70" fmla="*/ 101 w 196"/>
                <a:gd name="T71" fmla="*/ 199 h 239"/>
                <a:gd name="T72" fmla="*/ 91 w 196"/>
                <a:gd name="T73" fmla="*/ 198 h 239"/>
                <a:gd name="T74" fmla="*/ 72 w 196"/>
                <a:gd name="T75" fmla="*/ 191 h 239"/>
                <a:gd name="T76" fmla="*/ 57 w 196"/>
                <a:gd name="T77" fmla="*/ 175 h 239"/>
                <a:gd name="T78" fmla="*/ 47 w 196"/>
                <a:gd name="T79" fmla="*/ 151 h 239"/>
                <a:gd name="T80" fmla="*/ 195 w 196"/>
                <a:gd name="T81" fmla="*/ 135 h 239"/>
                <a:gd name="T82" fmla="*/ 196 w 196"/>
                <a:gd name="T83" fmla="*/ 126 h 239"/>
                <a:gd name="T84" fmla="*/ 196 w 196"/>
                <a:gd name="T85" fmla="*/ 114 h 239"/>
                <a:gd name="T86" fmla="*/ 45 w 196"/>
                <a:gd name="T87" fmla="*/ 98 h 239"/>
                <a:gd name="T88" fmla="*/ 50 w 196"/>
                <a:gd name="T89" fmla="*/ 73 h 239"/>
                <a:gd name="T90" fmla="*/ 61 w 196"/>
                <a:gd name="T91" fmla="*/ 55 h 239"/>
                <a:gd name="T92" fmla="*/ 76 w 196"/>
                <a:gd name="T93" fmla="*/ 44 h 239"/>
                <a:gd name="T94" fmla="*/ 97 w 196"/>
                <a:gd name="T95" fmla="*/ 40 h 239"/>
                <a:gd name="T96" fmla="*/ 104 w 196"/>
                <a:gd name="T97" fmla="*/ 41 h 239"/>
                <a:gd name="T98" fmla="*/ 116 w 196"/>
                <a:gd name="T99" fmla="*/ 43 h 239"/>
                <a:gd name="T100" fmla="*/ 126 w 196"/>
                <a:gd name="T101" fmla="*/ 47 h 239"/>
                <a:gd name="T102" fmla="*/ 137 w 196"/>
                <a:gd name="T103" fmla="*/ 57 h 239"/>
                <a:gd name="T104" fmla="*/ 147 w 196"/>
                <a:gd name="T105" fmla="*/ 76 h 239"/>
                <a:gd name="T106" fmla="*/ 151 w 196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239">
                  <a:moveTo>
                    <a:pt x="196" y="114"/>
                  </a:moveTo>
                  <a:lnTo>
                    <a:pt x="196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1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0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3" y="184"/>
                  </a:lnTo>
                  <a:lnTo>
                    <a:pt x="18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1" y="222"/>
                  </a:lnTo>
                  <a:lnTo>
                    <a:pt x="169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1" y="198"/>
                  </a:lnTo>
                  <a:lnTo>
                    <a:pt x="81" y="195"/>
                  </a:lnTo>
                  <a:lnTo>
                    <a:pt x="72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6" y="114"/>
                  </a:lnTo>
                  <a:lnTo>
                    <a:pt x="196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6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6" name="Freeform 195"/>
            <p:cNvSpPr>
              <a:spLocks/>
            </p:cNvSpPr>
            <p:nvPr userDrawn="1"/>
          </p:nvSpPr>
          <p:spPr bwMode="auto">
            <a:xfrm>
              <a:off x="673100" y="6365876"/>
              <a:ext cx="115888" cy="90488"/>
            </a:xfrm>
            <a:custGeom>
              <a:avLst/>
              <a:gdLst>
                <a:gd name="T0" fmla="*/ 294 w 294"/>
                <a:gd name="T1" fmla="*/ 0 h 230"/>
                <a:gd name="T2" fmla="*/ 249 w 294"/>
                <a:gd name="T3" fmla="*/ 0 h 230"/>
                <a:gd name="T4" fmla="*/ 249 w 294"/>
                <a:gd name="T5" fmla="*/ 190 h 230"/>
                <a:gd name="T6" fmla="*/ 169 w 294"/>
                <a:gd name="T7" fmla="*/ 190 h 230"/>
                <a:gd name="T8" fmla="*/ 169 w 294"/>
                <a:gd name="T9" fmla="*/ 0 h 230"/>
                <a:gd name="T10" fmla="*/ 124 w 294"/>
                <a:gd name="T11" fmla="*/ 0 h 230"/>
                <a:gd name="T12" fmla="*/ 124 w 294"/>
                <a:gd name="T13" fmla="*/ 190 h 230"/>
                <a:gd name="T14" fmla="*/ 45 w 294"/>
                <a:gd name="T15" fmla="*/ 190 h 230"/>
                <a:gd name="T16" fmla="*/ 45 w 294"/>
                <a:gd name="T17" fmla="*/ 0 h 230"/>
                <a:gd name="T18" fmla="*/ 0 w 294"/>
                <a:gd name="T19" fmla="*/ 0 h 230"/>
                <a:gd name="T20" fmla="*/ 0 w 294"/>
                <a:gd name="T21" fmla="*/ 230 h 230"/>
                <a:gd name="T22" fmla="*/ 294 w 294"/>
                <a:gd name="T23" fmla="*/ 230 h 230"/>
                <a:gd name="T24" fmla="*/ 294 w 29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230">
                  <a:moveTo>
                    <a:pt x="294" y="0"/>
                  </a:moveTo>
                  <a:lnTo>
                    <a:pt x="249" y="0"/>
                  </a:lnTo>
                  <a:lnTo>
                    <a:pt x="249" y="190"/>
                  </a:lnTo>
                  <a:lnTo>
                    <a:pt x="169" y="190"/>
                  </a:lnTo>
                  <a:lnTo>
                    <a:pt x="169" y="0"/>
                  </a:lnTo>
                  <a:lnTo>
                    <a:pt x="124" y="0"/>
                  </a:lnTo>
                  <a:lnTo>
                    <a:pt x="124" y="190"/>
                  </a:lnTo>
                  <a:lnTo>
                    <a:pt x="45" y="19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294" y="23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7" name="Freeform 196"/>
            <p:cNvSpPr>
              <a:spLocks noEditPoints="1"/>
            </p:cNvSpPr>
            <p:nvPr userDrawn="1"/>
          </p:nvSpPr>
          <p:spPr bwMode="auto">
            <a:xfrm>
              <a:off x="808038" y="6362701"/>
              <a:ext cx="74613" cy="95250"/>
            </a:xfrm>
            <a:custGeom>
              <a:avLst/>
              <a:gdLst>
                <a:gd name="T0" fmla="*/ 186 w 186"/>
                <a:gd name="T1" fmla="*/ 77 h 239"/>
                <a:gd name="T2" fmla="*/ 185 w 186"/>
                <a:gd name="T3" fmla="*/ 67 h 239"/>
                <a:gd name="T4" fmla="*/ 182 w 186"/>
                <a:gd name="T5" fmla="*/ 50 h 239"/>
                <a:gd name="T6" fmla="*/ 176 w 186"/>
                <a:gd name="T7" fmla="*/ 36 h 239"/>
                <a:gd name="T8" fmla="*/ 167 w 186"/>
                <a:gd name="T9" fmla="*/ 24 h 239"/>
                <a:gd name="T10" fmla="*/ 156 w 186"/>
                <a:gd name="T11" fmla="*/ 14 h 239"/>
                <a:gd name="T12" fmla="*/ 142 w 186"/>
                <a:gd name="T13" fmla="*/ 7 h 239"/>
                <a:gd name="T14" fmla="*/ 127 w 186"/>
                <a:gd name="T15" fmla="*/ 2 h 239"/>
                <a:gd name="T16" fmla="*/ 109 w 186"/>
                <a:gd name="T17" fmla="*/ 0 h 239"/>
                <a:gd name="T18" fmla="*/ 100 w 186"/>
                <a:gd name="T19" fmla="*/ 0 h 239"/>
                <a:gd name="T20" fmla="*/ 77 w 186"/>
                <a:gd name="T21" fmla="*/ 1 h 239"/>
                <a:gd name="T22" fmla="*/ 57 w 186"/>
                <a:gd name="T23" fmla="*/ 5 h 239"/>
                <a:gd name="T24" fmla="*/ 38 w 186"/>
                <a:gd name="T25" fmla="*/ 11 h 239"/>
                <a:gd name="T26" fmla="*/ 21 w 186"/>
                <a:gd name="T27" fmla="*/ 20 h 239"/>
                <a:gd name="T28" fmla="*/ 39 w 186"/>
                <a:gd name="T29" fmla="*/ 54 h 239"/>
                <a:gd name="T30" fmla="*/ 66 w 186"/>
                <a:gd name="T31" fmla="*/ 43 h 239"/>
                <a:gd name="T32" fmla="*/ 98 w 186"/>
                <a:gd name="T33" fmla="*/ 40 h 239"/>
                <a:gd name="T34" fmla="*/ 108 w 186"/>
                <a:gd name="T35" fmla="*/ 41 h 239"/>
                <a:gd name="T36" fmla="*/ 124 w 186"/>
                <a:gd name="T37" fmla="*/ 46 h 239"/>
                <a:gd name="T38" fmla="*/ 135 w 186"/>
                <a:gd name="T39" fmla="*/ 56 h 239"/>
                <a:gd name="T40" fmla="*/ 141 w 186"/>
                <a:gd name="T41" fmla="*/ 70 h 239"/>
                <a:gd name="T42" fmla="*/ 142 w 186"/>
                <a:gd name="T43" fmla="*/ 96 h 239"/>
                <a:gd name="T44" fmla="*/ 132 w 186"/>
                <a:gd name="T45" fmla="*/ 92 h 239"/>
                <a:gd name="T46" fmla="*/ 107 w 186"/>
                <a:gd name="T47" fmla="*/ 88 h 239"/>
                <a:gd name="T48" fmla="*/ 91 w 186"/>
                <a:gd name="T49" fmla="*/ 87 h 239"/>
                <a:gd name="T50" fmla="*/ 63 w 186"/>
                <a:gd name="T51" fmla="*/ 89 h 239"/>
                <a:gd name="T52" fmla="*/ 47 w 186"/>
                <a:gd name="T53" fmla="*/ 94 h 239"/>
                <a:gd name="T54" fmla="*/ 32 w 186"/>
                <a:gd name="T55" fmla="*/ 101 h 239"/>
                <a:gd name="T56" fmla="*/ 20 w 186"/>
                <a:gd name="T57" fmla="*/ 110 h 239"/>
                <a:gd name="T58" fmla="*/ 10 w 186"/>
                <a:gd name="T59" fmla="*/ 121 h 239"/>
                <a:gd name="T60" fmla="*/ 3 w 186"/>
                <a:gd name="T61" fmla="*/ 135 h 239"/>
                <a:gd name="T62" fmla="*/ 0 w 186"/>
                <a:gd name="T63" fmla="*/ 153 h 239"/>
                <a:gd name="T64" fmla="*/ 0 w 186"/>
                <a:gd name="T65" fmla="*/ 162 h 239"/>
                <a:gd name="T66" fmla="*/ 1 w 186"/>
                <a:gd name="T67" fmla="*/ 182 h 239"/>
                <a:gd name="T68" fmla="*/ 7 w 186"/>
                <a:gd name="T69" fmla="*/ 198 h 239"/>
                <a:gd name="T70" fmla="*/ 15 w 186"/>
                <a:gd name="T71" fmla="*/ 211 h 239"/>
                <a:gd name="T72" fmla="*/ 25 w 186"/>
                <a:gd name="T73" fmla="*/ 222 h 239"/>
                <a:gd name="T74" fmla="*/ 37 w 186"/>
                <a:gd name="T75" fmla="*/ 230 h 239"/>
                <a:gd name="T76" fmla="*/ 51 w 186"/>
                <a:gd name="T77" fmla="*/ 235 h 239"/>
                <a:gd name="T78" fmla="*/ 79 w 186"/>
                <a:gd name="T79" fmla="*/ 239 h 239"/>
                <a:gd name="T80" fmla="*/ 90 w 186"/>
                <a:gd name="T81" fmla="*/ 239 h 239"/>
                <a:gd name="T82" fmla="*/ 108 w 186"/>
                <a:gd name="T83" fmla="*/ 234 h 239"/>
                <a:gd name="T84" fmla="*/ 115 w 186"/>
                <a:gd name="T85" fmla="*/ 231 h 239"/>
                <a:gd name="T86" fmla="*/ 134 w 186"/>
                <a:gd name="T87" fmla="*/ 219 h 239"/>
                <a:gd name="T88" fmla="*/ 142 w 186"/>
                <a:gd name="T89" fmla="*/ 235 h 239"/>
                <a:gd name="T90" fmla="*/ 142 w 186"/>
                <a:gd name="T91" fmla="*/ 170 h 239"/>
                <a:gd name="T92" fmla="*/ 137 w 186"/>
                <a:gd name="T93" fmla="*/ 175 h 239"/>
                <a:gd name="T94" fmla="*/ 126 w 186"/>
                <a:gd name="T95" fmla="*/ 185 h 239"/>
                <a:gd name="T96" fmla="*/ 112 w 186"/>
                <a:gd name="T97" fmla="*/ 193 h 239"/>
                <a:gd name="T98" fmla="*/ 95 w 186"/>
                <a:gd name="T99" fmla="*/ 198 h 239"/>
                <a:gd name="T100" fmla="*/ 86 w 186"/>
                <a:gd name="T101" fmla="*/ 199 h 239"/>
                <a:gd name="T102" fmla="*/ 68 w 186"/>
                <a:gd name="T103" fmla="*/ 196 h 239"/>
                <a:gd name="T104" fmla="*/ 55 w 186"/>
                <a:gd name="T105" fmla="*/ 190 h 239"/>
                <a:gd name="T106" fmla="*/ 50 w 186"/>
                <a:gd name="T107" fmla="*/ 185 h 239"/>
                <a:gd name="T108" fmla="*/ 43 w 186"/>
                <a:gd name="T109" fmla="*/ 170 h 239"/>
                <a:gd name="T110" fmla="*/ 42 w 186"/>
                <a:gd name="T111" fmla="*/ 161 h 239"/>
                <a:gd name="T112" fmla="*/ 45 w 186"/>
                <a:gd name="T113" fmla="*/ 146 h 239"/>
                <a:gd name="T114" fmla="*/ 55 w 186"/>
                <a:gd name="T115" fmla="*/ 135 h 239"/>
                <a:gd name="T116" fmla="*/ 70 w 186"/>
                <a:gd name="T117" fmla="*/ 128 h 239"/>
                <a:gd name="T118" fmla="*/ 89 w 186"/>
                <a:gd name="T119" fmla="*/ 126 h 239"/>
                <a:gd name="T120" fmla="*/ 106 w 186"/>
                <a:gd name="T121" fmla="*/ 126 h 239"/>
                <a:gd name="T122" fmla="*/ 119 w 186"/>
                <a:gd name="T123" fmla="*/ 128 h 239"/>
                <a:gd name="T124" fmla="*/ 142 w 186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239">
                  <a:moveTo>
                    <a:pt x="186" y="235"/>
                  </a:moveTo>
                  <a:lnTo>
                    <a:pt x="186" y="77"/>
                  </a:lnTo>
                  <a:lnTo>
                    <a:pt x="186" y="77"/>
                  </a:lnTo>
                  <a:lnTo>
                    <a:pt x="185" y="67"/>
                  </a:lnTo>
                  <a:lnTo>
                    <a:pt x="184" y="58"/>
                  </a:lnTo>
                  <a:lnTo>
                    <a:pt x="182" y="50"/>
                  </a:lnTo>
                  <a:lnTo>
                    <a:pt x="179" y="43"/>
                  </a:lnTo>
                  <a:lnTo>
                    <a:pt x="176" y="36"/>
                  </a:lnTo>
                  <a:lnTo>
                    <a:pt x="172" y="29"/>
                  </a:lnTo>
                  <a:lnTo>
                    <a:pt x="167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49" y="10"/>
                  </a:lnTo>
                  <a:lnTo>
                    <a:pt x="142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1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2" y="48"/>
                  </a:lnTo>
                  <a:lnTo>
                    <a:pt x="66" y="43"/>
                  </a:lnTo>
                  <a:lnTo>
                    <a:pt x="82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8" y="41"/>
                  </a:lnTo>
                  <a:lnTo>
                    <a:pt x="117" y="43"/>
                  </a:lnTo>
                  <a:lnTo>
                    <a:pt x="124" y="46"/>
                  </a:lnTo>
                  <a:lnTo>
                    <a:pt x="131" y="50"/>
                  </a:lnTo>
                  <a:lnTo>
                    <a:pt x="135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2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6" y="128"/>
                  </a:lnTo>
                  <a:lnTo>
                    <a:pt x="3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1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0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7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6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7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5" y="146"/>
                  </a:lnTo>
                  <a:lnTo>
                    <a:pt x="49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6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8" name="Freeform 197"/>
            <p:cNvSpPr>
              <a:spLocks noEditPoints="1"/>
            </p:cNvSpPr>
            <p:nvPr userDrawn="1"/>
          </p:nvSpPr>
          <p:spPr bwMode="auto">
            <a:xfrm>
              <a:off x="896938" y="6365876"/>
              <a:ext cx="76200" cy="90488"/>
            </a:xfrm>
            <a:custGeom>
              <a:avLst/>
              <a:gdLst>
                <a:gd name="T0" fmla="*/ 0 w 195"/>
                <a:gd name="T1" fmla="*/ 230 h 230"/>
                <a:gd name="T2" fmla="*/ 50 w 195"/>
                <a:gd name="T3" fmla="*/ 230 h 230"/>
                <a:gd name="T4" fmla="*/ 101 w 195"/>
                <a:gd name="T5" fmla="*/ 138 h 230"/>
                <a:gd name="T6" fmla="*/ 151 w 195"/>
                <a:gd name="T7" fmla="*/ 138 h 230"/>
                <a:gd name="T8" fmla="*/ 151 w 195"/>
                <a:gd name="T9" fmla="*/ 230 h 230"/>
                <a:gd name="T10" fmla="*/ 195 w 195"/>
                <a:gd name="T11" fmla="*/ 230 h 230"/>
                <a:gd name="T12" fmla="*/ 195 w 195"/>
                <a:gd name="T13" fmla="*/ 0 h 230"/>
                <a:gd name="T14" fmla="*/ 82 w 195"/>
                <a:gd name="T15" fmla="*/ 0 h 230"/>
                <a:gd name="T16" fmla="*/ 82 w 195"/>
                <a:gd name="T17" fmla="*/ 0 h 230"/>
                <a:gd name="T18" fmla="*/ 67 w 195"/>
                <a:gd name="T19" fmla="*/ 1 h 230"/>
                <a:gd name="T20" fmla="*/ 60 w 195"/>
                <a:gd name="T21" fmla="*/ 2 h 230"/>
                <a:gd name="T22" fmla="*/ 53 w 195"/>
                <a:gd name="T23" fmla="*/ 4 h 230"/>
                <a:gd name="T24" fmla="*/ 47 w 195"/>
                <a:gd name="T25" fmla="*/ 6 h 230"/>
                <a:gd name="T26" fmla="*/ 41 w 195"/>
                <a:gd name="T27" fmla="*/ 9 h 230"/>
                <a:gd name="T28" fmla="*/ 36 w 195"/>
                <a:gd name="T29" fmla="*/ 13 h 230"/>
                <a:gd name="T30" fmla="*/ 31 w 195"/>
                <a:gd name="T31" fmla="*/ 17 h 230"/>
                <a:gd name="T32" fmla="*/ 26 w 195"/>
                <a:gd name="T33" fmla="*/ 21 h 230"/>
                <a:gd name="T34" fmla="*/ 22 w 195"/>
                <a:gd name="T35" fmla="*/ 27 h 230"/>
                <a:gd name="T36" fmla="*/ 19 w 195"/>
                <a:gd name="T37" fmla="*/ 32 h 230"/>
                <a:gd name="T38" fmla="*/ 16 w 195"/>
                <a:gd name="T39" fmla="*/ 38 h 230"/>
                <a:gd name="T40" fmla="*/ 14 w 195"/>
                <a:gd name="T41" fmla="*/ 45 h 230"/>
                <a:gd name="T42" fmla="*/ 12 w 195"/>
                <a:gd name="T43" fmla="*/ 52 h 230"/>
                <a:gd name="T44" fmla="*/ 11 w 195"/>
                <a:gd name="T45" fmla="*/ 60 h 230"/>
                <a:gd name="T46" fmla="*/ 10 w 195"/>
                <a:gd name="T47" fmla="*/ 69 h 230"/>
                <a:gd name="T48" fmla="*/ 10 w 195"/>
                <a:gd name="T49" fmla="*/ 69 h 230"/>
                <a:gd name="T50" fmla="*/ 11 w 195"/>
                <a:gd name="T51" fmla="*/ 82 h 230"/>
                <a:gd name="T52" fmla="*/ 14 w 195"/>
                <a:gd name="T53" fmla="*/ 93 h 230"/>
                <a:gd name="T54" fmla="*/ 18 w 195"/>
                <a:gd name="T55" fmla="*/ 103 h 230"/>
                <a:gd name="T56" fmla="*/ 23 w 195"/>
                <a:gd name="T57" fmla="*/ 112 h 230"/>
                <a:gd name="T58" fmla="*/ 30 w 195"/>
                <a:gd name="T59" fmla="*/ 119 h 230"/>
                <a:gd name="T60" fmla="*/ 38 w 195"/>
                <a:gd name="T61" fmla="*/ 125 h 230"/>
                <a:gd name="T62" fmla="*/ 47 w 195"/>
                <a:gd name="T63" fmla="*/ 129 h 230"/>
                <a:gd name="T64" fmla="*/ 58 w 195"/>
                <a:gd name="T65" fmla="*/ 132 h 230"/>
                <a:gd name="T66" fmla="*/ 0 w 195"/>
                <a:gd name="T67" fmla="*/ 230 h 230"/>
                <a:gd name="T68" fmla="*/ 151 w 195"/>
                <a:gd name="T69" fmla="*/ 37 h 230"/>
                <a:gd name="T70" fmla="*/ 151 w 195"/>
                <a:gd name="T71" fmla="*/ 101 h 230"/>
                <a:gd name="T72" fmla="*/ 87 w 195"/>
                <a:gd name="T73" fmla="*/ 101 h 230"/>
                <a:gd name="T74" fmla="*/ 87 w 195"/>
                <a:gd name="T75" fmla="*/ 101 h 230"/>
                <a:gd name="T76" fmla="*/ 80 w 195"/>
                <a:gd name="T77" fmla="*/ 100 h 230"/>
                <a:gd name="T78" fmla="*/ 73 w 195"/>
                <a:gd name="T79" fmla="*/ 99 h 230"/>
                <a:gd name="T80" fmla="*/ 68 w 195"/>
                <a:gd name="T81" fmla="*/ 96 h 230"/>
                <a:gd name="T82" fmla="*/ 63 w 195"/>
                <a:gd name="T83" fmla="*/ 92 h 230"/>
                <a:gd name="T84" fmla="*/ 60 w 195"/>
                <a:gd name="T85" fmla="*/ 88 h 230"/>
                <a:gd name="T86" fmla="*/ 57 w 195"/>
                <a:gd name="T87" fmla="*/ 82 h 230"/>
                <a:gd name="T88" fmla="*/ 56 w 195"/>
                <a:gd name="T89" fmla="*/ 76 h 230"/>
                <a:gd name="T90" fmla="*/ 55 w 195"/>
                <a:gd name="T91" fmla="*/ 69 h 230"/>
                <a:gd name="T92" fmla="*/ 55 w 195"/>
                <a:gd name="T93" fmla="*/ 69 h 230"/>
                <a:gd name="T94" fmla="*/ 56 w 195"/>
                <a:gd name="T95" fmla="*/ 62 h 230"/>
                <a:gd name="T96" fmla="*/ 58 w 195"/>
                <a:gd name="T97" fmla="*/ 55 h 230"/>
                <a:gd name="T98" fmla="*/ 60 w 195"/>
                <a:gd name="T99" fmla="*/ 50 h 230"/>
                <a:gd name="T100" fmla="*/ 64 w 195"/>
                <a:gd name="T101" fmla="*/ 45 h 230"/>
                <a:gd name="T102" fmla="*/ 69 w 195"/>
                <a:gd name="T103" fmla="*/ 41 h 230"/>
                <a:gd name="T104" fmla="*/ 74 w 195"/>
                <a:gd name="T105" fmla="*/ 39 h 230"/>
                <a:gd name="T106" fmla="*/ 80 w 195"/>
                <a:gd name="T107" fmla="*/ 37 h 230"/>
                <a:gd name="T108" fmla="*/ 87 w 195"/>
                <a:gd name="T109" fmla="*/ 37 h 230"/>
                <a:gd name="T110" fmla="*/ 151 w 195"/>
                <a:gd name="T111" fmla="*/ 3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5" h="230">
                  <a:moveTo>
                    <a:pt x="0" y="230"/>
                  </a:moveTo>
                  <a:lnTo>
                    <a:pt x="50" y="230"/>
                  </a:lnTo>
                  <a:lnTo>
                    <a:pt x="101" y="138"/>
                  </a:lnTo>
                  <a:lnTo>
                    <a:pt x="151" y="138"/>
                  </a:lnTo>
                  <a:lnTo>
                    <a:pt x="151" y="230"/>
                  </a:lnTo>
                  <a:lnTo>
                    <a:pt x="195" y="230"/>
                  </a:lnTo>
                  <a:lnTo>
                    <a:pt x="195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41" y="9"/>
                  </a:lnTo>
                  <a:lnTo>
                    <a:pt x="36" y="13"/>
                  </a:lnTo>
                  <a:lnTo>
                    <a:pt x="31" y="17"/>
                  </a:lnTo>
                  <a:lnTo>
                    <a:pt x="26" y="21"/>
                  </a:lnTo>
                  <a:lnTo>
                    <a:pt x="22" y="27"/>
                  </a:lnTo>
                  <a:lnTo>
                    <a:pt x="19" y="32"/>
                  </a:lnTo>
                  <a:lnTo>
                    <a:pt x="16" y="38"/>
                  </a:lnTo>
                  <a:lnTo>
                    <a:pt x="14" y="45"/>
                  </a:lnTo>
                  <a:lnTo>
                    <a:pt x="12" y="52"/>
                  </a:lnTo>
                  <a:lnTo>
                    <a:pt x="11" y="60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1" y="82"/>
                  </a:lnTo>
                  <a:lnTo>
                    <a:pt x="14" y="93"/>
                  </a:lnTo>
                  <a:lnTo>
                    <a:pt x="18" y="103"/>
                  </a:lnTo>
                  <a:lnTo>
                    <a:pt x="23" y="112"/>
                  </a:lnTo>
                  <a:lnTo>
                    <a:pt x="30" y="119"/>
                  </a:lnTo>
                  <a:lnTo>
                    <a:pt x="38" y="125"/>
                  </a:lnTo>
                  <a:lnTo>
                    <a:pt x="47" y="129"/>
                  </a:lnTo>
                  <a:lnTo>
                    <a:pt x="58" y="132"/>
                  </a:lnTo>
                  <a:lnTo>
                    <a:pt x="0" y="230"/>
                  </a:lnTo>
                  <a:close/>
                  <a:moveTo>
                    <a:pt x="151" y="37"/>
                  </a:moveTo>
                  <a:lnTo>
                    <a:pt x="151" y="101"/>
                  </a:lnTo>
                  <a:lnTo>
                    <a:pt x="87" y="101"/>
                  </a:lnTo>
                  <a:lnTo>
                    <a:pt x="87" y="101"/>
                  </a:lnTo>
                  <a:lnTo>
                    <a:pt x="80" y="100"/>
                  </a:lnTo>
                  <a:lnTo>
                    <a:pt x="73" y="99"/>
                  </a:lnTo>
                  <a:lnTo>
                    <a:pt x="68" y="96"/>
                  </a:lnTo>
                  <a:lnTo>
                    <a:pt x="63" y="92"/>
                  </a:lnTo>
                  <a:lnTo>
                    <a:pt x="60" y="88"/>
                  </a:lnTo>
                  <a:lnTo>
                    <a:pt x="57" y="82"/>
                  </a:lnTo>
                  <a:lnTo>
                    <a:pt x="56" y="76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6" y="62"/>
                  </a:lnTo>
                  <a:lnTo>
                    <a:pt x="58" y="55"/>
                  </a:lnTo>
                  <a:lnTo>
                    <a:pt x="60" y="50"/>
                  </a:lnTo>
                  <a:lnTo>
                    <a:pt x="64" y="45"/>
                  </a:lnTo>
                  <a:lnTo>
                    <a:pt x="69" y="41"/>
                  </a:lnTo>
                  <a:lnTo>
                    <a:pt x="74" y="39"/>
                  </a:lnTo>
                  <a:lnTo>
                    <a:pt x="80" y="37"/>
                  </a:lnTo>
                  <a:lnTo>
                    <a:pt x="87" y="37"/>
                  </a:lnTo>
                  <a:lnTo>
                    <a:pt x="151" y="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99" name="Freeform 198"/>
            <p:cNvSpPr>
              <a:spLocks/>
            </p:cNvSpPr>
            <p:nvPr userDrawn="1"/>
          </p:nvSpPr>
          <p:spPr bwMode="auto">
            <a:xfrm>
              <a:off x="1036638" y="6362701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2 h 239"/>
                <a:gd name="T8" fmla="*/ 100 w 181"/>
                <a:gd name="T9" fmla="*/ 0 h 239"/>
                <a:gd name="T10" fmla="*/ 90 w 181"/>
                <a:gd name="T11" fmla="*/ 0 h 239"/>
                <a:gd name="T12" fmla="*/ 70 w 181"/>
                <a:gd name="T13" fmla="*/ 4 h 239"/>
                <a:gd name="T14" fmla="*/ 52 w 181"/>
                <a:gd name="T15" fmla="*/ 12 h 239"/>
                <a:gd name="T16" fmla="*/ 36 w 181"/>
                <a:gd name="T17" fmla="*/ 24 h 239"/>
                <a:gd name="T18" fmla="*/ 23 w 181"/>
                <a:gd name="T19" fmla="*/ 39 h 239"/>
                <a:gd name="T20" fmla="*/ 12 w 181"/>
                <a:gd name="T21" fmla="*/ 58 h 239"/>
                <a:gd name="T22" fmla="*/ 4 w 181"/>
                <a:gd name="T23" fmla="*/ 80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5 h 239"/>
                <a:gd name="T30" fmla="*/ 8 w 181"/>
                <a:gd name="T31" fmla="*/ 169 h 239"/>
                <a:gd name="T32" fmla="*/ 17 w 181"/>
                <a:gd name="T33" fmla="*/ 190 h 239"/>
                <a:gd name="T34" fmla="*/ 29 w 181"/>
                <a:gd name="T35" fmla="*/ 207 h 239"/>
                <a:gd name="T36" fmla="*/ 43 w 181"/>
                <a:gd name="T37" fmla="*/ 221 h 239"/>
                <a:gd name="T38" fmla="*/ 60 w 181"/>
                <a:gd name="T39" fmla="*/ 231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8 w 181"/>
                <a:gd name="T47" fmla="*/ 232 h 239"/>
                <a:gd name="T48" fmla="*/ 158 w 181"/>
                <a:gd name="T49" fmla="*/ 220 h 239"/>
                <a:gd name="T50" fmla="*/ 174 w 181"/>
                <a:gd name="T51" fmla="*/ 205 h 239"/>
                <a:gd name="T52" fmla="*/ 152 w 181"/>
                <a:gd name="T53" fmla="*/ 168 h 239"/>
                <a:gd name="T54" fmla="*/ 139 w 181"/>
                <a:gd name="T55" fmla="*/ 181 h 239"/>
                <a:gd name="T56" fmla="*/ 127 w 181"/>
                <a:gd name="T57" fmla="*/ 189 h 239"/>
                <a:gd name="T58" fmla="*/ 115 w 181"/>
                <a:gd name="T59" fmla="*/ 195 h 239"/>
                <a:gd name="T60" fmla="*/ 100 w 181"/>
                <a:gd name="T61" fmla="*/ 197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8 h 239"/>
                <a:gd name="T68" fmla="*/ 63 w 181"/>
                <a:gd name="T69" fmla="*/ 180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8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3 h 239"/>
                <a:gd name="T82" fmla="*/ 68 w 181"/>
                <a:gd name="T83" fmla="*/ 54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1 w 181"/>
                <a:gd name="T93" fmla="*/ 46 h 239"/>
                <a:gd name="T94" fmla="*/ 134 w 181"/>
                <a:gd name="T95" fmla="*/ 53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5"/>
                  </a:lnTo>
                  <a:lnTo>
                    <a:pt x="145" y="10"/>
                  </a:lnTo>
                  <a:lnTo>
                    <a:pt x="135" y="5"/>
                  </a:lnTo>
                  <a:lnTo>
                    <a:pt x="124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0"/>
                  </a:lnTo>
                  <a:lnTo>
                    <a:pt x="80" y="2"/>
                  </a:lnTo>
                  <a:lnTo>
                    <a:pt x="70" y="4"/>
                  </a:lnTo>
                  <a:lnTo>
                    <a:pt x="61" y="8"/>
                  </a:lnTo>
                  <a:lnTo>
                    <a:pt x="52" y="12"/>
                  </a:lnTo>
                  <a:lnTo>
                    <a:pt x="44" y="18"/>
                  </a:lnTo>
                  <a:lnTo>
                    <a:pt x="36" y="24"/>
                  </a:lnTo>
                  <a:lnTo>
                    <a:pt x="29" y="31"/>
                  </a:lnTo>
                  <a:lnTo>
                    <a:pt x="23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4" y="80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5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90"/>
                  </a:lnTo>
                  <a:lnTo>
                    <a:pt x="22" y="199"/>
                  </a:lnTo>
                  <a:lnTo>
                    <a:pt x="29" y="207"/>
                  </a:lnTo>
                  <a:lnTo>
                    <a:pt x="35" y="214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60" y="231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6"/>
                  </a:lnTo>
                  <a:lnTo>
                    <a:pt x="138" y="232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3"/>
                  </a:lnTo>
                  <a:lnTo>
                    <a:pt x="174" y="205"/>
                  </a:lnTo>
                  <a:lnTo>
                    <a:pt x="181" y="197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1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3"/>
                  </a:lnTo>
                  <a:lnTo>
                    <a:pt x="115" y="195"/>
                  </a:lnTo>
                  <a:lnTo>
                    <a:pt x="108" y="196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1"/>
                  </a:lnTo>
                  <a:lnTo>
                    <a:pt x="72" y="188"/>
                  </a:lnTo>
                  <a:lnTo>
                    <a:pt x="67" y="184"/>
                  </a:lnTo>
                  <a:lnTo>
                    <a:pt x="63" y="180"/>
                  </a:lnTo>
                  <a:lnTo>
                    <a:pt x="59" y="175"/>
                  </a:lnTo>
                  <a:lnTo>
                    <a:pt x="56" y="169"/>
                  </a:lnTo>
                  <a:lnTo>
                    <a:pt x="53" y="164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8"/>
                  </a:lnTo>
                  <a:lnTo>
                    <a:pt x="68" y="54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4" y="44"/>
                  </a:lnTo>
                  <a:lnTo>
                    <a:pt x="121" y="46"/>
                  </a:lnTo>
                  <a:lnTo>
                    <a:pt x="127" y="49"/>
                  </a:lnTo>
                  <a:lnTo>
                    <a:pt x="134" y="53"/>
                  </a:lnTo>
                  <a:lnTo>
                    <a:pt x="141" y="58"/>
                  </a:lnTo>
                  <a:lnTo>
                    <a:pt x="148" y="64"/>
                  </a:lnTo>
                  <a:lnTo>
                    <a:pt x="155" y="70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0" name="Freeform 199"/>
            <p:cNvSpPr>
              <a:spLocks/>
            </p:cNvSpPr>
            <p:nvPr userDrawn="1"/>
          </p:nvSpPr>
          <p:spPr bwMode="auto">
            <a:xfrm>
              <a:off x="1116013" y="6365876"/>
              <a:ext cx="82550" cy="92075"/>
            </a:xfrm>
            <a:custGeom>
              <a:avLst/>
              <a:gdLst>
                <a:gd name="T0" fmla="*/ 93 w 208"/>
                <a:gd name="T1" fmla="*/ 39 h 234"/>
                <a:gd name="T2" fmla="*/ 163 w 208"/>
                <a:gd name="T3" fmla="*/ 39 h 234"/>
                <a:gd name="T4" fmla="*/ 163 w 208"/>
                <a:gd name="T5" fmla="*/ 230 h 234"/>
                <a:gd name="T6" fmla="*/ 208 w 208"/>
                <a:gd name="T7" fmla="*/ 230 h 234"/>
                <a:gd name="T8" fmla="*/ 208 w 208"/>
                <a:gd name="T9" fmla="*/ 0 h 234"/>
                <a:gd name="T10" fmla="*/ 51 w 208"/>
                <a:gd name="T11" fmla="*/ 0 h 234"/>
                <a:gd name="T12" fmla="*/ 46 w 208"/>
                <a:gd name="T13" fmla="*/ 116 h 234"/>
                <a:gd name="T14" fmla="*/ 46 w 208"/>
                <a:gd name="T15" fmla="*/ 116 h 234"/>
                <a:gd name="T16" fmla="*/ 45 w 208"/>
                <a:gd name="T17" fmla="*/ 135 h 234"/>
                <a:gd name="T18" fmla="*/ 42 w 208"/>
                <a:gd name="T19" fmla="*/ 152 h 234"/>
                <a:gd name="T20" fmla="*/ 37 w 208"/>
                <a:gd name="T21" fmla="*/ 165 h 234"/>
                <a:gd name="T22" fmla="*/ 32 w 208"/>
                <a:gd name="T23" fmla="*/ 175 h 234"/>
                <a:gd name="T24" fmla="*/ 25 w 208"/>
                <a:gd name="T25" fmla="*/ 183 h 234"/>
                <a:gd name="T26" fmla="*/ 17 w 208"/>
                <a:gd name="T27" fmla="*/ 189 h 234"/>
                <a:gd name="T28" fmla="*/ 9 w 208"/>
                <a:gd name="T29" fmla="*/ 193 h 234"/>
                <a:gd name="T30" fmla="*/ 0 w 208"/>
                <a:gd name="T31" fmla="*/ 195 h 234"/>
                <a:gd name="T32" fmla="*/ 11 w 208"/>
                <a:gd name="T33" fmla="*/ 234 h 234"/>
                <a:gd name="T34" fmla="*/ 11 w 208"/>
                <a:gd name="T35" fmla="*/ 234 h 234"/>
                <a:gd name="T36" fmla="*/ 18 w 208"/>
                <a:gd name="T37" fmla="*/ 233 h 234"/>
                <a:gd name="T38" fmla="*/ 26 w 208"/>
                <a:gd name="T39" fmla="*/ 230 h 234"/>
                <a:gd name="T40" fmla="*/ 33 w 208"/>
                <a:gd name="T41" fmla="*/ 228 h 234"/>
                <a:gd name="T42" fmla="*/ 40 w 208"/>
                <a:gd name="T43" fmla="*/ 224 h 234"/>
                <a:gd name="T44" fmla="*/ 47 w 208"/>
                <a:gd name="T45" fmla="*/ 220 h 234"/>
                <a:gd name="T46" fmla="*/ 53 w 208"/>
                <a:gd name="T47" fmla="*/ 215 h 234"/>
                <a:gd name="T48" fmla="*/ 59 w 208"/>
                <a:gd name="T49" fmla="*/ 209 h 234"/>
                <a:gd name="T50" fmla="*/ 65 w 208"/>
                <a:gd name="T51" fmla="*/ 203 h 234"/>
                <a:gd name="T52" fmla="*/ 70 w 208"/>
                <a:gd name="T53" fmla="*/ 195 h 234"/>
                <a:gd name="T54" fmla="*/ 75 w 208"/>
                <a:gd name="T55" fmla="*/ 187 h 234"/>
                <a:gd name="T56" fmla="*/ 79 w 208"/>
                <a:gd name="T57" fmla="*/ 178 h 234"/>
                <a:gd name="T58" fmla="*/ 82 w 208"/>
                <a:gd name="T59" fmla="*/ 168 h 234"/>
                <a:gd name="T60" fmla="*/ 86 w 208"/>
                <a:gd name="T61" fmla="*/ 156 h 234"/>
                <a:gd name="T62" fmla="*/ 88 w 208"/>
                <a:gd name="T63" fmla="*/ 143 h 234"/>
                <a:gd name="T64" fmla="*/ 89 w 208"/>
                <a:gd name="T65" fmla="*/ 130 h 234"/>
                <a:gd name="T66" fmla="*/ 90 w 208"/>
                <a:gd name="T67" fmla="*/ 116 h 234"/>
                <a:gd name="T68" fmla="*/ 93 w 208"/>
                <a:gd name="T69" fmla="*/ 3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234">
                  <a:moveTo>
                    <a:pt x="93" y="39"/>
                  </a:moveTo>
                  <a:lnTo>
                    <a:pt x="163" y="39"/>
                  </a:lnTo>
                  <a:lnTo>
                    <a:pt x="163" y="230"/>
                  </a:lnTo>
                  <a:lnTo>
                    <a:pt x="208" y="230"/>
                  </a:lnTo>
                  <a:lnTo>
                    <a:pt x="208" y="0"/>
                  </a:lnTo>
                  <a:lnTo>
                    <a:pt x="51" y="0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5" y="135"/>
                  </a:lnTo>
                  <a:lnTo>
                    <a:pt x="42" y="152"/>
                  </a:lnTo>
                  <a:lnTo>
                    <a:pt x="37" y="165"/>
                  </a:lnTo>
                  <a:lnTo>
                    <a:pt x="32" y="175"/>
                  </a:lnTo>
                  <a:lnTo>
                    <a:pt x="25" y="183"/>
                  </a:lnTo>
                  <a:lnTo>
                    <a:pt x="17" y="189"/>
                  </a:lnTo>
                  <a:lnTo>
                    <a:pt x="9" y="193"/>
                  </a:lnTo>
                  <a:lnTo>
                    <a:pt x="0" y="195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8" y="233"/>
                  </a:lnTo>
                  <a:lnTo>
                    <a:pt x="26" y="230"/>
                  </a:lnTo>
                  <a:lnTo>
                    <a:pt x="33" y="228"/>
                  </a:lnTo>
                  <a:lnTo>
                    <a:pt x="40" y="224"/>
                  </a:lnTo>
                  <a:lnTo>
                    <a:pt x="47" y="220"/>
                  </a:lnTo>
                  <a:lnTo>
                    <a:pt x="53" y="215"/>
                  </a:lnTo>
                  <a:lnTo>
                    <a:pt x="59" y="209"/>
                  </a:lnTo>
                  <a:lnTo>
                    <a:pt x="65" y="203"/>
                  </a:lnTo>
                  <a:lnTo>
                    <a:pt x="70" y="195"/>
                  </a:lnTo>
                  <a:lnTo>
                    <a:pt x="75" y="187"/>
                  </a:lnTo>
                  <a:lnTo>
                    <a:pt x="79" y="178"/>
                  </a:lnTo>
                  <a:lnTo>
                    <a:pt x="82" y="168"/>
                  </a:lnTo>
                  <a:lnTo>
                    <a:pt x="86" y="156"/>
                  </a:lnTo>
                  <a:lnTo>
                    <a:pt x="88" y="143"/>
                  </a:lnTo>
                  <a:lnTo>
                    <a:pt x="89" y="130"/>
                  </a:lnTo>
                  <a:lnTo>
                    <a:pt x="90" y="116"/>
                  </a:lnTo>
                  <a:lnTo>
                    <a:pt x="9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1" name="Freeform 200"/>
            <p:cNvSpPr>
              <a:spLocks noEditPoints="1"/>
            </p:cNvSpPr>
            <p:nvPr userDrawn="1"/>
          </p:nvSpPr>
          <p:spPr bwMode="auto">
            <a:xfrm>
              <a:off x="1217613" y="6362701"/>
              <a:ext cx="80963" cy="95250"/>
            </a:xfrm>
            <a:custGeom>
              <a:avLst/>
              <a:gdLst>
                <a:gd name="T0" fmla="*/ 204 w 204"/>
                <a:gd name="T1" fmla="*/ 105 h 239"/>
                <a:gd name="T2" fmla="*/ 196 w 204"/>
                <a:gd name="T3" fmla="*/ 69 h 239"/>
                <a:gd name="T4" fmla="*/ 182 w 204"/>
                <a:gd name="T5" fmla="*/ 40 h 239"/>
                <a:gd name="T6" fmla="*/ 160 w 204"/>
                <a:gd name="T7" fmla="*/ 18 h 239"/>
                <a:gd name="T8" fmla="*/ 133 w 204"/>
                <a:gd name="T9" fmla="*/ 5 h 239"/>
                <a:gd name="T10" fmla="*/ 102 w 204"/>
                <a:gd name="T11" fmla="*/ 0 h 239"/>
                <a:gd name="T12" fmla="*/ 81 w 204"/>
                <a:gd name="T13" fmla="*/ 2 h 239"/>
                <a:gd name="T14" fmla="*/ 53 w 204"/>
                <a:gd name="T15" fmla="*/ 12 h 239"/>
                <a:gd name="T16" fmla="*/ 30 w 204"/>
                <a:gd name="T17" fmla="*/ 31 h 239"/>
                <a:gd name="T18" fmla="*/ 12 w 204"/>
                <a:gd name="T19" fmla="*/ 58 h 239"/>
                <a:gd name="T20" fmla="*/ 2 w 204"/>
                <a:gd name="T21" fmla="*/ 93 h 239"/>
                <a:gd name="T22" fmla="*/ 0 w 204"/>
                <a:gd name="T23" fmla="*/ 119 h 239"/>
                <a:gd name="T24" fmla="*/ 5 w 204"/>
                <a:gd name="T25" fmla="*/ 158 h 239"/>
                <a:gd name="T26" fmla="*/ 17 w 204"/>
                <a:gd name="T27" fmla="*/ 189 h 239"/>
                <a:gd name="T28" fmla="*/ 36 w 204"/>
                <a:gd name="T29" fmla="*/ 214 h 239"/>
                <a:gd name="T30" fmla="*/ 61 w 204"/>
                <a:gd name="T31" fmla="*/ 231 h 239"/>
                <a:gd name="T32" fmla="*/ 90 w 204"/>
                <a:gd name="T33" fmla="*/ 239 h 239"/>
                <a:gd name="T34" fmla="*/ 112 w 204"/>
                <a:gd name="T35" fmla="*/ 239 h 239"/>
                <a:gd name="T36" fmla="*/ 142 w 204"/>
                <a:gd name="T37" fmla="*/ 231 h 239"/>
                <a:gd name="T38" fmla="*/ 167 w 204"/>
                <a:gd name="T39" fmla="*/ 215 h 239"/>
                <a:gd name="T40" fmla="*/ 187 w 204"/>
                <a:gd name="T41" fmla="*/ 190 h 239"/>
                <a:gd name="T42" fmla="*/ 200 w 204"/>
                <a:gd name="T43" fmla="*/ 158 h 239"/>
                <a:gd name="T44" fmla="*/ 204 w 204"/>
                <a:gd name="T45" fmla="*/ 118 h 239"/>
                <a:gd name="T46" fmla="*/ 159 w 204"/>
                <a:gd name="T47" fmla="*/ 119 h 239"/>
                <a:gd name="T48" fmla="*/ 150 w 204"/>
                <a:gd name="T49" fmla="*/ 163 h 239"/>
                <a:gd name="T50" fmla="*/ 135 w 204"/>
                <a:gd name="T51" fmla="*/ 183 h 239"/>
                <a:gd name="T52" fmla="*/ 120 w 204"/>
                <a:gd name="T53" fmla="*/ 193 h 239"/>
                <a:gd name="T54" fmla="*/ 103 w 204"/>
                <a:gd name="T55" fmla="*/ 197 h 239"/>
                <a:gd name="T56" fmla="*/ 90 w 204"/>
                <a:gd name="T57" fmla="*/ 195 h 239"/>
                <a:gd name="T58" fmla="*/ 74 w 204"/>
                <a:gd name="T59" fmla="*/ 189 h 239"/>
                <a:gd name="T60" fmla="*/ 61 w 204"/>
                <a:gd name="T61" fmla="*/ 177 h 239"/>
                <a:gd name="T62" fmla="*/ 52 w 204"/>
                <a:gd name="T63" fmla="*/ 159 h 239"/>
                <a:gd name="T64" fmla="*/ 45 w 204"/>
                <a:gd name="T65" fmla="*/ 118 h 239"/>
                <a:gd name="T66" fmla="*/ 49 w 204"/>
                <a:gd name="T67" fmla="*/ 87 h 239"/>
                <a:gd name="T68" fmla="*/ 60 w 204"/>
                <a:gd name="T69" fmla="*/ 63 h 239"/>
                <a:gd name="T70" fmla="*/ 73 w 204"/>
                <a:gd name="T71" fmla="*/ 51 h 239"/>
                <a:gd name="T72" fmla="*/ 88 w 204"/>
                <a:gd name="T73" fmla="*/ 44 h 239"/>
                <a:gd name="T74" fmla="*/ 100 w 204"/>
                <a:gd name="T75" fmla="*/ 43 h 239"/>
                <a:gd name="T76" fmla="*/ 119 w 204"/>
                <a:gd name="T77" fmla="*/ 46 h 239"/>
                <a:gd name="T78" fmla="*/ 135 w 204"/>
                <a:gd name="T79" fmla="*/ 55 h 239"/>
                <a:gd name="T80" fmla="*/ 147 w 204"/>
                <a:gd name="T81" fmla="*/ 69 h 239"/>
                <a:gd name="T82" fmla="*/ 155 w 204"/>
                <a:gd name="T83" fmla="*/ 88 h 239"/>
                <a:gd name="T84" fmla="*/ 159 w 204"/>
                <a:gd name="T85" fmla="*/ 11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4" h="239">
                  <a:moveTo>
                    <a:pt x="204" y="118"/>
                  </a:moveTo>
                  <a:lnTo>
                    <a:pt x="204" y="118"/>
                  </a:lnTo>
                  <a:lnTo>
                    <a:pt x="204" y="105"/>
                  </a:lnTo>
                  <a:lnTo>
                    <a:pt x="202" y="92"/>
                  </a:lnTo>
                  <a:lnTo>
                    <a:pt x="200" y="81"/>
                  </a:lnTo>
                  <a:lnTo>
                    <a:pt x="196" y="69"/>
                  </a:lnTo>
                  <a:lnTo>
                    <a:pt x="192" y="59"/>
                  </a:lnTo>
                  <a:lnTo>
                    <a:pt x="187" y="49"/>
                  </a:lnTo>
                  <a:lnTo>
                    <a:pt x="182" y="40"/>
                  </a:lnTo>
                  <a:lnTo>
                    <a:pt x="175" y="32"/>
                  </a:lnTo>
                  <a:lnTo>
                    <a:pt x="168" y="25"/>
                  </a:lnTo>
                  <a:lnTo>
                    <a:pt x="160" y="18"/>
                  </a:lnTo>
                  <a:lnTo>
                    <a:pt x="152" y="13"/>
                  </a:lnTo>
                  <a:lnTo>
                    <a:pt x="143" y="8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3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2" y="0"/>
                  </a:lnTo>
                  <a:lnTo>
                    <a:pt x="81" y="2"/>
                  </a:lnTo>
                  <a:lnTo>
                    <a:pt x="71" y="4"/>
                  </a:lnTo>
                  <a:lnTo>
                    <a:pt x="62" y="8"/>
                  </a:lnTo>
                  <a:lnTo>
                    <a:pt x="53" y="12"/>
                  </a:lnTo>
                  <a:lnTo>
                    <a:pt x="45" y="18"/>
                  </a:lnTo>
                  <a:lnTo>
                    <a:pt x="37" y="24"/>
                  </a:lnTo>
                  <a:lnTo>
                    <a:pt x="30" y="31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5" y="80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5"/>
                  </a:lnTo>
                  <a:lnTo>
                    <a:pt x="5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7"/>
                  </a:lnTo>
                  <a:lnTo>
                    <a:pt x="36" y="214"/>
                  </a:lnTo>
                  <a:lnTo>
                    <a:pt x="44" y="221"/>
                  </a:lnTo>
                  <a:lnTo>
                    <a:pt x="52" y="226"/>
                  </a:lnTo>
                  <a:lnTo>
                    <a:pt x="61" y="231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2" y="239"/>
                  </a:lnTo>
                  <a:lnTo>
                    <a:pt x="122" y="237"/>
                  </a:lnTo>
                  <a:lnTo>
                    <a:pt x="132" y="235"/>
                  </a:lnTo>
                  <a:lnTo>
                    <a:pt x="142" y="231"/>
                  </a:lnTo>
                  <a:lnTo>
                    <a:pt x="151" y="227"/>
                  </a:lnTo>
                  <a:lnTo>
                    <a:pt x="159" y="221"/>
                  </a:lnTo>
                  <a:lnTo>
                    <a:pt x="167" y="215"/>
                  </a:lnTo>
                  <a:lnTo>
                    <a:pt x="175" y="208"/>
                  </a:lnTo>
                  <a:lnTo>
                    <a:pt x="181" y="199"/>
                  </a:lnTo>
                  <a:lnTo>
                    <a:pt x="187" y="190"/>
                  </a:lnTo>
                  <a:lnTo>
                    <a:pt x="192" y="181"/>
                  </a:lnTo>
                  <a:lnTo>
                    <a:pt x="196" y="170"/>
                  </a:lnTo>
                  <a:lnTo>
                    <a:pt x="200" y="158"/>
                  </a:lnTo>
                  <a:lnTo>
                    <a:pt x="202" y="145"/>
                  </a:lnTo>
                  <a:lnTo>
                    <a:pt x="204" y="132"/>
                  </a:lnTo>
                  <a:lnTo>
                    <a:pt x="204" y="118"/>
                  </a:lnTo>
                  <a:lnTo>
                    <a:pt x="204" y="118"/>
                  </a:lnTo>
                  <a:close/>
                  <a:moveTo>
                    <a:pt x="159" y="119"/>
                  </a:moveTo>
                  <a:lnTo>
                    <a:pt x="159" y="119"/>
                  </a:lnTo>
                  <a:lnTo>
                    <a:pt x="158" y="135"/>
                  </a:lnTo>
                  <a:lnTo>
                    <a:pt x="155" y="150"/>
                  </a:lnTo>
                  <a:lnTo>
                    <a:pt x="150" y="163"/>
                  </a:lnTo>
                  <a:lnTo>
                    <a:pt x="143" y="174"/>
                  </a:lnTo>
                  <a:lnTo>
                    <a:pt x="140" y="179"/>
                  </a:lnTo>
                  <a:lnTo>
                    <a:pt x="135" y="183"/>
                  </a:lnTo>
                  <a:lnTo>
                    <a:pt x="131" y="187"/>
                  </a:lnTo>
                  <a:lnTo>
                    <a:pt x="126" y="191"/>
                  </a:lnTo>
                  <a:lnTo>
                    <a:pt x="120" y="193"/>
                  </a:lnTo>
                  <a:lnTo>
                    <a:pt x="115" y="195"/>
                  </a:lnTo>
                  <a:lnTo>
                    <a:pt x="109" y="196"/>
                  </a:lnTo>
                  <a:lnTo>
                    <a:pt x="103" y="197"/>
                  </a:lnTo>
                  <a:lnTo>
                    <a:pt x="103" y="197"/>
                  </a:lnTo>
                  <a:lnTo>
                    <a:pt x="96" y="196"/>
                  </a:lnTo>
                  <a:lnTo>
                    <a:pt x="90" y="195"/>
                  </a:lnTo>
                  <a:lnTo>
                    <a:pt x="85" y="194"/>
                  </a:lnTo>
                  <a:lnTo>
                    <a:pt x="79" y="192"/>
                  </a:lnTo>
                  <a:lnTo>
                    <a:pt x="74" y="189"/>
                  </a:lnTo>
                  <a:lnTo>
                    <a:pt x="70" y="185"/>
                  </a:lnTo>
                  <a:lnTo>
                    <a:pt x="65" y="181"/>
                  </a:lnTo>
                  <a:lnTo>
                    <a:pt x="61" y="177"/>
                  </a:lnTo>
                  <a:lnTo>
                    <a:pt x="58" y="171"/>
                  </a:lnTo>
                  <a:lnTo>
                    <a:pt x="55" y="166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9"/>
                  </a:lnTo>
                  <a:lnTo>
                    <a:pt x="68" y="54"/>
                  </a:lnTo>
                  <a:lnTo>
                    <a:pt x="73" y="51"/>
                  </a:lnTo>
                  <a:lnTo>
                    <a:pt x="77" y="48"/>
                  </a:lnTo>
                  <a:lnTo>
                    <a:pt x="83" y="46"/>
                  </a:lnTo>
                  <a:lnTo>
                    <a:pt x="88" y="44"/>
                  </a:lnTo>
                  <a:lnTo>
                    <a:pt x="94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7" y="43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5" y="48"/>
                  </a:lnTo>
                  <a:lnTo>
                    <a:pt x="130" y="51"/>
                  </a:lnTo>
                  <a:lnTo>
                    <a:pt x="135" y="55"/>
                  </a:lnTo>
                  <a:lnTo>
                    <a:pt x="139" y="59"/>
                  </a:lnTo>
                  <a:lnTo>
                    <a:pt x="143" y="63"/>
                  </a:lnTo>
                  <a:lnTo>
                    <a:pt x="147" y="69"/>
                  </a:lnTo>
                  <a:lnTo>
                    <a:pt x="150" y="75"/>
                  </a:lnTo>
                  <a:lnTo>
                    <a:pt x="153" y="81"/>
                  </a:lnTo>
                  <a:lnTo>
                    <a:pt x="155" y="88"/>
                  </a:lnTo>
                  <a:lnTo>
                    <a:pt x="158" y="103"/>
                  </a:lnTo>
                  <a:lnTo>
                    <a:pt x="159" y="119"/>
                  </a:lnTo>
                  <a:lnTo>
                    <a:pt x="159" y="1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2" name="Freeform 201"/>
            <p:cNvSpPr>
              <a:spLocks/>
            </p:cNvSpPr>
            <p:nvPr userDrawn="1"/>
          </p:nvSpPr>
          <p:spPr bwMode="auto">
            <a:xfrm>
              <a:off x="1309688" y="6362701"/>
              <a:ext cx="123825" cy="93663"/>
            </a:xfrm>
            <a:custGeom>
              <a:avLst/>
              <a:gdLst>
                <a:gd name="T0" fmla="*/ 179 w 313"/>
                <a:gd name="T1" fmla="*/ 235 h 235"/>
                <a:gd name="T2" fmla="*/ 206 w 313"/>
                <a:gd name="T3" fmla="*/ 131 h 235"/>
                <a:gd name="T4" fmla="*/ 313 w 313"/>
                <a:gd name="T5" fmla="*/ 235 h 235"/>
                <a:gd name="T6" fmla="*/ 269 w 313"/>
                <a:gd name="T7" fmla="*/ 53 h 235"/>
                <a:gd name="T8" fmla="*/ 273 w 313"/>
                <a:gd name="T9" fmla="*/ 47 h 235"/>
                <a:gd name="T10" fmla="*/ 283 w 313"/>
                <a:gd name="T11" fmla="*/ 40 h 235"/>
                <a:gd name="T12" fmla="*/ 289 w 313"/>
                <a:gd name="T13" fmla="*/ 39 h 235"/>
                <a:gd name="T14" fmla="*/ 300 w 313"/>
                <a:gd name="T15" fmla="*/ 40 h 235"/>
                <a:gd name="T16" fmla="*/ 307 w 313"/>
                <a:gd name="T17" fmla="*/ 44 h 235"/>
                <a:gd name="T18" fmla="*/ 307 w 313"/>
                <a:gd name="T19" fmla="*/ 5 h 235"/>
                <a:gd name="T20" fmla="*/ 291 w 313"/>
                <a:gd name="T21" fmla="*/ 0 h 235"/>
                <a:gd name="T22" fmla="*/ 284 w 313"/>
                <a:gd name="T23" fmla="*/ 0 h 235"/>
                <a:gd name="T24" fmla="*/ 270 w 313"/>
                <a:gd name="T25" fmla="*/ 2 h 235"/>
                <a:gd name="T26" fmla="*/ 258 w 313"/>
                <a:gd name="T27" fmla="*/ 8 h 235"/>
                <a:gd name="T28" fmla="*/ 247 w 313"/>
                <a:gd name="T29" fmla="*/ 19 h 235"/>
                <a:gd name="T30" fmla="*/ 238 w 313"/>
                <a:gd name="T31" fmla="*/ 35 h 235"/>
                <a:gd name="T32" fmla="*/ 179 w 313"/>
                <a:gd name="T33" fmla="*/ 94 h 235"/>
                <a:gd name="T34" fmla="*/ 135 w 313"/>
                <a:gd name="T35" fmla="*/ 5 h 235"/>
                <a:gd name="T36" fmla="*/ 108 w 313"/>
                <a:gd name="T37" fmla="*/ 94 h 235"/>
                <a:gd name="T38" fmla="*/ 75 w 313"/>
                <a:gd name="T39" fmla="*/ 35 h 235"/>
                <a:gd name="T40" fmla="*/ 66 w 313"/>
                <a:gd name="T41" fmla="*/ 19 h 235"/>
                <a:gd name="T42" fmla="*/ 56 w 313"/>
                <a:gd name="T43" fmla="*/ 8 h 235"/>
                <a:gd name="T44" fmla="*/ 43 w 313"/>
                <a:gd name="T45" fmla="*/ 2 h 235"/>
                <a:gd name="T46" fmla="*/ 29 w 313"/>
                <a:gd name="T47" fmla="*/ 0 h 235"/>
                <a:gd name="T48" fmla="*/ 23 w 313"/>
                <a:gd name="T49" fmla="*/ 0 h 235"/>
                <a:gd name="T50" fmla="*/ 6 w 313"/>
                <a:gd name="T51" fmla="*/ 5 h 235"/>
                <a:gd name="T52" fmla="*/ 6 w 313"/>
                <a:gd name="T53" fmla="*/ 44 h 235"/>
                <a:gd name="T54" fmla="*/ 14 w 313"/>
                <a:gd name="T55" fmla="*/ 40 h 235"/>
                <a:gd name="T56" fmla="*/ 25 w 313"/>
                <a:gd name="T57" fmla="*/ 39 h 235"/>
                <a:gd name="T58" fmla="*/ 31 w 313"/>
                <a:gd name="T59" fmla="*/ 40 h 235"/>
                <a:gd name="T60" fmla="*/ 41 w 313"/>
                <a:gd name="T61" fmla="*/ 47 h 235"/>
                <a:gd name="T62" fmla="*/ 73 w 313"/>
                <a:gd name="T63" fmla="*/ 107 h 235"/>
                <a:gd name="T64" fmla="*/ 49 w 313"/>
                <a:gd name="T65" fmla="*/ 235 h 235"/>
                <a:gd name="T66" fmla="*/ 135 w 313"/>
                <a:gd name="T67" fmla="*/ 13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3" h="235">
                  <a:moveTo>
                    <a:pt x="135" y="235"/>
                  </a:moveTo>
                  <a:lnTo>
                    <a:pt x="179" y="235"/>
                  </a:lnTo>
                  <a:lnTo>
                    <a:pt x="179" y="131"/>
                  </a:lnTo>
                  <a:lnTo>
                    <a:pt x="206" y="131"/>
                  </a:lnTo>
                  <a:lnTo>
                    <a:pt x="264" y="235"/>
                  </a:lnTo>
                  <a:lnTo>
                    <a:pt x="313" y="235"/>
                  </a:lnTo>
                  <a:lnTo>
                    <a:pt x="240" y="107"/>
                  </a:lnTo>
                  <a:lnTo>
                    <a:pt x="269" y="53"/>
                  </a:lnTo>
                  <a:lnTo>
                    <a:pt x="269" y="53"/>
                  </a:lnTo>
                  <a:lnTo>
                    <a:pt x="273" y="47"/>
                  </a:lnTo>
                  <a:lnTo>
                    <a:pt x="277" y="43"/>
                  </a:lnTo>
                  <a:lnTo>
                    <a:pt x="283" y="40"/>
                  </a:lnTo>
                  <a:lnTo>
                    <a:pt x="289" y="39"/>
                  </a:lnTo>
                  <a:lnTo>
                    <a:pt x="289" y="39"/>
                  </a:lnTo>
                  <a:lnTo>
                    <a:pt x="295" y="39"/>
                  </a:lnTo>
                  <a:lnTo>
                    <a:pt x="300" y="40"/>
                  </a:lnTo>
                  <a:lnTo>
                    <a:pt x="304" y="42"/>
                  </a:lnTo>
                  <a:lnTo>
                    <a:pt x="307" y="44"/>
                  </a:lnTo>
                  <a:lnTo>
                    <a:pt x="307" y="5"/>
                  </a:lnTo>
                  <a:lnTo>
                    <a:pt x="307" y="5"/>
                  </a:lnTo>
                  <a:lnTo>
                    <a:pt x="296" y="1"/>
                  </a:lnTo>
                  <a:lnTo>
                    <a:pt x="291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77" y="0"/>
                  </a:lnTo>
                  <a:lnTo>
                    <a:pt x="270" y="2"/>
                  </a:lnTo>
                  <a:lnTo>
                    <a:pt x="264" y="5"/>
                  </a:lnTo>
                  <a:lnTo>
                    <a:pt x="258" y="8"/>
                  </a:lnTo>
                  <a:lnTo>
                    <a:pt x="252" y="13"/>
                  </a:lnTo>
                  <a:lnTo>
                    <a:pt x="247" y="19"/>
                  </a:lnTo>
                  <a:lnTo>
                    <a:pt x="243" y="26"/>
                  </a:lnTo>
                  <a:lnTo>
                    <a:pt x="238" y="35"/>
                  </a:lnTo>
                  <a:lnTo>
                    <a:pt x="206" y="94"/>
                  </a:lnTo>
                  <a:lnTo>
                    <a:pt x="179" y="94"/>
                  </a:lnTo>
                  <a:lnTo>
                    <a:pt x="179" y="5"/>
                  </a:lnTo>
                  <a:lnTo>
                    <a:pt x="135" y="5"/>
                  </a:lnTo>
                  <a:lnTo>
                    <a:pt x="135" y="94"/>
                  </a:lnTo>
                  <a:lnTo>
                    <a:pt x="108" y="9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1" y="26"/>
                  </a:lnTo>
                  <a:lnTo>
                    <a:pt x="66" y="19"/>
                  </a:lnTo>
                  <a:lnTo>
                    <a:pt x="61" y="13"/>
                  </a:lnTo>
                  <a:lnTo>
                    <a:pt x="56" y="8"/>
                  </a:lnTo>
                  <a:lnTo>
                    <a:pt x="50" y="5"/>
                  </a:lnTo>
                  <a:lnTo>
                    <a:pt x="43" y="2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17" y="1"/>
                  </a:lnTo>
                  <a:lnTo>
                    <a:pt x="6" y="5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10" y="42"/>
                  </a:lnTo>
                  <a:lnTo>
                    <a:pt x="14" y="40"/>
                  </a:lnTo>
                  <a:lnTo>
                    <a:pt x="19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31" y="40"/>
                  </a:lnTo>
                  <a:lnTo>
                    <a:pt x="36" y="43"/>
                  </a:lnTo>
                  <a:lnTo>
                    <a:pt x="41" y="47"/>
                  </a:lnTo>
                  <a:lnTo>
                    <a:pt x="45" y="53"/>
                  </a:lnTo>
                  <a:lnTo>
                    <a:pt x="73" y="107"/>
                  </a:lnTo>
                  <a:lnTo>
                    <a:pt x="0" y="235"/>
                  </a:lnTo>
                  <a:lnTo>
                    <a:pt x="49" y="235"/>
                  </a:lnTo>
                  <a:lnTo>
                    <a:pt x="108" y="131"/>
                  </a:lnTo>
                  <a:lnTo>
                    <a:pt x="135" y="131"/>
                  </a:lnTo>
                  <a:lnTo>
                    <a:pt x="135" y="2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3" name="Freeform 202"/>
            <p:cNvSpPr>
              <a:spLocks/>
            </p:cNvSpPr>
            <p:nvPr userDrawn="1"/>
          </p:nvSpPr>
          <p:spPr bwMode="auto">
            <a:xfrm>
              <a:off x="1449388" y="6365876"/>
              <a:ext cx="73025" cy="90488"/>
            </a:xfrm>
            <a:custGeom>
              <a:avLst/>
              <a:gdLst>
                <a:gd name="T0" fmla="*/ 139 w 184"/>
                <a:gd name="T1" fmla="*/ 0 h 230"/>
                <a:gd name="T2" fmla="*/ 139 w 184"/>
                <a:gd name="T3" fmla="*/ 87 h 230"/>
                <a:gd name="T4" fmla="*/ 45 w 184"/>
                <a:gd name="T5" fmla="*/ 87 h 230"/>
                <a:gd name="T6" fmla="*/ 45 w 184"/>
                <a:gd name="T7" fmla="*/ 0 h 230"/>
                <a:gd name="T8" fmla="*/ 0 w 184"/>
                <a:gd name="T9" fmla="*/ 0 h 230"/>
                <a:gd name="T10" fmla="*/ 0 w 184"/>
                <a:gd name="T11" fmla="*/ 230 h 230"/>
                <a:gd name="T12" fmla="*/ 45 w 184"/>
                <a:gd name="T13" fmla="*/ 230 h 230"/>
                <a:gd name="T14" fmla="*/ 45 w 184"/>
                <a:gd name="T15" fmla="*/ 126 h 230"/>
                <a:gd name="T16" fmla="*/ 139 w 184"/>
                <a:gd name="T17" fmla="*/ 126 h 230"/>
                <a:gd name="T18" fmla="*/ 139 w 184"/>
                <a:gd name="T19" fmla="*/ 230 h 230"/>
                <a:gd name="T20" fmla="*/ 184 w 184"/>
                <a:gd name="T21" fmla="*/ 230 h 230"/>
                <a:gd name="T22" fmla="*/ 184 w 184"/>
                <a:gd name="T23" fmla="*/ 0 h 230"/>
                <a:gd name="T24" fmla="*/ 139 w 18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30">
                  <a:moveTo>
                    <a:pt x="139" y="0"/>
                  </a:moveTo>
                  <a:lnTo>
                    <a:pt x="139" y="87"/>
                  </a:lnTo>
                  <a:lnTo>
                    <a:pt x="45" y="87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5" y="230"/>
                  </a:lnTo>
                  <a:lnTo>
                    <a:pt x="45" y="126"/>
                  </a:lnTo>
                  <a:lnTo>
                    <a:pt x="139" y="126"/>
                  </a:lnTo>
                  <a:lnTo>
                    <a:pt x="139" y="230"/>
                  </a:lnTo>
                  <a:lnTo>
                    <a:pt x="184" y="230"/>
                  </a:lnTo>
                  <a:lnTo>
                    <a:pt x="184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4" name="Freeform 203"/>
            <p:cNvSpPr>
              <a:spLocks noEditPoints="1"/>
            </p:cNvSpPr>
            <p:nvPr userDrawn="1"/>
          </p:nvSpPr>
          <p:spPr bwMode="auto">
            <a:xfrm>
              <a:off x="1544638" y="6365876"/>
              <a:ext cx="100013" cy="90488"/>
            </a:xfrm>
            <a:custGeom>
              <a:avLst/>
              <a:gdLst>
                <a:gd name="T0" fmla="*/ 0 w 248"/>
                <a:gd name="T1" fmla="*/ 0 h 230"/>
                <a:gd name="T2" fmla="*/ 91 w 248"/>
                <a:gd name="T3" fmla="*/ 230 h 230"/>
                <a:gd name="T4" fmla="*/ 99 w 248"/>
                <a:gd name="T5" fmla="*/ 229 h 230"/>
                <a:gd name="T6" fmla="*/ 115 w 248"/>
                <a:gd name="T7" fmla="*/ 227 h 230"/>
                <a:gd name="T8" fmla="*/ 129 w 248"/>
                <a:gd name="T9" fmla="*/ 222 h 230"/>
                <a:gd name="T10" fmla="*/ 142 w 248"/>
                <a:gd name="T11" fmla="*/ 215 h 230"/>
                <a:gd name="T12" fmla="*/ 152 w 248"/>
                <a:gd name="T13" fmla="*/ 206 h 230"/>
                <a:gd name="T14" fmla="*/ 160 w 248"/>
                <a:gd name="T15" fmla="*/ 194 h 230"/>
                <a:gd name="T16" fmla="*/ 166 w 248"/>
                <a:gd name="T17" fmla="*/ 180 h 230"/>
                <a:gd name="T18" fmla="*/ 169 w 248"/>
                <a:gd name="T19" fmla="*/ 164 h 230"/>
                <a:gd name="T20" fmla="*/ 169 w 248"/>
                <a:gd name="T21" fmla="*/ 155 h 230"/>
                <a:gd name="T22" fmla="*/ 168 w 248"/>
                <a:gd name="T23" fmla="*/ 137 h 230"/>
                <a:gd name="T24" fmla="*/ 163 w 248"/>
                <a:gd name="T25" fmla="*/ 122 h 230"/>
                <a:gd name="T26" fmla="*/ 157 w 248"/>
                <a:gd name="T27" fmla="*/ 109 h 230"/>
                <a:gd name="T28" fmla="*/ 148 w 248"/>
                <a:gd name="T29" fmla="*/ 99 h 230"/>
                <a:gd name="T30" fmla="*/ 137 w 248"/>
                <a:gd name="T31" fmla="*/ 91 h 230"/>
                <a:gd name="T32" fmla="*/ 124 w 248"/>
                <a:gd name="T33" fmla="*/ 85 h 230"/>
                <a:gd name="T34" fmla="*/ 109 w 248"/>
                <a:gd name="T35" fmla="*/ 81 h 230"/>
                <a:gd name="T36" fmla="*/ 93 w 248"/>
                <a:gd name="T37" fmla="*/ 80 h 230"/>
                <a:gd name="T38" fmla="*/ 45 w 248"/>
                <a:gd name="T39" fmla="*/ 0 h 230"/>
                <a:gd name="T40" fmla="*/ 45 w 248"/>
                <a:gd name="T41" fmla="*/ 117 h 230"/>
                <a:gd name="T42" fmla="*/ 89 w 248"/>
                <a:gd name="T43" fmla="*/ 117 h 230"/>
                <a:gd name="T44" fmla="*/ 105 w 248"/>
                <a:gd name="T45" fmla="*/ 120 h 230"/>
                <a:gd name="T46" fmla="*/ 116 w 248"/>
                <a:gd name="T47" fmla="*/ 127 h 230"/>
                <a:gd name="T48" fmla="*/ 124 w 248"/>
                <a:gd name="T49" fmla="*/ 138 h 230"/>
                <a:gd name="T50" fmla="*/ 126 w 248"/>
                <a:gd name="T51" fmla="*/ 155 h 230"/>
                <a:gd name="T52" fmla="*/ 126 w 248"/>
                <a:gd name="T53" fmla="*/ 163 h 230"/>
                <a:gd name="T54" fmla="*/ 121 w 248"/>
                <a:gd name="T55" fmla="*/ 177 h 230"/>
                <a:gd name="T56" fmla="*/ 112 w 248"/>
                <a:gd name="T57" fmla="*/ 187 h 230"/>
                <a:gd name="T58" fmla="*/ 98 w 248"/>
                <a:gd name="T59" fmla="*/ 192 h 230"/>
                <a:gd name="T60" fmla="*/ 45 w 248"/>
                <a:gd name="T61" fmla="*/ 192 h 230"/>
                <a:gd name="T62" fmla="*/ 248 w 248"/>
                <a:gd name="T63" fmla="*/ 0 h 230"/>
                <a:gd name="T64" fmla="*/ 203 w 248"/>
                <a:gd name="T6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8" h="230">
                  <a:moveTo>
                    <a:pt x="45" y="0"/>
                  </a:moveTo>
                  <a:lnTo>
                    <a:pt x="0" y="0"/>
                  </a:lnTo>
                  <a:lnTo>
                    <a:pt x="0" y="230"/>
                  </a:lnTo>
                  <a:lnTo>
                    <a:pt x="91" y="230"/>
                  </a:lnTo>
                  <a:lnTo>
                    <a:pt x="91" y="230"/>
                  </a:lnTo>
                  <a:lnTo>
                    <a:pt x="99" y="229"/>
                  </a:lnTo>
                  <a:lnTo>
                    <a:pt x="107" y="228"/>
                  </a:lnTo>
                  <a:lnTo>
                    <a:pt x="115" y="227"/>
                  </a:lnTo>
                  <a:lnTo>
                    <a:pt x="122" y="225"/>
                  </a:lnTo>
                  <a:lnTo>
                    <a:pt x="129" y="222"/>
                  </a:lnTo>
                  <a:lnTo>
                    <a:pt x="136" y="219"/>
                  </a:lnTo>
                  <a:lnTo>
                    <a:pt x="142" y="215"/>
                  </a:lnTo>
                  <a:lnTo>
                    <a:pt x="147" y="211"/>
                  </a:lnTo>
                  <a:lnTo>
                    <a:pt x="152" y="206"/>
                  </a:lnTo>
                  <a:lnTo>
                    <a:pt x="157" y="200"/>
                  </a:lnTo>
                  <a:lnTo>
                    <a:pt x="160" y="194"/>
                  </a:lnTo>
                  <a:lnTo>
                    <a:pt x="163" y="187"/>
                  </a:lnTo>
                  <a:lnTo>
                    <a:pt x="166" y="180"/>
                  </a:lnTo>
                  <a:lnTo>
                    <a:pt x="168" y="172"/>
                  </a:lnTo>
                  <a:lnTo>
                    <a:pt x="169" y="164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46"/>
                  </a:lnTo>
                  <a:lnTo>
                    <a:pt x="168" y="137"/>
                  </a:lnTo>
                  <a:lnTo>
                    <a:pt x="166" y="129"/>
                  </a:lnTo>
                  <a:lnTo>
                    <a:pt x="163" y="122"/>
                  </a:lnTo>
                  <a:lnTo>
                    <a:pt x="160" y="115"/>
                  </a:lnTo>
                  <a:lnTo>
                    <a:pt x="157" y="109"/>
                  </a:lnTo>
                  <a:lnTo>
                    <a:pt x="152" y="104"/>
                  </a:lnTo>
                  <a:lnTo>
                    <a:pt x="148" y="99"/>
                  </a:lnTo>
                  <a:lnTo>
                    <a:pt x="142" y="94"/>
                  </a:lnTo>
                  <a:lnTo>
                    <a:pt x="137" y="91"/>
                  </a:lnTo>
                  <a:lnTo>
                    <a:pt x="130" y="88"/>
                  </a:lnTo>
                  <a:lnTo>
                    <a:pt x="124" y="85"/>
                  </a:lnTo>
                  <a:lnTo>
                    <a:pt x="117" y="83"/>
                  </a:lnTo>
                  <a:lnTo>
                    <a:pt x="109" y="81"/>
                  </a:lnTo>
                  <a:lnTo>
                    <a:pt x="101" y="81"/>
                  </a:lnTo>
                  <a:lnTo>
                    <a:pt x="93" y="80"/>
                  </a:lnTo>
                  <a:lnTo>
                    <a:pt x="45" y="80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7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8" y="118"/>
                  </a:lnTo>
                  <a:lnTo>
                    <a:pt x="105" y="120"/>
                  </a:lnTo>
                  <a:lnTo>
                    <a:pt x="111" y="123"/>
                  </a:lnTo>
                  <a:lnTo>
                    <a:pt x="116" y="127"/>
                  </a:lnTo>
                  <a:lnTo>
                    <a:pt x="121" y="132"/>
                  </a:lnTo>
                  <a:lnTo>
                    <a:pt x="124" y="138"/>
                  </a:lnTo>
                  <a:lnTo>
                    <a:pt x="126" y="14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63"/>
                  </a:lnTo>
                  <a:lnTo>
                    <a:pt x="124" y="171"/>
                  </a:lnTo>
                  <a:lnTo>
                    <a:pt x="121" y="177"/>
                  </a:lnTo>
                  <a:lnTo>
                    <a:pt x="117" y="182"/>
                  </a:lnTo>
                  <a:lnTo>
                    <a:pt x="112" y="187"/>
                  </a:lnTo>
                  <a:lnTo>
                    <a:pt x="106" y="190"/>
                  </a:lnTo>
                  <a:lnTo>
                    <a:pt x="98" y="192"/>
                  </a:lnTo>
                  <a:lnTo>
                    <a:pt x="89" y="192"/>
                  </a:lnTo>
                  <a:lnTo>
                    <a:pt x="45" y="192"/>
                  </a:lnTo>
                  <a:close/>
                  <a:moveTo>
                    <a:pt x="248" y="230"/>
                  </a:moveTo>
                  <a:lnTo>
                    <a:pt x="248" y="0"/>
                  </a:lnTo>
                  <a:lnTo>
                    <a:pt x="203" y="0"/>
                  </a:lnTo>
                  <a:lnTo>
                    <a:pt x="203" y="230"/>
                  </a:lnTo>
                  <a:lnTo>
                    <a:pt x="248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5" name="Freeform 204"/>
            <p:cNvSpPr>
              <a:spLocks noEditPoints="1"/>
            </p:cNvSpPr>
            <p:nvPr userDrawn="1"/>
          </p:nvSpPr>
          <p:spPr bwMode="auto">
            <a:xfrm>
              <a:off x="1662113" y="6362701"/>
              <a:ext cx="77788" cy="95250"/>
            </a:xfrm>
            <a:custGeom>
              <a:avLst/>
              <a:gdLst>
                <a:gd name="T0" fmla="*/ 196 w 196"/>
                <a:gd name="T1" fmla="*/ 114 h 239"/>
                <a:gd name="T2" fmla="*/ 195 w 196"/>
                <a:gd name="T3" fmla="*/ 92 h 239"/>
                <a:gd name="T4" fmla="*/ 190 w 196"/>
                <a:gd name="T5" fmla="*/ 70 h 239"/>
                <a:gd name="T6" fmla="*/ 183 w 196"/>
                <a:gd name="T7" fmla="*/ 51 h 239"/>
                <a:gd name="T8" fmla="*/ 173 w 196"/>
                <a:gd name="T9" fmla="*/ 34 h 239"/>
                <a:gd name="T10" fmla="*/ 159 w 196"/>
                <a:gd name="T11" fmla="*/ 20 h 239"/>
                <a:gd name="T12" fmla="*/ 143 w 196"/>
                <a:gd name="T13" fmla="*/ 9 h 239"/>
                <a:gd name="T14" fmla="*/ 123 w 196"/>
                <a:gd name="T15" fmla="*/ 2 h 239"/>
                <a:gd name="T16" fmla="*/ 100 w 196"/>
                <a:gd name="T17" fmla="*/ 0 h 239"/>
                <a:gd name="T18" fmla="*/ 89 w 196"/>
                <a:gd name="T19" fmla="*/ 0 h 239"/>
                <a:gd name="T20" fmla="*/ 69 w 196"/>
                <a:gd name="T21" fmla="*/ 4 h 239"/>
                <a:gd name="T22" fmla="*/ 51 w 196"/>
                <a:gd name="T23" fmla="*/ 12 h 239"/>
                <a:gd name="T24" fmla="*/ 35 w 196"/>
                <a:gd name="T25" fmla="*/ 23 h 239"/>
                <a:gd name="T26" fmla="*/ 21 w 196"/>
                <a:gd name="T27" fmla="*/ 38 h 239"/>
                <a:gd name="T28" fmla="*/ 11 w 196"/>
                <a:gd name="T29" fmla="*/ 57 h 239"/>
                <a:gd name="T30" fmla="*/ 4 w 196"/>
                <a:gd name="T31" fmla="*/ 79 h 239"/>
                <a:gd name="T32" fmla="*/ 0 w 196"/>
                <a:gd name="T33" fmla="*/ 105 h 239"/>
                <a:gd name="T34" fmla="*/ 0 w 196"/>
                <a:gd name="T35" fmla="*/ 119 h 239"/>
                <a:gd name="T36" fmla="*/ 2 w 196"/>
                <a:gd name="T37" fmla="*/ 147 h 239"/>
                <a:gd name="T38" fmla="*/ 8 w 196"/>
                <a:gd name="T39" fmla="*/ 173 h 239"/>
                <a:gd name="T40" fmla="*/ 18 w 196"/>
                <a:gd name="T41" fmla="*/ 193 h 239"/>
                <a:gd name="T42" fmla="*/ 30 w 196"/>
                <a:gd name="T43" fmla="*/ 209 h 239"/>
                <a:gd name="T44" fmla="*/ 36 w 196"/>
                <a:gd name="T45" fmla="*/ 215 h 239"/>
                <a:gd name="T46" fmla="*/ 51 w 196"/>
                <a:gd name="T47" fmla="*/ 226 h 239"/>
                <a:gd name="T48" fmla="*/ 68 w 196"/>
                <a:gd name="T49" fmla="*/ 234 h 239"/>
                <a:gd name="T50" fmla="*/ 88 w 196"/>
                <a:gd name="T51" fmla="*/ 239 h 239"/>
                <a:gd name="T52" fmla="*/ 99 w 196"/>
                <a:gd name="T53" fmla="*/ 239 h 239"/>
                <a:gd name="T54" fmla="*/ 124 w 196"/>
                <a:gd name="T55" fmla="*/ 237 h 239"/>
                <a:gd name="T56" fmla="*/ 145 w 196"/>
                <a:gd name="T57" fmla="*/ 231 h 239"/>
                <a:gd name="T58" fmla="*/ 153 w 196"/>
                <a:gd name="T59" fmla="*/ 227 h 239"/>
                <a:gd name="T60" fmla="*/ 169 w 196"/>
                <a:gd name="T61" fmla="*/ 217 h 239"/>
                <a:gd name="T62" fmla="*/ 151 w 196"/>
                <a:gd name="T63" fmla="*/ 180 h 239"/>
                <a:gd name="T64" fmla="*/ 139 w 196"/>
                <a:gd name="T65" fmla="*/ 188 h 239"/>
                <a:gd name="T66" fmla="*/ 128 w 196"/>
                <a:gd name="T67" fmla="*/ 194 h 239"/>
                <a:gd name="T68" fmla="*/ 115 w 196"/>
                <a:gd name="T69" fmla="*/ 197 h 239"/>
                <a:gd name="T70" fmla="*/ 101 w 196"/>
                <a:gd name="T71" fmla="*/ 199 h 239"/>
                <a:gd name="T72" fmla="*/ 91 w 196"/>
                <a:gd name="T73" fmla="*/ 198 h 239"/>
                <a:gd name="T74" fmla="*/ 72 w 196"/>
                <a:gd name="T75" fmla="*/ 191 h 239"/>
                <a:gd name="T76" fmla="*/ 57 w 196"/>
                <a:gd name="T77" fmla="*/ 175 h 239"/>
                <a:gd name="T78" fmla="*/ 47 w 196"/>
                <a:gd name="T79" fmla="*/ 151 h 239"/>
                <a:gd name="T80" fmla="*/ 195 w 196"/>
                <a:gd name="T81" fmla="*/ 135 h 239"/>
                <a:gd name="T82" fmla="*/ 196 w 196"/>
                <a:gd name="T83" fmla="*/ 126 h 239"/>
                <a:gd name="T84" fmla="*/ 196 w 196"/>
                <a:gd name="T85" fmla="*/ 114 h 239"/>
                <a:gd name="T86" fmla="*/ 45 w 196"/>
                <a:gd name="T87" fmla="*/ 98 h 239"/>
                <a:gd name="T88" fmla="*/ 50 w 196"/>
                <a:gd name="T89" fmla="*/ 73 h 239"/>
                <a:gd name="T90" fmla="*/ 61 w 196"/>
                <a:gd name="T91" fmla="*/ 55 h 239"/>
                <a:gd name="T92" fmla="*/ 76 w 196"/>
                <a:gd name="T93" fmla="*/ 44 h 239"/>
                <a:gd name="T94" fmla="*/ 97 w 196"/>
                <a:gd name="T95" fmla="*/ 40 h 239"/>
                <a:gd name="T96" fmla="*/ 104 w 196"/>
                <a:gd name="T97" fmla="*/ 41 h 239"/>
                <a:gd name="T98" fmla="*/ 116 w 196"/>
                <a:gd name="T99" fmla="*/ 43 h 239"/>
                <a:gd name="T100" fmla="*/ 126 w 196"/>
                <a:gd name="T101" fmla="*/ 47 h 239"/>
                <a:gd name="T102" fmla="*/ 137 w 196"/>
                <a:gd name="T103" fmla="*/ 57 h 239"/>
                <a:gd name="T104" fmla="*/ 147 w 196"/>
                <a:gd name="T105" fmla="*/ 76 h 239"/>
                <a:gd name="T106" fmla="*/ 151 w 196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239">
                  <a:moveTo>
                    <a:pt x="196" y="114"/>
                  </a:moveTo>
                  <a:lnTo>
                    <a:pt x="196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0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1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0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8" y="173"/>
                  </a:lnTo>
                  <a:lnTo>
                    <a:pt x="13" y="184"/>
                  </a:lnTo>
                  <a:lnTo>
                    <a:pt x="18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1" y="222"/>
                  </a:lnTo>
                  <a:lnTo>
                    <a:pt x="169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5" y="197"/>
                  </a:lnTo>
                  <a:lnTo>
                    <a:pt x="109" y="198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1" y="198"/>
                  </a:lnTo>
                  <a:lnTo>
                    <a:pt x="81" y="195"/>
                  </a:lnTo>
                  <a:lnTo>
                    <a:pt x="72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6" y="114"/>
                  </a:lnTo>
                  <a:lnTo>
                    <a:pt x="196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6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6" name="Freeform 205"/>
            <p:cNvSpPr>
              <a:spLocks/>
            </p:cNvSpPr>
            <p:nvPr userDrawn="1"/>
          </p:nvSpPr>
          <p:spPr bwMode="auto">
            <a:xfrm>
              <a:off x="1793875" y="6362701"/>
              <a:ext cx="71438" cy="95250"/>
            </a:xfrm>
            <a:custGeom>
              <a:avLst/>
              <a:gdLst>
                <a:gd name="T0" fmla="*/ 92 w 177"/>
                <a:gd name="T1" fmla="*/ 131 h 239"/>
                <a:gd name="T2" fmla="*/ 117 w 177"/>
                <a:gd name="T3" fmla="*/ 137 h 239"/>
                <a:gd name="T4" fmla="*/ 129 w 177"/>
                <a:gd name="T5" fmla="*/ 153 h 239"/>
                <a:gd name="T6" fmla="*/ 132 w 177"/>
                <a:gd name="T7" fmla="*/ 166 h 239"/>
                <a:gd name="T8" fmla="*/ 126 w 177"/>
                <a:gd name="T9" fmla="*/ 185 h 239"/>
                <a:gd name="T10" fmla="*/ 106 w 177"/>
                <a:gd name="T11" fmla="*/ 198 h 239"/>
                <a:gd name="T12" fmla="*/ 85 w 177"/>
                <a:gd name="T13" fmla="*/ 201 h 239"/>
                <a:gd name="T14" fmla="*/ 60 w 177"/>
                <a:gd name="T15" fmla="*/ 197 h 239"/>
                <a:gd name="T16" fmla="*/ 36 w 177"/>
                <a:gd name="T17" fmla="*/ 187 h 239"/>
                <a:gd name="T18" fmla="*/ 0 w 177"/>
                <a:gd name="T19" fmla="*/ 210 h 239"/>
                <a:gd name="T20" fmla="*/ 18 w 177"/>
                <a:gd name="T21" fmla="*/ 222 h 239"/>
                <a:gd name="T22" fmla="*/ 49 w 177"/>
                <a:gd name="T23" fmla="*/ 235 h 239"/>
                <a:gd name="T24" fmla="*/ 83 w 177"/>
                <a:gd name="T25" fmla="*/ 239 h 239"/>
                <a:gd name="T26" fmla="*/ 106 w 177"/>
                <a:gd name="T27" fmla="*/ 238 h 239"/>
                <a:gd name="T28" fmla="*/ 133 w 177"/>
                <a:gd name="T29" fmla="*/ 231 h 239"/>
                <a:gd name="T30" fmla="*/ 154 w 177"/>
                <a:gd name="T31" fmla="*/ 218 h 239"/>
                <a:gd name="T32" fmla="*/ 168 w 177"/>
                <a:gd name="T33" fmla="*/ 202 h 239"/>
                <a:gd name="T34" fmla="*/ 175 w 177"/>
                <a:gd name="T35" fmla="*/ 182 h 239"/>
                <a:gd name="T36" fmla="*/ 177 w 177"/>
                <a:gd name="T37" fmla="*/ 168 h 239"/>
                <a:gd name="T38" fmla="*/ 168 w 177"/>
                <a:gd name="T39" fmla="*/ 137 h 239"/>
                <a:gd name="T40" fmla="*/ 148 w 177"/>
                <a:gd name="T41" fmla="*/ 118 h 239"/>
                <a:gd name="T42" fmla="*/ 133 w 177"/>
                <a:gd name="T43" fmla="*/ 112 h 239"/>
                <a:gd name="T44" fmla="*/ 154 w 177"/>
                <a:gd name="T45" fmla="*/ 99 h 239"/>
                <a:gd name="T46" fmla="*/ 167 w 177"/>
                <a:gd name="T47" fmla="*/ 80 h 239"/>
                <a:gd name="T48" fmla="*/ 170 w 177"/>
                <a:gd name="T49" fmla="*/ 64 h 239"/>
                <a:gd name="T50" fmla="*/ 167 w 177"/>
                <a:gd name="T51" fmla="*/ 45 h 239"/>
                <a:gd name="T52" fmla="*/ 158 w 177"/>
                <a:gd name="T53" fmla="*/ 28 h 239"/>
                <a:gd name="T54" fmla="*/ 144 w 177"/>
                <a:gd name="T55" fmla="*/ 15 h 239"/>
                <a:gd name="T56" fmla="*/ 123 w 177"/>
                <a:gd name="T57" fmla="*/ 5 h 239"/>
                <a:gd name="T58" fmla="*/ 95 w 177"/>
                <a:gd name="T59" fmla="*/ 0 h 239"/>
                <a:gd name="T60" fmla="*/ 74 w 177"/>
                <a:gd name="T61" fmla="*/ 0 h 239"/>
                <a:gd name="T62" fmla="*/ 43 w 177"/>
                <a:gd name="T63" fmla="*/ 7 h 239"/>
                <a:gd name="T64" fmla="*/ 15 w 177"/>
                <a:gd name="T65" fmla="*/ 20 h 239"/>
                <a:gd name="T66" fmla="*/ 27 w 177"/>
                <a:gd name="T67" fmla="*/ 60 h 239"/>
                <a:gd name="T68" fmla="*/ 56 w 177"/>
                <a:gd name="T69" fmla="*/ 44 h 239"/>
                <a:gd name="T70" fmla="*/ 79 w 177"/>
                <a:gd name="T71" fmla="*/ 39 h 239"/>
                <a:gd name="T72" fmla="*/ 96 w 177"/>
                <a:gd name="T73" fmla="*/ 39 h 239"/>
                <a:gd name="T74" fmla="*/ 116 w 177"/>
                <a:gd name="T75" fmla="*/ 47 h 239"/>
                <a:gd name="T76" fmla="*/ 125 w 177"/>
                <a:gd name="T77" fmla="*/ 62 h 239"/>
                <a:gd name="T78" fmla="*/ 125 w 177"/>
                <a:gd name="T79" fmla="*/ 72 h 239"/>
                <a:gd name="T80" fmla="*/ 117 w 177"/>
                <a:gd name="T81" fmla="*/ 86 h 239"/>
                <a:gd name="T82" fmla="*/ 99 w 177"/>
                <a:gd name="T83" fmla="*/ 94 h 239"/>
                <a:gd name="T84" fmla="*/ 61 w 177"/>
                <a:gd name="T85" fmla="*/ 13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7" h="239">
                  <a:moveTo>
                    <a:pt x="61" y="131"/>
                  </a:moveTo>
                  <a:lnTo>
                    <a:pt x="92" y="131"/>
                  </a:lnTo>
                  <a:lnTo>
                    <a:pt x="92" y="131"/>
                  </a:lnTo>
                  <a:lnTo>
                    <a:pt x="102" y="132"/>
                  </a:lnTo>
                  <a:lnTo>
                    <a:pt x="110" y="134"/>
                  </a:lnTo>
                  <a:lnTo>
                    <a:pt x="117" y="137"/>
                  </a:lnTo>
                  <a:lnTo>
                    <a:pt x="122" y="142"/>
                  </a:lnTo>
                  <a:lnTo>
                    <a:pt x="126" y="147"/>
                  </a:lnTo>
                  <a:lnTo>
                    <a:pt x="129" y="153"/>
                  </a:lnTo>
                  <a:lnTo>
                    <a:pt x="131" y="159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1" y="173"/>
                  </a:lnTo>
                  <a:lnTo>
                    <a:pt x="129" y="179"/>
                  </a:lnTo>
                  <a:lnTo>
                    <a:pt x="126" y="185"/>
                  </a:lnTo>
                  <a:lnTo>
                    <a:pt x="121" y="190"/>
                  </a:lnTo>
                  <a:lnTo>
                    <a:pt x="114" y="194"/>
                  </a:lnTo>
                  <a:lnTo>
                    <a:pt x="106" y="198"/>
                  </a:lnTo>
                  <a:lnTo>
                    <a:pt x="96" y="200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77" y="200"/>
                  </a:lnTo>
                  <a:lnTo>
                    <a:pt x="69" y="199"/>
                  </a:lnTo>
                  <a:lnTo>
                    <a:pt x="60" y="197"/>
                  </a:lnTo>
                  <a:lnTo>
                    <a:pt x="52" y="194"/>
                  </a:lnTo>
                  <a:lnTo>
                    <a:pt x="44" y="191"/>
                  </a:lnTo>
                  <a:lnTo>
                    <a:pt x="36" y="187"/>
                  </a:lnTo>
                  <a:lnTo>
                    <a:pt x="28" y="182"/>
                  </a:lnTo>
                  <a:lnTo>
                    <a:pt x="20" y="17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8" y="216"/>
                  </a:lnTo>
                  <a:lnTo>
                    <a:pt x="18" y="222"/>
                  </a:lnTo>
                  <a:lnTo>
                    <a:pt x="28" y="227"/>
                  </a:lnTo>
                  <a:lnTo>
                    <a:pt x="38" y="231"/>
                  </a:lnTo>
                  <a:lnTo>
                    <a:pt x="49" y="235"/>
                  </a:lnTo>
                  <a:lnTo>
                    <a:pt x="60" y="237"/>
                  </a:lnTo>
                  <a:lnTo>
                    <a:pt x="72" y="239"/>
                  </a:lnTo>
                  <a:lnTo>
                    <a:pt x="83" y="239"/>
                  </a:lnTo>
                  <a:lnTo>
                    <a:pt x="83" y="239"/>
                  </a:lnTo>
                  <a:lnTo>
                    <a:pt x="95" y="239"/>
                  </a:lnTo>
                  <a:lnTo>
                    <a:pt x="106" y="238"/>
                  </a:lnTo>
                  <a:lnTo>
                    <a:pt x="116" y="236"/>
                  </a:lnTo>
                  <a:lnTo>
                    <a:pt x="125" y="234"/>
                  </a:lnTo>
                  <a:lnTo>
                    <a:pt x="133" y="231"/>
                  </a:lnTo>
                  <a:lnTo>
                    <a:pt x="141" y="227"/>
                  </a:lnTo>
                  <a:lnTo>
                    <a:pt x="148" y="223"/>
                  </a:lnTo>
                  <a:lnTo>
                    <a:pt x="154" y="218"/>
                  </a:lnTo>
                  <a:lnTo>
                    <a:pt x="159" y="213"/>
                  </a:lnTo>
                  <a:lnTo>
                    <a:pt x="164" y="208"/>
                  </a:lnTo>
                  <a:lnTo>
                    <a:pt x="168" y="202"/>
                  </a:lnTo>
                  <a:lnTo>
                    <a:pt x="171" y="196"/>
                  </a:lnTo>
                  <a:lnTo>
                    <a:pt x="173" y="189"/>
                  </a:lnTo>
                  <a:lnTo>
                    <a:pt x="175" y="182"/>
                  </a:lnTo>
                  <a:lnTo>
                    <a:pt x="176" y="175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76" y="157"/>
                  </a:lnTo>
                  <a:lnTo>
                    <a:pt x="173" y="145"/>
                  </a:lnTo>
                  <a:lnTo>
                    <a:pt x="168" y="137"/>
                  </a:lnTo>
                  <a:lnTo>
                    <a:pt x="162" y="129"/>
                  </a:lnTo>
                  <a:lnTo>
                    <a:pt x="156" y="123"/>
                  </a:lnTo>
                  <a:lnTo>
                    <a:pt x="148" y="118"/>
                  </a:lnTo>
                  <a:lnTo>
                    <a:pt x="141" y="114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41" y="108"/>
                  </a:lnTo>
                  <a:lnTo>
                    <a:pt x="148" y="104"/>
                  </a:lnTo>
                  <a:lnTo>
                    <a:pt x="154" y="99"/>
                  </a:lnTo>
                  <a:lnTo>
                    <a:pt x="159" y="94"/>
                  </a:lnTo>
                  <a:lnTo>
                    <a:pt x="164" y="88"/>
                  </a:lnTo>
                  <a:lnTo>
                    <a:pt x="167" y="80"/>
                  </a:lnTo>
                  <a:lnTo>
                    <a:pt x="169" y="73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69" y="57"/>
                  </a:lnTo>
                  <a:lnTo>
                    <a:pt x="168" y="51"/>
                  </a:lnTo>
                  <a:lnTo>
                    <a:pt x="167" y="45"/>
                  </a:lnTo>
                  <a:lnTo>
                    <a:pt x="165" y="39"/>
                  </a:lnTo>
                  <a:lnTo>
                    <a:pt x="162" y="34"/>
                  </a:lnTo>
                  <a:lnTo>
                    <a:pt x="158" y="28"/>
                  </a:lnTo>
                  <a:lnTo>
                    <a:pt x="154" y="23"/>
                  </a:lnTo>
                  <a:lnTo>
                    <a:pt x="149" y="19"/>
                  </a:lnTo>
                  <a:lnTo>
                    <a:pt x="144" y="15"/>
                  </a:lnTo>
                  <a:lnTo>
                    <a:pt x="138" y="11"/>
                  </a:lnTo>
                  <a:lnTo>
                    <a:pt x="131" y="8"/>
                  </a:lnTo>
                  <a:lnTo>
                    <a:pt x="123" y="5"/>
                  </a:lnTo>
                  <a:lnTo>
                    <a:pt x="114" y="3"/>
                  </a:lnTo>
                  <a:lnTo>
                    <a:pt x="105" y="1"/>
                  </a:lnTo>
                  <a:lnTo>
                    <a:pt x="9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3" y="2"/>
                  </a:lnTo>
                  <a:lnTo>
                    <a:pt x="53" y="4"/>
                  </a:lnTo>
                  <a:lnTo>
                    <a:pt x="43" y="7"/>
                  </a:lnTo>
                  <a:lnTo>
                    <a:pt x="33" y="11"/>
                  </a:lnTo>
                  <a:lnTo>
                    <a:pt x="24" y="15"/>
                  </a:lnTo>
                  <a:lnTo>
                    <a:pt x="15" y="20"/>
                  </a:lnTo>
                  <a:lnTo>
                    <a:pt x="7" y="25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41" y="50"/>
                  </a:lnTo>
                  <a:lnTo>
                    <a:pt x="48" y="47"/>
                  </a:lnTo>
                  <a:lnTo>
                    <a:pt x="56" y="44"/>
                  </a:lnTo>
                  <a:lnTo>
                    <a:pt x="63" y="42"/>
                  </a:lnTo>
                  <a:lnTo>
                    <a:pt x="71" y="40"/>
                  </a:lnTo>
                  <a:lnTo>
                    <a:pt x="79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96" y="39"/>
                  </a:lnTo>
                  <a:lnTo>
                    <a:pt x="104" y="41"/>
                  </a:lnTo>
                  <a:lnTo>
                    <a:pt x="111" y="44"/>
                  </a:lnTo>
                  <a:lnTo>
                    <a:pt x="116" y="47"/>
                  </a:lnTo>
                  <a:lnTo>
                    <a:pt x="120" y="52"/>
                  </a:lnTo>
                  <a:lnTo>
                    <a:pt x="123" y="56"/>
                  </a:lnTo>
                  <a:lnTo>
                    <a:pt x="125" y="62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5" y="72"/>
                  </a:lnTo>
                  <a:lnTo>
                    <a:pt x="124" y="77"/>
                  </a:lnTo>
                  <a:lnTo>
                    <a:pt x="121" y="82"/>
                  </a:lnTo>
                  <a:lnTo>
                    <a:pt x="117" y="86"/>
                  </a:lnTo>
                  <a:lnTo>
                    <a:pt x="112" y="89"/>
                  </a:lnTo>
                  <a:lnTo>
                    <a:pt x="106" y="92"/>
                  </a:lnTo>
                  <a:lnTo>
                    <a:pt x="99" y="94"/>
                  </a:lnTo>
                  <a:lnTo>
                    <a:pt x="90" y="94"/>
                  </a:lnTo>
                  <a:lnTo>
                    <a:pt x="61" y="94"/>
                  </a:lnTo>
                  <a:lnTo>
                    <a:pt x="61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7" name="Freeform 206"/>
            <p:cNvSpPr>
              <a:spLocks noEditPoints="1"/>
            </p:cNvSpPr>
            <p:nvPr userDrawn="1"/>
          </p:nvSpPr>
          <p:spPr bwMode="auto">
            <a:xfrm>
              <a:off x="1878013" y="6362701"/>
              <a:ext cx="74613" cy="95250"/>
            </a:xfrm>
            <a:custGeom>
              <a:avLst/>
              <a:gdLst>
                <a:gd name="T0" fmla="*/ 187 w 187"/>
                <a:gd name="T1" fmla="*/ 77 h 239"/>
                <a:gd name="T2" fmla="*/ 186 w 187"/>
                <a:gd name="T3" fmla="*/ 67 h 239"/>
                <a:gd name="T4" fmla="*/ 183 w 187"/>
                <a:gd name="T5" fmla="*/ 50 h 239"/>
                <a:gd name="T6" fmla="*/ 177 w 187"/>
                <a:gd name="T7" fmla="*/ 36 h 239"/>
                <a:gd name="T8" fmla="*/ 168 w 187"/>
                <a:gd name="T9" fmla="*/ 24 h 239"/>
                <a:gd name="T10" fmla="*/ 156 w 187"/>
                <a:gd name="T11" fmla="*/ 14 h 239"/>
                <a:gd name="T12" fmla="*/ 143 w 187"/>
                <a:gd name="T13" fmla="*/ 7 h 239"/>
                <a:gd name="T14" fmla="*/ 127 w 187"/>
                <a:gd name="T15" fmla="*/ 2 h 239"/>
                <a:gd name="T16" fmla="*/ 109 w 187"/>
                <a:gd name="T17" fmla="*/ 0 h 239"/>
                <a:gd name="T18" fmla="*/ 100 w 187"/>
                <a:gd name="T19" fmla="*/ 0 h 239"/>
                <a:gd name="T20" fmla="*/ 77 w 187"/>
                <a:gd name="T21" fmla="*/ 1 h 239"/>
                <a:gd name="T22" fmla="*/ 57 w 187"/>
                <a:gd name="T23" fmla="*/ 5 h 239"/>
                <a:gd name="T24" fmla="*/ 38 w 187"/>
                <a:gd name="T25" fmla="*/ 11 h 239"/>
                <a:gd name="T26" fmla="*/ 22 w 187"/>
                <a:gd name="T27" fmla="*/ 20 h 239"/>
                <a:gd name="T28" fmla="*/ 39 w 187"/>
                <a:gd name="T29" fmla="*/ 54 h 239"/>
                <a:gd name="T30" fmla="*/ 67 w 187"/>
                <a:gd name="T31" fmla="*/ 43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1 w 187"/>
                <a:gd name="T41" fmla="*/ 70 h 239"/>
                <a:gd name="T42" fmla="*/ 142 w 187"/>
                <a:gd name="T43" fmla="*/ 96 h 239"/>
                <a:gd name="T44" fmla="*/ 133 w 187"/>
                <a:gd name="T45" fmla="*/ 92 h 239"/>
                <a:gd name="T46" fmla="*/ 107 w 187"/>
                <a:gd name="T47" fmla="*/ 88 h 239"/>
                <a:gd name="T48" fmla="*/ 91 w 187"/>
                <a:gd name="T49" fmla="*/ 87 h 239"/>
                <a:gd name="T50" fmla="*/ 63 w 187"/>
                <a:gd name="T51" fmla="*/ 89 h 239"/>
                <a:gd name="T52" fmla="*/ 47 w 187"/>
                <a:gd name="T53" fmla="*/ 94 h 239"/>
                <a:gd name="T54" fmla="*/ 32 w 187"/>
                <a:gd name="T55" fmla="*/ 101 h 239"/>
                <a:gd name="T56" fmla="*/ 20 w 187"/>
                <a:gd name="T57" fmla="*/ 110 h 239"/>
                <a:gd name="T58" fmla="*/ 10 w 187"/>
                <a:gd name="T59" fmla="*/ 121 h 239"/>
                <a:gd name="T60" fmla="*/ 4 w 187"/>
                <a:gd name="T61" fmla="*/ 135 h 239"/>
                <a:gd name="T62" fmla="*/ 0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5 w 187"/>
                <a:gd name="T73" fmla="*/ 222 h 239"/>
                <a:gd name="T74" fmla="*/ 38 w 187"/>
                <a:gd name="T75" fmla="*/ 230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9 h 239"/>
                <a:gd name="T82" fmla="*/ 108 w 187"/>
                <a:gd name="T83" fmla="*/ 234 h 239"/>
                <a:gd name="T84" fmla="*/ 115 w 187"/>
                <a:gd name="T85" fmla="*/ 231 h 239"/>
                <a:gd name="T86" fmla="*/ 134 w 187"/>
                <a:gd name="T87" fmla="*/ 219 h 239"/>
                <a:gd name="T88" fmla="*/ 142 w 187"/>
                <a:gd name="T89" fmla="*/ 235 h 239"/>
                <a:gd name="T90" fmla="*/ 142 w 187"/>
                <a:gd name="T91" fmla="*/ 170 h 239"/>
                <a:gd name="T92" fmla="*/ 138 w 187"/>
                <a:gd name="T93" fmla="*/ 175 h 239"/>
                <a:gd name="T94" fmla="*/ 126 w 187"/>
                <a:gd name="T95" fmla="*/ 185 h 239"/>
                <a:gd name="T96" fmla="*/ 112 w 187"/>
                <a:gd name="T97" fmla="*/ 193 h 239"/>
                <a:gd name="T98" fmla="*/ 95 w 187"/>
                <a:gd name="T99" fmla="*/ 198 h 239"/>
                <a:gd name="T100" fmla="*/ 86 w 187"/>
                <a:gd name="T101" fmla="*/ 199 h 239"/>
                <a:gd name="T102" fmla="*/ 68 w 187"/>
                <a:gd name="T103" fmla="*/ 196 h 239"/>
                <a:gd name="T104" fmla="*/ 55 w 187"/>
                <a:gd name="T105" fmla="*/ 190 h 239"/>
                <a:gd name="T106" fmla="*/ 50 w 187"/>
                <a:gd name="T107" fmla="*/ 185 h 239"/>
                <a:gd name="T108" fmla="*/ 43 w 187"/>
                <a:gd name="T109" fmla="*/ 170 h 239"/>
                <a:gd name="T110" fmla="*/ 42 w 187"/>
                <a:gd name="T111" fmla="*/ 161 h 239"/>
                <a:gd name="T112" fmla="*/ 46 w 187"/>
                <a:gd name="T113" fmla="*/ 146 h 239"/>
                <a:gd name="T114" fmla="*/ 55 w 187"/>
                <a:gd name="T115" fmla="*/ 135 h 239"/>
                <a:gd name="T116" fmla="*/ 70 w 187"/>
                <a:gd name="T117" fmla="*/ 128 h 239"/>
                <a:gd name="T118" fmla="*/ 90 w 187"/>
                <a:gd name="T119" fmla="*/ 126 h 239"/>
                <a:gd name="T120" fmla="*/ 106 w 187"/>
                <a:gd name="T121" fmla="*/ 126 h 239"/>
                <a:gd name="T122" fmla="*/ 120 w 187"/>
                <a:gd name="T123" fmla="*/ 128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6" y="67"/>
                  </a:lnTo>
                  <a:lnTo>
                    <a:pt x="185" y="58"/>
                  </a:lnTo>
                  <a:lnTo>
                    <a:pt x="183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8" y="24"/>
                  </a:lnTo>
                  <a:lnTo>
                    <a:pt x="163" y="19"/>
                  </a:lnTo>
                  <a:lnTo>
                    <a:pt x="156" y="14"/>
                  </a:lnTo>
                  <a:lnTo>
                    <a:pt x="150" y="10"/>
                  </a:lnTo>
                  <a:lnTo>
                    <a:pt x="143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2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3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7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6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8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7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8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7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6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8" name="Freeform 207"/>
            <p:cNvSpPr>
              <a:spLocks noEditPoints="1"/>
            </p:cNvSpPr>
            <p:nvPr userDrawn="1"/>
          </p:nvSpPr>
          <p:spPr bwMode="auto">
            <a:xfrm>
              <a:off x="1962150" y="6365876"/>
              <a:ext cx="95250" cy="114300"/>
            </a:xfrm>
            <a:custGeom>
              <a:avLst/>
              <a:gdLst>
                <a:gd name="T0" fmla="*/ 52 w 238"/>
                <a:gd name="T1" fmla="*/ 0 h 291"/>
                <a:gd name="T2" fmla="*/ 46 w 238"/>
                <a:gd name="T3" fmla="*/ 87 h 291"/>
                <a:gd name="T4" fmla="*/ 46 w 238"/>
                <a:gd name="T5" fmla="*/ 87 h 291"/>
                <a:gd name="T6" fmla="*/ 44 w 238"/>
                <a:gd name="T7" fmla="*/ 105 h 291"/>
                <a:gd name="T8" fmla="*/ 41 w 238"/>
                <a:gd name="T9" fmla="*/ 120 h 291"/>
                <a:gd name="T10" fmla="*/ 38 w 238"/>
                <a:gd name="T11" fmla="*/ 135 h 291"/>
                <a:gd name="T12" fmla="*/ 35 w 238"/>
                <a:gd name="T13" fmla="*/ 149 h 291"/>
                <a:gd name="T14" fmla="*/ 27 w 238"/>
                <a:gd name="T15" fmla="*/ 172 h 291"/>
                <a:gd name="T16" fmla="*/ 20 w 238"/>
                <a:gd name="T17" fmla="*/ 190 h 291"/>
                <a:gd name="T18" fmla="*/ 0 w 238"/>
                <a:gd name="T19" fmla="*/ 190 h 291"/>
                <a:gd name="T20" fmla="*/ 0 w 238"/>
                <a:gd name="T21" fmla="*/ 291 h 291"/>
                <a:gd name="T22" fmla="*/ 42 w 238"/>
                <a:gd name="T23" fmla="*/ 270 h 291"/>
                <a:gd name="T24" fmla="*/ 42 w 238"/>
                <a:gd name="T25" fmla="*/ 230 h 291"/>
                <a:gd name="T26" fmla="*/ 196 w 238"/>
                <a:gd name="T27" fmla="*/ 230 h 291"/>
                <a:gd name="T28" fmla="*/ 196 w 238"/>
                <a:gd name="T29" fmla="*/ 291 h 291"/>
                <a:gd name="T30" fmla="*/ 238 w 238"/>
                <a:gd name="T31" fmla="*/ 270 h 291"/>
                <a:gd name="T32" fmla="*/ 238 w 238"/>
                <a:gd name="T33" fmla="*/ 190 h 291"/>
                <a:gd name="T34" fmla="*/ 208 w 238"/>
                <a:gd name="T35" fmla="*/ 190 h 291"/>
                <a:gd name="T36" fmla="*/ 208 w 238"/>
                <a:gd name="T37" fmla="*/ 0 h 291"/>
                <a:gd name="T38" fmla="*/ 52 w 238"/>
                <a:gd name="T39" fmla="*/ 0 h 291"/>
                <a:gd name="T40" fmla="*/ 163 w 238"/>
                <a:gd name="T41" fmla="*/ 190 h 291"/>
                <a:gd name="T42" fmla="*/ 67 w 238"/>
                <a:gd name="T43" fmla="*/ 190 h 291"/>
                <a:gd name="T44" fmla="*/ 67 w 238"/>
                <a:gd name="T45" fmla="*/ 190 h 291"/>
                <a:gd name="T46" fmla="*/ 74 w 238"/>
                <a:gd name="T47" fmla="*/ 172 h 291"/>
                <a:gd name="T48" fmla="*/ 80 w 238"/>
                <a:gd name="T49" fmla="*/ 150 h 291"/>
                <a:gd name="T50" fmla="*/ 83 w 238"/>
                <a:gd name="T51" fmla="*/ 136 h 291"/>
                <a:gd name="T52" fmla="*/ 86 w 238"/>
                <a:gd name="T53" fmla="*/ 122 h 291"/>
                <a:gd name="T54" fmla="*/ 88 w 238"/>
                <a:gd name="T55" fmla="*/ 105 h 291"/>
                <a:gd name="T56" fmla="*/ 89 w 238"/>
                <a:gd name="T57" fmla="*/ 87 h 291"/>
                <a:gd name="T58" fmla="*/ 93 w 238"/>
                <a:gd name="T59" fmla="*/ 39 h 291"/>
                <a:gd name="T60" fmla="*/ 163 w 238"/>
                <a:gd name="T61" fmla="*/ 39 h 291"/>
                <a:gd name="T62" fmla="*/ 163 w 238"/>
                <a:gd name="T63" fmla="*/ 19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8" h="291">
                  <a:moveTo>
                    <a:pt x="52" y="0"/>
                  </a:moveTo>
                  <a:lnTo>
                    <a:pt x="46" y="87"/>
                  </a:lnTo>
                  <a:lnTo>
                    <a:pt x="46" y="87"/>
                  </a:lnTo>
                  <a:lnTo>
                    <a:pt x="44" y="105"/>
                  </a:lnTo>
                  <a:lnTo>
                    <a:pt x="41" y="120"/>
                  </a:lnTo>
                  <a:lnTo>
                    <a:pt x="38" y="135"/>
                  </a:lnTo>
                  <a:lnTo>
                    <a:pt x="35" y="149"/>
                  </a:lnTo>
                  <a:lnTo>
                    <a:pt x="27" y="172"/>
                  </a:lnTo>
                  <a:lnTo>
                    <a:pt x="20" y="190"/>
                  </a:lnTo>
                  <a:lnTo>
                    <a:pt x="0" y="190"/>
                  </a:lnTo>
                  <a:lnTo>
                    <a:pt x="0" y="291"/>
                  </a:lnTo>
                  <a:lnTo>
                    <a:pt x="42" y="270"/>
                  </a:lnTo>
                  <a:lnTo>
                    <a:pt x="42" y="230"/>
                  </a:lnTo>
                  <a:lnTo>
                    <a:pt x="196" y="230"/>
                  </a:lnTo>
                  <a:lnTo>
                    <a:pt x="196" y="291"/>
                  </a:lnTo>
                  <a:lnTo>
                    <a:pt x="238" y="270"/>
                  </a:lnTo>
                  <a:lnTo>
                    <a:pt x="238" y="190"/>
                  </a:lnTo>
                  <a:lnTo>
                    <a:pt x="208" y="190"/>
                  </a:lnTo>
                  <a:lnTo>
                    <a:pt x="208" y="0"/>
                  </a:lnTo>
                  <a:lnTo>
                    <a:pt x="52" y="0"/>
                  </a:lnTo>
                  <a:close/>
                  <a:moveTo>
                    <a:pt x="163" y="190"/>
                  </a:moveTo>
                  <a:lnTo>
                    <a:pt x="67" y="190"/>
                  </a:lnTo>
                  <a:lnTo>
                    <a:pt x="67" y="190"/>
                  </a:lnTo>
                  <a:lnTo>
                    <a:pt x="74" y="172"/>
                  </a:lnTo>
                  <a:lnTo>
                    <a:pt x="80" y="150"/>
                  </a:lnTo>
                  <a:lnTo>
                    <a:pt x="83" y="136"/>
                  </a:lnTo>
                  <a:lnTo>
                    <a:pt x="86" y="122"/>
                  </a:lnTo>
                  <a:lnTo>
                    <a:pt x="88" y="105"/>
                  </a:lnTo>
                  <a:lnTo>
                    <a:pt x="89" y="87"/>
                  </a:lnTo>
                  <a:lnTo>
                    <a:pt x="93" y="39"/>
                  </a:lnTo>
                  <a:lnTo>
                    <a:pt x="163" y="39"/>
                  </a:lnTo>
                  <a:lnTo>
                    <a:pt x="163" y="1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09" name="Freeform 208"/>
            <p:cNvSpPr>
              <a:spLocks noEditPoints="1"/>
            </p:cNvSpPr>
            <p:nvPr userDrawn="1"/>
          </p:nvSpPr>
          <p:spPr bwMode="auto">
            <a:xfrm>
              <a:off x="2066925" y="6362701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7 h 239"/>
                <a:gd name="T4" fmla="*/ 184 w 187"/>
                <a:gd name="T5" fmla="*/ 50 h 239"/>
                <a:gd name="T6" fmla="*/ 177 w 187"/>
                <a:gd name="T7" fmla="*/ 36 h 239"/>
                <a:gd name="T8" fmla="*/ 168 w 187"/>
                <a:gd name="T9" fmla="*/ 24 h 239"/>
                <a:gd name="T10" fmla="*/ 156 w 187"/>
                <a:gd name="T11" fmla="*/ 14 h 239"/>
                <a:gd name="T12" fmla="*/ 143 w 187"/>
                <a:gd name="T13" fmla="*/ 7 h 239"/>
                <a:gd name="T14" fmla="*/ 127 w 187"/>
                <a:gd name="T15" fmla="*/ 2 h 239"/>
                <a:gd name="T16" fmla="*/ 110 w 187"/>
                <a:gd name="T17" fmla="*/ 0 h 239"/>
                <a:gd name="T18" fmla="*/ 100 w 187"/>
                <a:gd name="T19" fmla="*/ 0 h 239"/>
                <a:gd name="T20" fmla="*/ 78 w 187"/>
                <a:gd name="T21" fmla="*/ 1 h 239"/>
                <a:gd name="T22" fmla="*/ 57 w 187"/>
                <a:gd name="T23" fmla="*/ 5 h 239"/>
                <a:gd name="T24" fmla="*/ 39 w 187"/>
                <a:gd name="T25" fmla="*/ 11 h 239"/>
                <a:gd name="T26" fmla="*/ 22 w 187"/>
                <a:gd name="T27" fmla="*/ 20 h 239"/>
                <a:gd name="T28" fmla="*/ 39 w 187"/>
                <a:gd name="T29" fmla="*/ 54 h 239"/>
                <a:gd name="T30" fmla="*/ 67 w 187"/>
                <a:gd name="T31" fmla="*/ 43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1 w 187"/>
                <a:gd name="T41" fmla="*/ 70 h 239"/>
                <a:gd name="T42" fmla="*/ 142 w 187"/>
                <a:gd name="T43" fmla="*/ 96 h 239"/>
                <a:gd name="T44" fmla="*/ 133 w 187"/>
                <a:gd name="T45" fmla="*/ 92 h 239"/>
                <a:gd name="T46" fmla="*/ 108 w 187"/>
                <a:gd name="T47" fmla="*/ 88 h 239"/>
                <a:gd name="T48" fmla="*/ 91 w 187"/>
                <a:gd name="T49" fmla="*/ 87 h 239"/>
                <a:gd name="T50" fmla="*/ 64 w 187"/>
                <a:gd name="T51" fmla="*/ 89 h 239"/>
                <a:gd name="T52" fmla="*/ 47 w 187"/>
                <a:gd name="T53" fmla="*/ 94 h 239"/>
                <a:gd name="T54" fmla="*/ 33 w 187"/>
                <a:gd name="T55" fmla="*/ 101 h 239"/>
                <a:gd name="T56" fmla="*/ 20 w 187"/>
                <a:gd name="T57" fmla="*/ 110 h 239"/>
                <a:gd name="T58" fmla="*/ 11 w 187"/>
                <a:gd name="T59" fmla="*/ 121 h 239"/>
                <a:gd name="T60" fmla="*/ 4 w 187"/>
                <a:gd name="T61" fmla="*/ 135 h 239"/>
                <a:gd name="T62" fmla="*/ 1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6 w 187"/>
                <a:gd name="T73" fmla="*/ 222 h 239"/>
                <a:gd name="T74" fmla="*/ 38 w 187"/>
                <a:gd name="T75" fmla="*/ 230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9 h 239"/>
                <a:gd name="T82" fmla="*/ 109 w 187"/>
                <a:gd name="T83" fmla="*/ 234 h 239"/>
                <a:gd name="T84" fmla="*/ 116 w 187"/>
                <a:gd name="T85" fmla="*/ 231 h 239"/>
                <a:gd name="T86" fmla="*/ 134 w 187"/>
                <a:gd name="T87" fmla="*/ 219 h 239"/>
                <a:gd name="T88" fmla="*/ 142 w 187"/>
                <a:gd name="T89" fmla="*/ 235 h 239"/>
                <a:gd name="T90" fmla="*/ 142 w 187"/>
                <a:gd name="T91" fmla="*/ 170 h 239"/>
                <a:gd name="T92" fmla="*/ 138 w 187"/>
                <a:gd name="T93" fmla="*/ 175 h 239"/>
                <a:gd name="T94" fmla="*/ 127 w 187"/>
                <a:gd name="T95" fmla="*/ 185 h 239"/>
                <a:gd name="T96" fmla="*/ 112 w 187"/>
                <a:gd name="T97" fmla="*/ 193 h 239"/>
                <a:gd name="T98" fmla="*/ 96 w 187"/>
                <a:gd name="T99" fmla="*/ 198 h 239"/>
                <a:gd name="T100" fmla="*/ 87 w 187"/>
                <a:gd name="T101" fmla="*/ 199 h 239"/>
                <a:gd name="T102" fmla="*/ 69 w 187"/>
                <a:gd name="T103" fmla="*/ 196 h 239"/>
                <a:gd name="T104" fmla="*/ 55 w 187"/>
                <a:gd name="T105" fmla="*/ 190 h 239"/>
                <a:gd name="T106" fmla="*/ 50 w 187"/>
                <a:gd name="T107" fmla="*/ 185 h 239"/>
                <a:gd name="T108" fmla="*/ 44 w 187"/>
                <a:gd name="T109" fmla="*/ 170 h 239"/>
                <a:gd name="T110" fmla="*/ 43 w 187"/>
                <a:gd name="T111" fmla="*/ 161 h 239"/>
                <a:gd name="T112" fmla="*/ 46 w 187"/>
                <a:gd name="T113" fmla="*/ 146 h 239"/>
                <a:gd name="T114" fmla="*/ 55 w 187"/>
                <a:gd name="T115" fmla="*/ 135 h 239"/>
                <a:gd name="T116" fmla="*/ 70 w 187"/>
                <a:gd name="T117" fmla="*/ 128 h 239"/>
                <a:gd name="T118" fmla="*/ 90 w 187"/>
                <a:gd name="T119" fmla="*/ 126 h 239"/>
                <a:gd name="T120" fmla="*/ 107 w 187"/>
                <a:gd name="T121" fmla="*/ 126 h 239"/>
                <a:gd name="T122" fmla="*/ 120 w 187"/>
                <a:gd name="T123" fmla="*/ 128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7"/>
                  </a:lnTo>
                  <a:lnTo>
                    <a:pt x="186" y="58"/>
                  </a:lnTo>
                  <a:lnTo>
                    <a:pt x="184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8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50" y="10"/>
                  </a:lnTo>
                  <a:lnTo>
                    <a:pt x="143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9" y="1"/>
                  </a:lnTo>
                  <a:lnTo>
                    <a:pt x="110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8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8" y="8"/>
                  </a:lnTo>
                  <a:lnTo>
                    <a:pt x="39" y="11"/>
                  </a:lnTo>
                  <a:lnTo>
                    <a:pt x="30" y="16"/>
                  </a:lnTo>
                  <a:lnTo>
                    <a:pt x="22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3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6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2" y="89"/>
                  </a:lnTo>
                  <a:lnTo>
                    <a:pt x="108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4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40" y="97"/>
                  </a:lnTo>
                  <a:lnTo>
                    <a:pt x="33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1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2" y="143"/>
                  </a:lnTo>
                  <a:lnTo>
                    <a:pt x="1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1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6" y="222"/>
                  </a:lnTo>
                  <a:lnTo>
                    <a:pt x="32" y="226"/>
                  </a:lnTo>
                  <a:lnTo>
                    <a:pt x="38" y="230"/>
                  </a:lnTo>
                  <a:lnTo>
                    <a:pt x="45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7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8" y="175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6" y="198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77" y="198"/>
                  </a:lnTo>
                  <a:lnTo>
                    <a:pt x="69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4" y="170"/>
                  </a:lnTo>
                  <a:lnTo>
                    <a:pt x="43" y="161"/>
                  </a:lnTo>
                  <a:lnTo>
                    <a:pt x="43" y="161"/>
                  </a:lnTo>
                  <a:lnTo>
                    <a:pt x="44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7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1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0" name="Freeform 209"/>
            <p:cNvSpPr>
              <a:spLocks/>
            </p:cNvSpPr>
            <p:nvPr userDrawn="1"/>
          </p:nvSpPr>
          <p:spPr bwMode="auto">
            <a:xfrm>
              <a:off x="2159000" y="6365876"/>
              <a:ext cx="69850" cy="90488"/>
            </a:xfrm>
            <a:custGeom>
              <a:avLst/>
              <a:gdLst>
                <a:gd name="T0" fmla="*/ 178 w 178"/>
                <a:gd name="T1" fmla="*/ 0 h 230"/>
                <a:gd name="T2" fmla="*/ 133 w 178"/>
                <a:gd name="T3" fmla="*/ 0 h 230"/>
                <a:gd name="T4" fmla="*/ 133 w 178"/>
                <a:gd name="T5" fmla="*/ 92 h 230"/>
                <a:gd name="T6" fmla="*/ 133 w 178"/>
                <a:gd name="T7" fmla="*/ 92 h 230"/>
                <a:gd name="T8" fmla="*/ 123 w 178"/>
                <a:gd name="T9" fmla="*/ 98 h 230"/>
                <a:gd name="T10" fmla="*/ 112 w 178"/>
                <a:gd name="T11" fmla="*/ 102 h 230"/>
                <a:gd name="T12" fmla="*/ 99 w 178"/>
                <a:gd name="T13" fmla="*/ 105 h 230"/>
                <a:gd name="T14" fmla="*/ 85 w 178"/>
                <a:gd name="T15" fmla="*/ 106 h 230"/>
                <a:gd name="T16" fmla="*/ 85 w 178"/>
                <a:gd name="T17" fmla="*/ 106 h 230"/>
                <a:gd name="T18" fmla="*/ 76 w 178"/>
                <a:gd name="T19" fmla="*/ 105 h 230"/>
                <a:gd name="T20" fmla="*/ 68 w 178"/>
                <a:gd name="T21" fmla="*/ 103 h 230"/>
                <a:gd name="T22" fmla="*/ 61 w 178"/>
                <a:gd name="T23" fmla="*/ 101 h 230"/>
                <a:gd name="T24" fmla="*/ 55 w 178"/>
                <a:gd name="T25" fmla="*/ 97 h 230"/>
                <a:gd name="T26" fmla="*/ 51 w 178"/>
                <a:gd name="T27" fmla="*/ 91 h 230"/>
                <a:gd name="T28" fmla="*/ 48 w 178"/>
                <a:gd name="T29" fmla="*/ 85 h 230"/>
                <a:gd name="T30" fmla="*/ 46 w 178"/>
                <a:gd name="T31" fmla="*/ 76 h 230"/>
                <a:gd name="T32" fmla="*/ 45 w 178"/>
                <a:gd name="T33" fmla="*/ 66 h 230"/>
                <a:gd name="T34" fmla="*/ 45 w 178"/>
                <a:gd name="T35" fmla="*/ 0 h 230"/>
                <a:gd name="T36" fmla="*/ 0 w 178"/>
                <a:gd name="T37" fmla="*/ 0 h 230"/>
                <a:gd name="T38" fmla="*/ 0 w 178"/>
                <a:gd name="T39" fmla="*/ 64 h 230"/>
                <a:gd name="T40" fmla="*/ 0 w 178"/>
                <a:gd name="T41" fmla="*/ 64 h 230"/>
                <a:gd name="T42" fmla="*/ 0 w 178"/>
                <a:gd name="T43" fmla="*/ 74 h 230"/>
                <a:gd name="T44" fmla="*/ 1 w 178"/>
                <a:gd name="T45" fmla="*/ 83 h 230"/>
                <a:gd name="T46" fmla="*/ 3 w 178"/>
                <a:gd name="T47" fmla="*/ 91 h 230"/>
                <a:gd name="T48" fmla="*/ 5 w 178"/>
                <a:gd name="T49" fmla="*/ 99 h 230"/>
                <a:gd name="T50" fmla="*/ 7 w 178"/>
                <a:gd name="T51" fmla="*/ 106 h 230"/>
                <a:gd name="T52" fmla="*/ 11 w 178"/>
                <a:gd name="T53" fmla="*/ 113 h 230"/>
                <a:gd name="T54" fmla="*/ 14 w 178"/>
                <a:gd name="T55" fmla="*/ 119 h 230"/>
                <a:gd name="T56" fmla="*/ 19 w 178"/>
                <a:gd name="T57" fmla="*/ 124 h 230"/>
                <a:gd name="T58" fmla="*/ 24 w 178"/>
                <a:gd name="T59" fmla="*/ 129 h 230"/>
                <a:gd name="T60" fmla="*/ 29 w 178"/>
                <a:gd name="T61" fmla="*/ 133 h 230"/>
                <a:gd name="T62" fmla="*/ 35 w 178"/>
                <a:gd name="T63" fmla="*/ 137 h 230"/>
                <a:gd name="T64" fmla="*/ 42 w 178"/>
                <a:gd name="T65" fmla="*/ 140 h 230"/>
                <a:gd name="T66" fmla="*/ 49 w 178"/>
                <a:gd name="T67" fmla="*/ 142 h 230"/>
                <a:gd name="T68" fmla="*/ 57 w 178"/>
                <a:gd name="T69" fmla="*/ 145 h 230"/>
                <a:gd name="T70" fmla="*/ 65 w 178"/>
                <a:gd name="T71" fmla="*/ 145 h 230"/>
                <a:gd name="T72" fmla="*/ 74 w 178"/>
                <a:gd name="T73" fmla="*/ 146 h 230"/>
                <a:gd name="T74" fmla="*/ 74 w 178"/>
                <a:gd name="T75" fmla="*/ 146 h 230"/>
                <a:gd name="T76" fmla="*/ 91 w 178"/>
                <a:gd name="T77" fmla="*/ 145 h 230"/>
                <a:gd name="T78" fmla="*/ 106 w 178"/>
                <a:gd name="T79" fmla="*/ 141 h 230"/>
                <a:gd name="T80" fmla="*/ 120 w 178"/>
                <a:gd name="T81" fmla="*/ 137 h 230"/>
                <a:gd name="T82" fmla="*/ 133 w 178"/>
                <a:gd name="T83" fmla="*/ 131 h 230"/>
                <a:gd name="T84" fmla="*/ 133 w 178"/>
                <a:gd name="T85" fmla="*/ 230 h 230"/>
                <a:gd name="T86" fmla="*/ 178 w 178"/>
                <a:gd name="T87" fmla="*/ 230 h 230"/>
                <a:gd name="T88" fmla="*/ 178 w 178"/>
                <a:gd name="T8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8" h="230">
                  <a:moveTo>
                    <a:pt x="178" y="0"/>
                  </a:moveTo>
                  <a:lnTo>
                    <a:pt x="133" y="0"/>
                  </a:lnTo>
                  <a:lnTo>
                    <a:pt x="133" y="92"/>
                  </a:lnTo>
                  <a:lnTo>
                    <a:pt x="133" y="92"/>
                  </a:lnTo>
                  <a:lnTo>
                    <a:pt x="123" y="98"/>
                  </a:lnTo>
                  <a:lnTo>
                    <a:pt x="112" y="102"/>
                  </a:lnTo>
                  <a:lnTo>
                    <a:pt x="99" y="105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76" y="105"/>
                  </a:lnTo>
                  <a:lnTo>
                    <a:pt x="68" y="103"/>
                  </a:lnTo>
                  <a:lnTo>
                    <a:pt x="61" y="101"/>
                  </a:lnTo>
                  <a:lnTo>
                    <a:pt x="55" y="97"/>
                  </a:lnTo>
                  <a:lnTo>
                    <a:pt x="51" y="91"/>
                  </a:lnTo>
                  <a:lnTo>
                    <a:pt x="48" y="85"/>
                  </a:lnTo>
                  <a:lnTo>
                    <a:pt x="46" y="76"/>
                  </a:lnTo>
                  <a:lnTo>
                    <a:pt x="45" y="66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4"/>
                  </a:lnTo>
                  <a:lnTo>
                    <a:pt x="1" y="83"/>
                  </a:lnTo>
                  <a:lnTo>
                    <a:pt x="3" y="91"/>
                  </a:lnTo>
                  <a:lnTo>
                    <a:pt x="5" y="99"/>
                  </a:lnTo>
                  <a:lnTo>
                    <a:pt x="7" y="106"/>
                  </a:lnTo>
                  <a:lnTo>
                    <a:pt x="11" y="113"/>
                  </a:lnTo>
                  <a:lnTo>
                    <a:pt x="14" y="119"/>
                  </a:lnTo>
                  <a:lnTo>
                    <a:pt x="19" y="124"/>
                  </a:lnTo>
                  <a:lnTo>
                    <a:pt x="24" y="129"/>
                  </a:lnTo>
                  <a:lnTo>
                    <a:pt x="29" y="133"/>
                  </a:lnTo>
                  <a:lnTo>
                    <a:pt x="35" y="137"/>
                  </a:lnTo>
                  <a:lnTo>
                    <a:pt x="42" y="140"/>
                  </a:lnTo>
                  <a:lnTo>
                    <a:pt x="49" y="142"/>
                  </a:lnTo>
                  <a:lnTo>
                    <a:pt x="57" y="145"/>
                  </a:lnTo>
                  <a:lnTo>
                    <a:pt x="65" y="145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91" y="145"/>
                  </a:lnTo>
                  <a:lnTo>
                    <a:pt x="106" y="141"/>
                  </a:lnTo>
                  <a:lnTo>
                    <a:pt x="120" y="137"/>
                  </a:lnTo>
                  <a:lnTo>
                    <a:pt x="133" y="131"/>
                  </a:lnTo>
                  <a:lnTo>
                    <a:pt x="133" y="230"/>
                  </a:lnTo>
                  <a:lnTo>
                    <a:pt x="178" y="23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1" name="Freeform 210"/>
            <p:cNvSpPr>
              <a:spLocks/>
            </p:cNvSpPr>
            <p:nvPr userDrawn="1"/>
          </p:nvSpPr>
          <p:spPr bwMode="auto">
            <a:xfrm>
              <a:off x="2252663" y="6365876"/>
              <a:ext cx="74613" cy="90488"/>
            </a:xfrm>
            <a:custGeom>
              <a:avLst/>
              <a:gdLst>
                <a:gd name="T0" fmla="*/ 0 w 186"/>
                <a:gd name="T1" fmla="*/ 0 h 230"/>
                <a:gd name="T2" fmla="*/ 0 w 186"/>
                <a:gd name="T3" fmla="*/ 230 h 230"/>
                <a:gd name="T4" fmla="*/ 45 w 186"/>
                <a:gd name="T5" fmla="*/ 230 h 230"/>
                <a:gd name="T6" fmla="*/ 125 w 186"/>
                <a:gd name="T7" fmla="*/ 101 h 230"/>
                <a:gd name="T8" fmla="*/ 125 w 186"/>
                <a:gd name="T9" fmla="*/ 101 h 230"/>
                <a:gd name="T10" fmla="*/ 142 w 186"/>
                <a:gd name="T11" fmla="*/ 72 h 230"/>
                <a:gd name="T12" fmla="*/ 142 w 186"/>
                <a:gd name="T13" fmla="*/ 72 h 230"/>
                <a:gd name="T14" fmla="*/ 142 w 186"/>
                <a:gd name="T15" fmla="*/ 120 h 230"/>
                <a:gd name="T16" fmla="*/ 142 w 186"/>
                <a:gd name="T17" fmla="*/ 230 h 230"/>
                <a:gd name="T18" fmla="*/ 186 w 186"/>
                <a:gd name="T19" fmla="*/ 230 h 230"/>
                <a:gd name="T20" fmla="*/ 186 w 186"/>
                <a:gd name="T21" fmla="*/ 0 h 230"/>
                <a:gd name="T22" fmla="*/ 142 w 186"/>
                <a:gd name="T23" fmla="*/ 0 h 230"/>
                <a:gd name="T24" fmla="*/ 62 w 186"/>
                <a:gd name="T25" fmla="*/ 127 h 230"/>
                <a:gd name="T26" fmla="*/ 62 w 186"/>
                <a:gd name="T27" fmla="*/ 127 h 230"/>
                <a:gd name="T28" fmla="*/ 52 w 186"/>
                <a:gd name="T29" fmla="*/ 143 h 230"/>
                <a:gd name="T30" fmla="*/ 44 w 186"/>
                <a:gd name="T31" fmla="*/ 158 h 230"/>
                <a:gd name="T32" fmla="*/ 44 w 186"/>
                <a:gd name="T33" fmla="*/ 158 h 230"/>
                <a:gd name="T34" fmla="*/ 45 w 186"/>
                <a:gd name="T35" fmla="*/ 108 h 230"/>
                <a:gd name="T36" fmla="*/ 45 w 186"/>
                <a:gd name="T37" fmla="*/ 0 h 230"/>
                <a:gd name="T38" fmla="*/ 0 w 186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6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2" y="120"/>
                  </a:lnTo>
                  <a:lnTo>
                    <a:pt x="142" y="230"/>
                  </a:lnTo>
                  <a:lnTo>
                    <a:pt x="186" y="230"/>
                  </a:lnTo>
                  <a:lnTo>
                    <a:pt x="186" y="0"/>
                  </a:lnTo>
                  <a:lnTo>
                    <a:pt x="142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2" name="Freeform 211"/>
            <p:cNvSpPr>
              <a:spLocks noEditPoints="1"/>
            </p:cNvSpPr>
            <p:nvPr userDrawn="1"/>
          </p:nvSpPr>
          <p:spPr bwMode="auto">
            <a:xfrm>
              <a:off x="2390775" y="6327776"/>
              <a:ext cx="79375" cy="130175"/>
            </a:xfrm>
            <a:custGeom>
              <a:avLst/>
              <a:gdLst>
                <a:gd name="T0" fmla="*/ 159 w 198"/>
                <a:gd name="T1" fmla="*/ 4 h 328"/>
                <a:gd name="T2" fmla="*/ 124 w 198"/>
                <a:gd name="T3" fmla="*/ 5 h 328"/>
                <a:gd name="T4" fmla="*/ 83 w 198"/>
                <a:gd name="T5" fmla="*/ 13 h 328"/>
                <a:gd name="T6" fmla="*/ 48 w 198"/>
                <a:gd name="T7" fmla="*/ 31 h 328"/>
                <a:gd name="T8" fmla="*/ 22 w 198"/>
                <a:gd name="T9" fmla="*/ 59 h 328"/>
                <a:gd name="T10" fmla="*/ 6 w 198"/>
                <a:gd name="T11" fmla="*/ 96 h 328"/>
                <a:gd name="T12" fmla="*/ 0 w 198"/>
                <a:gd name="T13" fmla="*/ 143 h 328"/>
                <a:gd name="T14" fmla="*/ 1 w 198"/>
                <a:gd name="T15" fmla="*/ 223 h 328"/>
                <a:gd name="T16" fmla="*/ 8 w 198"/>
                <a:gd name="T17" fmla="*/ 259 h 328"/>
                <a:gd name="T18" fmla="*/ 22 w 198"/>
                <a:gd name="T19" fmla="*/ 288 h 328"/>
                <a:gd name="T20" fmla="*/ 42 w 198"/>
                <a:gd name="T21" fmla="*/ 310 h 328"/>
                <a:gd name="T22" fmla="*/ 68 w 198"/>
                <a:gd name="T23" fmla="*/ 324 h 328"/>
                <a:gd name="T24" fmla="*/ 98 w 198"/>
                <a:gd name="T25" fmla="*/ 328 h 328"/>
                <a:gd name="T26" fmla="*/ 118 w 198"/>
                <a:gd name="T27" fmla="*/ 326 h 328"/>
                <a:gd name="T28" fmla="*/ 146 w 198"/>
                <a:gd name="T29" fmla="*/ 316 h 328"/>
                <a:gd name="T30" fmla="*/ 169 w 198"/>
                <a:gd name="T31" fmla="*/ 297 h 328"/>
                <a:gd name="T32" fmla="*/ 186 w 198"/>
                <a:gd name="T33" fmla="*/ 271 h 328"/>
                <a:gd name="T34" fmla="*/ 196 w 198"/>
                <a:gd name="T35" fmla="*/ 236 h 328"/>
                <a:gd name="T36" fmla="*/ 198 w 198"/>
                <a:gd name="T37" fmla="*/ 210 h 328"/>
                <a:gd name="T38" fmla="*/ 194 w 198"/>
                <a:gd name="T39" fmla="*/ 173 h 328"/>
                <a:gd name="T40" fmla="*/ 184 w 198"/>
                <a:gd name="T41" fmla="*/ 142 h 328"/>
                <a:gd name="T42" fmla="*/ 167 w 198"/>
                <a:gd name="T43" fmla="*/ 118 h 328"/>
                <a:gd name="T44" fmla="*/ 144 w 198"/>
                <a:gd name="T45" fmla="*/ 102 h 328"/>
                <a:gd name="T46" fmla="*/ 117 w 198"/>
                <a:gd name="T47" fmla="*/ 94 h 328"/>
                <a:gd name="T48" fmla="*/ 96 w 198"/>
                <a:gd name="T49" fmla="*/ 94 h 328"/>
                <a:gd name="T50" fmla="*/ 69 w 198"/>
                <a:gd name="T51" fmla="*/ 103 h 328"/>
                <a:gd name="T52" fmla="*/ 48 w 198"/>
                <a:gd name="T53" fmla="*/ 123 h 328"/>
                <a:gd name="T54" fmla="*/ 42 w 198"/>
                <a:gd name="T55" fmla="*/ 123 h 328"/>
                <a:gd name="T56" fmla="*/ 47 w 198"/>
                <a:gd name="T57" fmla="*/ 97 h 328"/>
                <a:gd name="T58" fmla="*/ 59 w 198"/>
                <a:gd name="T59" fmla="*/ 76 h 328"/>
                <a:gd name="T60" fmla="*/ 78 w 198"/>
                <a:gd name="T61" fmla="*/ 59 h 328"/>
                <a:gd name="T62" fmla="*/ 105 w 198"/>
                <a:gd name="T63" fmla="*/ 48 h 328"/>
                <a:gd name="T64" fmla="*/ 139 w 198"/>
                <a:gd name="T65" fmla="*/ 44 h 328"/>
                <a:gd name="T66" fmla="*/ 162 w 198"/>
                <a:gd name="T67" fmla="*/ 43 h 328"/>
                <a:gd name="T68" fmla="*/ 153 w 198"/>
                <a:gd name="T69" fmla="*/ 211 h 328"/>
                <a:gd name="T70" fmla="*/ 149 w 198"/>
                <a:gd name="T71" fmla="*/ 241 h 328"/>
                <a:gd name="T72" fmla="*/ 135 w 198"/>
                <a:gd name="T73" fmla="*/ 270 h 328"/>
                <a:gd name="T74" fmla="*/ 121 w 198"/>
                <a:gd name="T75" fmla="*/ 281 h 328"/>
                <a:gd name="T76" fmla="*/ 105 w 198"/>
                <a:gd name="T77" fmla="*/ 286 h 328"/>
                <a:gd name="T78" fmla="*/ 93 w 198"/>
                <a:gd name="T79" fmla="*/ 287 h 328"/>
                <a:gd name="T80" fmla="*/ 77 w 198"/>
                <a:gd name="T81" fmla="*/ 282 h 328"/>
                <a:gd name="T82" fmla="*/ 63 w 198"/>
                <a:gd name="T83" fmla="*/ 272 h 328"/>
                <a:gd name="T84" fmla="*/ 53 w 198"/>
                <a:gd name="T85" fmla="*/ 256 h 328"/>
                <a:gd name="T86" fmla="*/ 45 w 198"/>
                <a:gd name="T87" fmla="*/ 227 h 328"/>
                <a:gd name="T88" fmla="*/ 45 w 198"/>
                <a:gd name="T89" fmla="*/ 193 h 328"/>
                <a:gd name="T90" fmla="*/ 55 w 198"/>
                <a:gd name="T91" fmla="*/ 161 h 328"/>
                <a:gd name="T92" fmla="*/ 66 w 198"/>
                <a:gd name="T93" fmla="*/ 147 h 328"/>
                <a:gd name="T94" fmla="*/ 82 w 198"/>
                <a:gd name="T95" fmla="*/ 138 h 328"/>
                <a:gd name="T96" fmla="*/ 101 w 198"/>
                <a:gd name="T97" fmla="*/ 135 h 328"/>
                <a:gd name="T98" fmla="*/ 113 w 198"/>
                <a:gd name="T99" fmla="*/ 136 h 328"/>
                <a:gd name="T100" fmla="*/ 128 w 198"/>
                <a:gd name="T101" fmla="*/ 143 h 328"/>
                <a:gd name="T102" fmla="*/ 139 w 198"/>
                <a:gd name="T103" fmla="*/ 156 h 328"/>
                <a:gd name="T104" fmla="*/ 152 w 198"/>
                <a:gd name="T105" fmla="*/ 194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" h="328">
                  <a:moveTo>
                    <a:pt x="182" y="0"/>
                  </a:moveTo>
                  <a:lnTo>
                    <a:pt x="182" y="0"/>
                  </a:lnTo>
                  <a:lnTo>
                    <a:pt x="159" y="4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24" y="5"/>
                  </a:lnTo>
                  <a:lnTo>
                    <a:pt x="109" y="7"/>
                  </a:lnTo>
                  <a:lnTo>
                    <a:pt x="96" y="10"/>
                  </a:lnTo>
                  <a:lnTo>
                    <a:pt x="83" y="13"/>
                  </a:lnTo>
                  <a:lnTo>
                    <a:pt x="70" y="18"/>
                  </a:lnTo>
                  <a:lnTo>
                    <a:pt x="59" y="24"/>
                  </a:lnTo>
                  <a:lnTo>
                    <a:pt x="48" y="31"/>
                  </a:lnTo>
                  <a:lnTo>
                    <a:pt x="39" y="39"/>
                  </a:lnTo>
                  <a:lnTo>
                    <a:pt x="30" y="48"/>
                  </a:lnTo>
                  <a:lnTo>
                    <a:pt x="22" y="59"/>
                  </a:lnTo>
                  <a:lnTo>
                    <a:pt x="16" y="70"/>
                  </a:lnTo>
                  <a:lnTo>
                    <a:pt x="10" y="82"/>
                  </a:lnTo>
                  <a:lnTo>
                    <a:pt x="6" y="96"/>
                  </a:lnTo>
                  <a:lnTo>
                    <a:pt x="3" y="111"/>
                  </a:lnTo>
                  <a:lnTo>
                    <a:pt x="1" y="126"/>
                  </a:lnTo>
                  <a:lnTo>
                    <a:pt x="0" y="143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2" y="236"/>
                  </a:lnTo>
                  <a:lnTo>
                    <a:pt x="4" y="248"/>
                  </a:lnTo>
                  <a:lnTo>
                    <a:pt x="8" y="259"/>
                  </a:lnTo>
                  <a:lnTo>
                    <a:pt x="12" y="270"/>
                  </a:lnTo>
                  <a:lnTo>
                    <a:pt x="16" y="279"/>
                  </a:lnTo>
                  <a:lnTo>
                    <a:pt x="22" y="288"/>
                  </a:lnTo>
                  <a:lnTo>
                    <a:pt x="28" y="296"/>
                  </a:lnTo>
                  <a:lnTo>
                    <a:pt x="35" y="303"/>
                  </a:lnTo>
                  <a:lnTo>
                    <a:pt x="42" y="310"/>
                  </a:lnTo>
                  <a:lnTo>
                    <a:pt x="50" y="315"/>
                  </a:lnTo>
                  <a:lnTo>
                    <a:pt x="59" y="320"/>
                  </a:lnTo>
                  <a:lnTo>
                    <a:pt x="68" y="324"/>
                  </a:lnTo>
                  <a:lnTo>
                    <a:pt x="78" y="326"/>
                  </a:lnTo>
                  <a:lnTo>
                    <a:pt x="87" y="328"/>
                  </a:lnTo>
                  <a:lnTo>
                    <a:pt x="98" y="328"/>
                  </a:lnTo>
                  <a:lnTo>
                    <a:pt x="98" y="328"/>
                  </a:lnTo>
                  <a:lnTo>
                    <a:pt x="108" y="328"/>
                  </a:lnTo>
                  <a:lnTo>
                    <a:pt x="118" y="326"/>
                  </a:lnTo>
                  <a:lnTo>
                    <a:pt x="128" y="324"/>
                  </a:lnTo>
                  <a:lnTo>
                    <a:pt x="138" y="320"/>
                  </a:lnTo>
                  <a:lnTo>
                    <a:pt x="146" y="316"/>
                  </a:lnTo>
                  <a:lnTo>
                    <a:pt x="155" y="311"/>
                  </a:lnTo>
                  <a:lnTo>
                    <a:pt x="162" y="304"/>
                  </a:lnTo>
                  <a:lnTo>
                    <a:pt x="169" y="297"/>
                  </a:lnTo>
                  <a:lnTo>
                    <a:pt x="176" y="289"/>
                  </a:lnTo>
                  <a:lnTo>
                    <a:pt x="181" y="280"/>
                  </a:lnTo>
                  <a:lnTo>
                    <a:pt x="186" y="271"/>
                  </a:lnTo>
                  <a:lnTo>
                    <a:pt x="190" y="260"/>
                  </a:lnTo>
                  <a:lnTo>
                    <a:pt x="194" y="249"/>
                  </a:lnTo>
                  <a:lnTo>
                    <a:pt x="196" y="236"/>
                  </a:lnTo>
                  <a:lnTo>
                    <a:pt x="198" y="223"/>
                  </a:lnTo>
                  <a:lnTo>
                    <a:pt x="198" y="210"/>
                  </a:lnTo>
                  <a:lnTo>
                    <a:pt x="198" y="210"/>
                  </a:lnTo>
                  <a:lnTo>
                    <a:pt x="198" y="197"/>
                  </a:lnTo>
                  <a:lnTo>
                    <a:pt x="196" y="184"/>
                  </a:lnTo>
                  <a:lnTo>
                    <a:pt x="194" y="173"/>
                  </a:lnTo>
                  <a:lnTo>
                    <a:pt x="191" y="162"/>
                  </a:lnTo>
                  <a:lnTo>
                    <a:pt x="188" y="152"/>
                  </a:lnTo>
                  <a:lnTo>
                    <a:pt x="184" y="142"/>
                  </a:lnTo>
                  <a:lnTo>
                    <a:pt x="179" y="133"/>
                  </a:lnTo>
                  <a:lnTo>
                    <a:pt x="173" y="125"/>
                  </a:lnTo>
                  <a:lnTo>
                    <a:pt x="167" y="118"/>
                  </a:lnTo>
                  <a:lnTo>
                    <a:pt x="160" y="112"/>
                  </a:lnTo>
                  <a:lnTo>
                    <a:pt x="152" y="106"/>
                  </a:lnTo>
                  <a:lnTo>
                    <a:pt x="144" y="102"/>
                  </a:lnTo>
                  <a:lnTo>
                    <a:pt x="135" y="98"/>
                  </a:lnTo>
                  <a:lnTo>
                    <a:pt x="126" y="96"/>
                  </a:lnTo>
                  <a:lnTo>
                    <a:pt x="117" y="94"/>
                  </a:lnTo>
                  <a:lnTo>
                    <a:pt x="106" y="94"/>
                  </a:lnTo>
                  <a:lnTo>
                    <a:pt x="106" y="94"/>
                  </a:lnTo>
                  <a:lnTo>
                    <a:pt x="96" y="94"/>
                  </a:lnTo>
                  <a:lnTo>
                    <a:pt x="87" y="96"/>
                  </a:lnTo>
                  <a:lnTo>
                    <a:pt x="78" y="99"/>
                  </a:lnTo>
                  <a:lnTo>
                    <a:pt x="69" y="103"/>
                  </a:lnTo>
                  <a:lnTo>
                    <a:pt x="62" y="108"/>
                  </a:lnTo>
                  <a:lnTo>
                    <a:pt x="54" y="115"/>
                  </a:lnTo>
                  <a:lnTo>
                    <a:pt x="48" y="123"/>
                  </a:lnTo>
                  <a:lnTo>
                    <a:pt x="42" y="133"/>
                  </a:lnTo>
                  <a:lnTo>
                    <a:pt x="42" y="133"/>
                  </a:lnTo>
                  <a:lnTo>
                    <a:pt x="42" y="123"/>
                  </a:lnTo>
                  <a:lnTo>
                    <a:pt x="43" y="114"/>
                  </a:lnTo>
                  <a:lnTo>
                    <a:pt x="45" y="106"/>
                  </a:lnTo>
                  <a:lnTo>
                    <a:pt x="47" y="97"/>
                  </a:lnTo>
                  <a:lnTo>
                    <a:pt x="50" y="90"/>
                  </a:lnTo>
                  <a:lnTo>
                    <a:pt x="54" y="82"/>
                  </a:lnTo>
                  <a:lnTo>
                    <a:pt x="59" y="76"/>
                  </a:lnTo>
                  <a:lnTo>
                    <a:pt x="65" y="69"/>
                  </a:lnTo>
                  <a:lnTo>
                    <a:pt x="71" y="64"/>
                  </a:lnTo>
                  <a:lnTo>
                    <a:pt x="78" y="59"/>
                  </a:lnTo>
                  <a:lnTo>
                    <a:pt x="86" y="54"/>
                  </a:lnTo>
                  <a:lnTo>
                    <a:pt x="95" y="51"/>
                  </a:lnTo>
                  <a:lnTo>
                    <a:pt x="105" y="48"/>
                  </a:lnTo>
                  <a:lnTo>
                    <a:pt x="115" y="46"/>
                  </a:lnTo>
                  <a:lnTo>
                    <a:pt x="127" y="44"/>
                  </a:lnTo>
                  <a:lnTo>
                    <a:pt x="139" y="44"/>
                  </a:lnTo>
                  <a:lnTo>
                    <a:pt x="139" y="44"/>
                  </a:lnTo>
                  <a:lnTo>
                    <a:pt x="151" y="44"/>
                  </a:lnTo>
                  <a:lnTo>
                    <a:pt x="162" y="43"/>
                  </a:lnTo>
                  <a:lnTo>
                    <a:pt x="182" y="40"/>
                  </a:lnTo>
                  <a:lnTo>
                    <a:pt x="182" y="0"/>
                  </a:lnTo>
                  <a:close/>
                  <a:moveTo>
                    <a:pt x="153" y="211"/>
                  </a:moveTo>
                  <a:lnTo>
                    <a:pt x="153" y="211"/>
                  </a:lnTo>
                  <a:lnTo>
                    <a:pt x="152" y="226"/>
                  </a:lnTo>
                  <a:lnTo>
                    <a:pt x="149" y="241"/>
                  </a:lnTo>
                  <a:lnTo>
                    <a:pt x="145" y="254"/>
                  </a:lnTo>
                  <a:lnTo>
                    <a:pt x="138" y="265"/>
                  </a:lnTo>
                  <a:lnTo>
                    <a:pt x="135" y="270"/>
                  </a:lnTo>
                  <a:lnTo>
                    <a:pt x="131" y="274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16" y="283"/>
                  </a:lnTo>
                  <a:lnTo>
                    <a:pt x="111" y="285"/>
                  </a:lnTo>
                  <a:lnTo>
                    <a:pt x="105" y="286"/>
                  </a:lnTo>
                  <a:lnTo>
                    <a:pt x="99" y="287"/>
                  </a:lnTo>
                  <a:lnTo>
                    <a:pt x="99" y="287"/>
                  </a:lnTo>
                  <a:lnTo>
                    <a:pt x="93" y="287"/>
                  </a:lnTo>
                  <a:lnTo>
                    <a:pt x="87" y="286"/>
                  </a:lnTo>
                  <a:lnTo>
                    <a:pt x="82" y="284"/>
                  </a:lnTo>
                  <a:lnTo>
                    <a:pt x="77" y="282"/>
                  </a:lnTo>
                  <a:lnTo>
                    <a:pt x="72" y="279"/>
                  </a:lnTo>
                  <a:lnTo>
                    <a:pt x="67" y="276"/>
                  </a:lnTo>
                  <a:lnTo>
                    <a:pt x="63" y="272"/>
                  </a:lnTo>
                  <a:lnTo>
                    <a:pt x="59" y="267"/>
                  </a:lnTo>
                  <a:lnTo>
                    <a:pt x="56" y="262"/>
                  </a:lnTo>
                  <a:lnTo>
                    <a:pt x="53" y="256"/>
                  </a:lnTo>
                  <a:lnTo>
                    <a:pt x="50" y="250"/>
                  </a:lnTo>
                  <a:lnTo>
                    <a:pt x="48" y="243"/>
                  </a:lnTo>
                  <a:lnTo>
                    <a:pt x="45" y="227"/>
                  </a:lnTo>
                  <a:lnTo>
                    <a:pt x="44" y="209"/>
                  </a:lnTo>
                  <a:lnTo>
                    <a:pt x="44" y="209"/>
                  </a:lnTo>
                  <a:lnTo>
                    <a:pt x="45" y="193"/>
                  </a:lnTo>
                  <a:lnTo>
                    <a:pt x="48" y="179"/>
                  </a:lnTo>
                  <a:lnTo>
                    <a:pt x="52" y="166"/>
                  </a:lnTo>
                  <a:lnTo>
                    <a:pt x="55" y="161"/>
                  </a:lnTo>
                  <a:lnTo>
                    <a:pt x="58" y="155"/>
                  </a:lnTo>
                  <a:lnTo>
                    <a:pt x="62" y="151"/>
                  </a:lnTo>
                  <a:lnTo>
                    <a:pt x="66" y="147"/>
                  </a:lnTo>
                  <a:lnTo>
                    <a:pt x="71" y="143"/>
                  </a:lnTo>
                  <a:lnTo>
                    <a:pt x="76" y="140"/>
                  </a:lnTo>
                  <a:lnTo>
                    <a:pt x="82" y="138"/>
                  </a:lnTo>
                  <a:lnTo>
                    <a:pt x="88" y="136"/>
                  </a:lnTo>
                  <a:lnTo>
                    <a:pt x="94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7" y="135"/>
                  </a:lnTo>
                  <a:lnTo>
                    <a:pt x="113" y="136"/>
                  </a:lnTo>
                  <a:lnTo>
                    <a:pt x="118" y="138"/>
                  </a:lnTo>
                  <a:lnTo>
                    <a:pt x="123" y="140"/>
                  </a:lnTo>
                  <a:lnTo>
                    <a:pt x="128" y="143"/>
                  </a:lnTo>
                  <a:lnTo>
                    <a:pt x="132" y="147"/>
                  </a:lnTo>
                  <a:lnTo>
                    <a:pt x="136" y="151"/>
                  </a:lnTo>
                  <a:lnTo>
                    <a:pt x="139" y="156"/>
                  </a:lnTo>
                  <a:lnTo>
                    <a:pt x="145" y="167"/>
                  </a:lnTo>
                  <a:lnTo>
                    <a:pt x="150" y="180"/>
                  </a:lnTo>
                  <a:lnTo>
                    <a:pt x="152" y="194"/>
                  </a:lnTo>
                  <a:lnTo>
                    <a:pt x="153" y="211"/>
                  </a:lnTo>
                  <a:lnTo>
                    <a:pt x="153" y="2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3" name="Freeform 212"/>
            <p:cNvSpPr>
              <a:spLocks/>
            </p:cNvSpPr>
            <p:nvPr userDrawn="1"/>
          </p:nvSpPr>
          <p:spPr bwMode="auto">
            <a:xfrm>
              <a:off x="2489200" y="6365876"/>
              <a:ext cx="74613" cy="90488"/>
            </a:xfrm>
            <a:custGeom>
              <a:avLst/>
              <a:gdLst>
                <a:gd name="T0" fmla="*/ 0 w 188"/>
                <a:gd name="T1" fmla="*/ 0 h 230"/>
                <a:gd name="T2" fmla="*/ 0 w 188"/>
                <a:gd name="T3" fmla="*/ 230 h 230"/>
                <a:gd name="T4" fmla="*/ 45 w 188"/>
                <a:gd name="T5" fmla="*/ 230 h 230"/>
                <a:gd name="T6" fmla="*/ 126 w 188"/>
                <a:gd name="T7" fmla="*/ 101 h 230"/>
                <a:gd name="T8" fmla="*/ 126 w 188"/>
                <a:gd name="T9" fmla="*/ 101 h 230"/>
                <a:gd name="T10" fmla="*/ 143 w 188"/>
                <a:gd name="T11" fmla="*/ 72 h 230"/>
                <a:gd name="T12" fmla="*/ 143 w 188"/>
                <a:gd name="T13" fmla="*/ 72 h 230"/>
                <a:gd name="T14" fmla="*/ 143 w 188"/>
                <a:gd name="T15" fmla="*/ 120 h 230"/>
                <a:gd name="T16" fmla="*/ 143 w 188"/>
                <a:gd name="T17" fmla="*/ 230 h 230"/>
                <a:gd name="T18" fmla="*/ 188 w 188"/>
                <a:gd name="T19" fmla="*/ 230 h 230"/>
                <a:gd name="T20" fmla="*/ 188 w 188"/>
                <a:gd name="T21" fmla="*/ 0 h 230"/>
                <a:gd name="T22" fmla="*/ 143 w 188"/>
                <a:gd name="T23" fmla="*/ 0 h 230"/>
                <a:gd name="T24" fmla="*/ 62 w 188"/>
                <a:gd name="T25" fmla="*/ 127 h 230"/>
                <a:gd name="T26" fmla="*/ 62 w 188"/>
                <a:gd name="T27" fmla="*/ 127 h 230"/>
                <a:gd name="T28" fmla="*/ 52 w 188"/>
                <a:gd name="T29" fmla="*/ 143 h 230"/>
                <a:gd name="T30" fmla="*/ 45 w 188"/>
                <a:gd name="T31" fmla="*/ 158 h 230"/>
                <a:gd name="T32" fmla="*/ 45 w 188"/>
                <a:gd name="T33" fmla="*/ 158 h 230"/>
                <a:gd name="T34" fmla="*/ 45 w 188"/>
                <a:gd name="T35" fmla="*/ 108 h 230"/>
                <a:gd name="T36" fmla="*/ 45 w 188"/>
                <a:gd name="T37" fmla="*/ 0 h 230"/>
                <a:gd name="T38" fmla="*/ 0 w 188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8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3" y="120"/>
                  </a:lnTo>
                  <a:lnTo>
                    <a:pt x="143" y="230"/>
                  </a:lnTo>
                  <a:lnTo>
                    <a:pt x="188" y="230"/>
                  </a:lnTo>
                  <a:lnTo>
                    <a:pt x="188" y="0"/>
                  </a:lnTo>
                  <a:lnTo>
                    <a:pt x="143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5" y="158"/>
                  </a:lnTo>
                  <a:lnTo>
                    <a:pt x="45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4" name="Freeform 213"/>
            <p:cNvSpPr>
              <a:spLocks/>
            </p:cNvSpPr>
            <p:nvPr userDrawn="1"/>
          </p:nvSpPr>
          <p:spPr bwMode="auto">
            <a:xfrm>
              <a:off x="2578100" y="6362701"/>
              <a:ext cx="69850" cy="95250"/>
            </a:xfrm>
            <a:custGeom>
              <a:avLst/>
              <a:gdLst>
                <a:gd name="T0" fmla="*/ 93 w 177"/>
                <a:gd name="T1" fmla="*/ 131 h 239"/>
                <a:gd name="T2" fmla="*/ 117 w 177"/>
                <a:gd name="T3" fmla="*/ 137 h 239"/>
                <a:gd name="T4" fmla="*/ 130 w 177"/>
                <a:gd name="T5" fmla="*/ 153 h 239"/>
                <a:gd name="T6" fmla="*/ 132 w 177"/>
                <a:gd name="T7" fmla="*/ 166 h 239"/>
                <a:gd name="T8" fmla="*/ 126 w 177"/>
                <a:gd name="T9" fmla="*/ 185 h 239"/>
                <a:gd name="T10" fmla="*/ 106 w 177"/>
                <a:gd name="T11" fmla="*/ 198 h 239"/>
                <a:gd name="T12" fmla="*/ 85 w 177"/>
                <a:gd name="T13" fmla="*/ 201 h 239"/>
                <a:gd name="T14" fmla="*/ 61 w 177"/>
                <a:gd name="T15" fmla="*/ 197 h 239"/>
                <a:gd name="T16" fmla="*/ 36 w 177"/>
                <a:gd name="T17" fmla="*/ 187 h 239"/>
                <a:gd name="T18" fmla="*/ 0 w 177"/>
                <a:gd name="T19" fmla="*/ 210 h 239"/>
                <a:gd name="T20" fmla="*/ 18 w 177"/>
                <a:gd name="T21" fmla="*/ 222 h 239"/>
                <a:gd name="T22" fmla="*/ 50 w 177"/>
                <a:gd name="T23" fmla="*/ 235 h 239"/>
                <a:gd name="T24" fmla="*/ 83 w 177"/>
                <a:gd name="T25" fmla="*/ 239 h 239"/>
                <a:gd name="T26" fmla="*/ 106 w 177"/>
                <a:gd name="T27" fmla="*/ 238 h 239"/>
                <a:gd name="T28" fmla="*/ 134 w 177"/>
                <a:gd name="T29" fmla="*/ 231 h 239"/>
                <a:gd name="T30" fmla="*/ 154 w 177"/>
                <a:gd name="T31" fmla="*/ 218 h 239"/>
                <a:gd name="T32" fmla="*/ 168 w 177"/>
                <a:gd name="T33" fmla="*/ 202 h 239"/>
                <a:gd name="T34" fmla="*/ 176 w 177"/>
                <a:gd name="T35" fmla="*/ 182 h 239"/>
                <a:gd name="T36" fmla="*/ 177 w 177"/>
                <a:gd name="T37" fmla="*/ 168 h 239"/>
                <a:gd name="T38" fmla="*/ 168 w 177"/>
                <a:gd name="T39" fmla="*/ 137 h 239"/>
                <a:gd name="T40" fmla="*/ 149 w 177"/>
                <a:gd name="T41" fmla="*/ 118 h 239"/>
                <a:gd name="T42" fmla="*/ 133 w 177"/>
                <a:gd name="T43" fmla="*/ 112 h 239"/>
                <a:gd name="T44" fmla="*/ 154 w 177"/>
                <a:gd name="T45" fmla="*/ 99 h 239"/>
                <a:gd name="T46" fmla="*/ 167 w 177"/>
                <a:gd name="T47" fmla="*/ 80 h 239"/>
                <a:gd name="T48" fmla="*/ 170 w 177"/>
                <a:gd name="T49" fmla="*/ 64 h 239"/>
                <a:gd name="T50" fmla="*/ 167 w 177"/>
                <a:gd name="T51" fmla="*/ 45 h 239"/>
                <a:gd name="T52" fmla="*/ 159 w 177"/>
                <a:gd name="T53" fmla="*/ 28 h 239"/>
                <a:gd name="T54" fmla="*/ 144 w 177"/>
                <a:gd name="T55" fmla="*/ 15 h 239"/>
                <a:gd name="T56" fmla="*/ 123 w 177"/>
                <a:gd name="T57" fmla="*/ 5 h 239"/>
                <a:gd name="T58" fmla="*/ 96 w 177"/>
                <a:gd name="T59" fmla="*/ 0 h 239"/>
                <a:gd name="T60" fmla="*/ 74 w 177"/>
                <a:gd name="T61" fmla="*/ 0 h 239"/>
                <a:gd name="T62" fmla="*/ 43 w 177"/>
                <a:gd name="T63" fmla="*/ 7 h 239"/>
                <a:gd name="T64" fmla="*/ 15 w 177"/>
                <a:gd name="T65" fmla="*/ 20 h 239"/>
                <a:gd name="T66" fmla="*/ 27 w 177"/>
                <a:gd name="T67" fmla="*/ 60 h 239"/>
                <a:gd name="T68" fmla="*/ 56 w 177"/>
                <a:gd name="T69" fmla="*/ 44 h 239"/>
                <a:gd name="T70" fmla="*/ 79 w 177"/>
                <a:gd name="T71" fmla="*/ 39 h 239"/>
                <a:gd name="T72" fmla="*/ 97 w 177"/>
                <a:gd name="T73" fmla="*/ 39 h 239"/>
                <a:gd name="T74" fmla="*/ 117 w 177"/>
                <a:gd name="T75" fmla="*/ 47 h 239"/>
                <a:gd name="T76" fmla="*/ 125 w 177"/>
                <a:gd name="T77" fmla="*/ 62 h 239"/>
                <a:gd name="T78" fmla="*/ 125 w 177"/>
                <a:gd name="T79" fmla="*/ 72 h 239"/>
                <a:gd name="T80" fmla="*/ 118 w 177"/>
                <a:gd name="T81" fmla="*/ 86 h 239"/>
                <a:gd name="T82" fmla="*/ 99 w 177"/>
                <a:gd name="T83" fmla="*/ 94 h 239"/>
                <a:gd name="T84" fmla="*/ 61 w 177"/>
                <a:gd name="T85" fmla="*/ 13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7" h="239">
                  <a:moveTo>
                    <a:pt x="61" y="131"/>
                  </a:moveTo>
                  <a:lnTo>
                    <a:pt x="93" y="131"/>
                  </a:lnTo>
                  <a:lnTo>
                    <a:pt x="93" y="131"/>
                  </a:lnTo>
                  <a:lnTo>
                    <a:pt x="102" y="132"/>
                  </a:lnTo>
                  <a:lnTo>
                    <a:pt x="111" y="134"/>
                  </a:lnTo>
                  <a:lnTo>
                    <a:pt x="117" y="137"/>
                  </a:lnTo>
                  <a:lnTo>
                    <a:pt x="123" y="142"/>
                  </a:lnTo>
                  <a:lnTo>
                    <a:pt x="127" y="147"/>
                  </a:lnTo>
                  <a:lnTo>
                    <a:pt x="130" y="153"/>
                  </a:lnTo>
                  <a:lnTo>
                    <a:pt x="131" y="159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1" y="173"/>
                  </a:lnTo>
                  <a:lnTo>
                    <a:pt x="129" y="179"/>
                  </a:lnTo>
                  <a:lnTo>
                    <a:pt x="126" y="185"/>
                  </a:lnTo>
                  <a:lnTo>
                    <a:pt x="121" y="190"/>
                  </a:lnTo>
                  <a:lnTo>
                    <a:pt x="115" y="194"/>
                  </a:lnTo>
                  <a:lnTo>
                    <a:pt x="106" y="198"/>
                  </a:lnTo>
                  <a:lnTo>
                    <a:pt x="97" y="200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77" y="200"/>
                  </a:lnTo>
                  <a:lnTo>
                    <a:pt x="69" y="199"/>
                  </a:lnTo>
                  <a:lnTo>
                    <a:pt x="61" y="197"/>
                  </a:lnTo>
                  <a:lnTo>
                    <a:pt x="53" y="194"/>
                  </a:lnTo>
                  <a:lnTo>
                    <a:pt x="44" y="191"/>
                  </a:lnTo>
                  <a:lnTo>
                    <a:pt x="36" y="187"/>
                  </a:lnTo>
                  <a:lnTo>
                    <a:pt x="28" y="182"/>
                  </a:lnTo>
                  <a:lnTo>
                    <a:pt x="20" y="17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9" y="216"/>
                  </a:lnTo>
                  <a:lnTo>
                    <a:pt x="18" y="222"/>
                  </a:lnTo>
                  <a:lnTo>
                    <a:pt x="28" y="227"/>
                  </a:lnTo>
                  <a:lnTo>
                    <a:pt x="39" y="231"/>
                  </a:lnTo>
                  <a:lnTo>
                    <a:pt x="50" y="235"/>
                  </a:lnTo>
                  <a:lnTo>
                    <a:pt x="61" y="237"/>
                  </a:lnTo>
                  <a:lnTo>
                    <a:pt x="72" y="239"/>
                  </a:lnTo>
                  <a:lnTo>
                    <a:pt x="83" y="239"/>
                  </a:lnTo>
                  <a:lnTo>
                    <a:pt x="83" y="239"/>
                  </a:lnTo>
                  <a:lnTo>
                    <a:pt x="95" y="239"/>
                  </a:lnTo>
                  <a:lnTo>
                    <a:pt x="106" y="238"/>
                  </a:lnTo>
                  <a:lnTo>
                    <a:pt x="116" y="236"/>
                  </a:lnTo>
                  <a:lnTo>
                    <a:pt x="125" y="234"/>
                  </a:lnTo>
                  <a:lnTo>
                    <a:pt x="134" y="231"/>
                  </a:lnTo>
                  <a:lnTo>
                    <a:pt x="141" y="227"/>
                  </a:lnTo>
                  <a:lnTo>
                    <a:pt x="148" y="223"/>
                  </a:lnTo>
                  <a:lnTo>
                    <a:pt x="154" y="218"/>
                  </a:lnTo>
                  <a:lnTo>
                    <a:pt x="160" y="213"/>
                  </a:lnTo>
                  <a:lnTo>
                    <a:pt x="164" y="208"/>
                  </a:lnTo>
                  <a:lnTo>
                    <a:pt x="168" y="202"/>
                  </a:lnTo>
                  <a:lnTo>
                    <a:pt x="171" y="196"/>
                  </a:lnTo>
                  <a:lnTo>
                    <a:pt x="174" y="189"/>
                  </a:lnTo>
                  <a:lnTo>
                    <a:pt x="176" y="182"/>
                  </a:lnTo>
                  <a:lnTo>
                    <a:pt x="177" y="175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76" y="157"/>
                  </a:lnTo>
                  <a:lnTo>
                    <a:pt x="173" y="145"/>
                  </a:lnTo>
                  <a:lnTo>
                    <a:pt x="168" y="137"/>
                  </a:lnTo>
                  <a:lnTo>
                    <a:pt x="163" y="129"/>
                  </a:lnTo>
                  <a:lnTo>
                    <a:pt x="156" y="123"/>
                  </a:lnTo>
                  <a:lnTo>
                    <a:pt x="149" y="118"/>
                  </a:lnTo>
                  <a:lnTo>
                    <a:pt x="141" y="114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41" y="108"/>
                  </a:lnTo>
                  <a:lnTo>
                    <a:pt x="148" y="104"/>
                  </a:lnTo>
                  <a:lnTo>
                    <a:pt x="154" y="99"/>
                  </a:lnTo>
                  <a:lnTo>
                    <a:pt x="159" y="94"/>
                  </a:lnTo>
                  <a:lnTo>
                    <a:pt x="164" y="88"/>
                  </a:lnTo>
                  <a:lnTo>
                    <a:pt x="167" y="80"/>
                  </a:lnTo>
                  <a:lnTo>
                    <a:pt x="169" y="73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70" y="57"/>
                  </a:lnTo>
                  <a:lnTo>
                    <a:pt x="169" y="51"/>
                  </a:lnTo>
                  <a:lnTo>
                    <a:pt x="167" y="45"/>
                  </a:lnTo>
                  <a:lnTo>
                    <a:pt x="165" y="39"/>
                  </a:lnTo>
                  <a:lnTo>
                    <a:pt x="162" y="34"/>
                  </a:lnTo>
                  <a:lnTo>
                    <a:pt x="159" y="28"/>
                  </a:lnTo>
                  <a:lnTo>
                    <a:pt x="155" y="23"/>
                  </a:lnTo>
                  <a:lnTo>
                    <a:pt x="150" y="19"/>
                  </a:lnTo>
                  <a:lnTo>
                    <a:pt x="144" y="15"/>
                  </a:lnTo>
                  <a:lnTo>
                    <a:pt x="138" y="11"/>
                  </a:lnTo>
                  <a:lnTo>
                    <a:pt x="131" y="8"/>
                  </a:lnTo>
                  <a:lnTo>
                    <a:pt x="123" y="5"/>
                  </a:lnTo>
                  <a:lnTo>
                    <a:pt x="115" y="3"/>
                  </a:lnTo>
                  <a:lnTo>
                    <a:pt x="106" y="1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4" y="2"/>
                  </a:lnTo>
                  <a:lnTo>
                    <a:pt x="53" y="4"/>
                  </a:lnTo>
                  <a:lnTo>
                    <a:pt x="43" y="7"/>
                  </a:lnTo>
                  <a:lnTo>
                    <a:pt x="33" y="11"/>
                  </a:lnTo>
                  <a:lnTo>
                    <a:pt x="24" y="15"/>
                  </a:lnTo>
                  <a:lnTo>
                    <a:pt x="15" y="20"/>
                  </a:lnTo>
                  <a:lnTo>
                    <a:pt x="7" y="25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41" y="50"/>
                  </a:lnTo>
                  <a:lnTo>
                    <a:pt x="49" y="47"/>
                  </a:lnTo>
                  <a:lnTo>
                    <a:pt x="56" y="44"/>
                  </a:lnTo>
                  <a:lnTo>
                    <a:pt x="63" y="42"/>
                  </a:lnTo>
                  <a:lnTo>
                    <a:pt x="71" y="40"/>
                  </a:lnTo>
                  <a:lnTo>
                    <a:pt x="79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5" y="41"/>
                  </a:lnTo>
                  <a:lnTo>
                    <a:pt x="111" y="44"/>
                  </a:lnTo>
                  <a:lnTo>
                    <a:pt x="117" y="47"/>
                  </a:lnTo>
                  <a:lnTo>
                    <a:pt x="121" y="52"/>
                  </a:lnTo>
                  <a:lnTo>
                    <a:pt x="124" y="56"/>
                  </a:lnTo>
                  <a:lnTo>
                    <a:pt x="125" y="62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5" y="72"/>
                  </a:lnTo>
                  <a:lnTo>
                    <a:pt x="124" y="77"/>
                  </a:lnTo>
                  <a:lnTo>
                    <a:pt x="121" y="82"/>
                  </a:lnTo>
                  <a:lnTo>
                    <a:pt x="118" y="86"/>
                  </a:lnTo>
                  <a:lnTo>
                    <a:pt x="113" y="89"/>
                  </a:lnTo>
                  <a:lnTo>
                    <a:pt x="107" y="92"/>
                  </a:lnTo>
                  <a:lnTo>
                    <a:pt x="99" y="94"/>
                  </a:lnTo>
                  <a:lnTo>
                    <a:pt x="91" y="94"/>
                  </a:lnTo>
                  <a:lnTo>
                    <a:pt x="61" y="94"/>
                  </a:lnTo>
                  <a:lnTo>
                    <a:pt x="61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5" name="Freeform 214"/>
            <p:cNvSpPr>
              <a:spLocks/>
            </p:cNvSpPr>
            <p:nvPr userDrawn="1"/>
          </p:nvSpPr>
          <p:spPr bwMode="auto">
            <a:xfrm>
              <a:off x="2665413" y="6365876"/>
              <a:ext cx="73025" cy="90488"/>
            </a:xfrm>
            <a:custGeom>
              <a:avLst/>
              <a:gdLst>
                <a:gd name="T0" fmla="*/ 139 w 185"/>
                <a:gd name="T1" fmla="*/ 0 h 230"/>
                <a:gd name="T2" fmla="*/ 139 w 185"/>
                <a:gd name="T3" fmla="*/ 87 h 230"/>
                <a:gd name="T4" fmla="*/ 45 w 185"/>
                <a:gd name="T5" fmla="*/ 87 h 230"/>
                <a:gd name="T6" fmla="*/ 45 w 185"/>
                <a:gd name="T7" fmla="*/ 0 h 230"/>
                <a:gd name="T8" fmla="*/ 0 w 185"/>
                <a:gd name="T9" fmla="*/ 0 h 230"/>
                <a:gd name="T10" fmla="*/ 0 w 185"/>
                <a:gd name="T11" fmla="*/ 230 h 230"/>
                <a:gd name="T12" fmla="*/ 45 w 185"/>
                <a:gd name="T13" fmla="*/ 230 h 230"/>
                <a:gd name="T14" fmla="*/ 45 w 185"/>
                <a:gd name="T15" fmla="*/ 126 h 230"/>
                <a:gd name="T16" fmla="*/ 139 w 185"/>
                <a:gd name="T17" fmla="*/ 126 h 230"/>
                <a:gd name="T18" fmla="*/ 139 w 185"/>
                <a:gd name="T19" fmla="*/ 230 h 230"/>
                <a:gd name="T20" fmla="*/ 185 w 185"/>
                <a:gd name="T21" fmla="*/ 230 h 230"/>
                <a:gd name="T22" fmla="*/ 185 w 185"/>
                <a:gd name="T23" fmla="*/ 0 h 230"/>
                <a:gd name="T24" fmla="*/ 139 w 185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30">
                  <a:moveTo>
                    <a:pt x="139" y="0"/>
                  </a:moveTo>
                  <a:lnTo>
                    <a:pt x="139" y="87"/>
                  </a:lnTo>
                  <a:lnTo>
                    <a:pt x="45" y="87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5" y="230"/>
                  </a:lnTo>
                  <a:lnTo>
                    <a:pt x="45" y="126"/>
                  </a:lnTo>
                  <a:lnTo>
                    <a:pt x="139" y="126"/>
                  </a:lnTo>
                  <a:lnTo>
                    <a:pt x="139" y="230"/>
                  </a:lnTo>
                  <a:lnTo>
                    <a:pt x="185" y="230"/>
                  </a:lnTo>
                  <a:lnTo>
                    <a:pt x="185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6" name="Freeform 215"/>
            <p:cNvSpPr>
              <a:spLocks noEditPoints="1"/>
            </p:cNvSpPr>
            <p:nvPr userDrawn="1"/>
          </p:nvSpPr>
          <p:spPr bwMode="auto">
            <a:xfrm>
              <a:off x="2757488" y="6362701"/>
              <a:ext cx="77788" cy="95250"/>
            </a:xfrm>
            <a:custGeom>
              <a:avLst/>
              <a:gdLst>
                <a:gd name="T0" fmla="*/ 197 w 197"/>
                <a:gd name="T1" fmla="*/ 114 h 239"/>
                <a:gd name="T2" fmla="*/ 195 w 197"/>
                <a:gd name="T3" fmla="*/ 92 h 239"/>
                <a:gd name="T4" fmla="*/ 191 w 197"/>
                <a:gd name="T5" fmla="*/ 70 h 239"/>
                <a:gd name="T6" fmla="*/ 183 w 197"/>
                <a:gd name="T7" fmla="*/ 51 h 239"/>
                <a:gd name="T8" fmla="*/ 173 w 197"/>
                <a:gd name="T9" fmla="*/ 34 h 239"/>
                <a:gd name="T10" fmla="*/ 159 w 197"/>
                <a:gd name="T11" fmla="*/ 20 h 239"/>
                <a:gd name="T12" fmla="*/ 143 w 197"/>
                <a:gd name="T13" fmla="*/ 9 h 239"/>
                <a:gd name="T14" fmla="*/ 123 w 197"/>
                <a:gd name="T15" fmla="*/ 2 h 239"/>
                <a:gd name="T16" fmla="*/ 100 w 197"/>
                <a:gd name="T17" fmla="*/ 0 h 239"/>
                <a:gd name="T18" fmla="*/ 89 w 197"/>
                <a:gd name="T19" fmla="*/ 0 h 239"/>
                <a:gd name="T20" fmla="*/ 69 w 197"/>
                <a:gd name="T21" fmla="*/ 4 h 239"/>
                <a:gd name="T22" fmla="*/ 51 w 197"/>
                <a:gd name="T23" fmla="*/ 12 h 239"/>
                <a:gd name="T24" fmla="*/ 35 w 197"/>
                <a:gd name="T25" fmla="*/ 23 h 239"/>
                <a:gd name="T26" fmla="*/ 22 w 197"/>
                <a:gd name="T27" fmla="*/ 38 h 239"/>
                <a:gd name="T28" fmla="*/ 11 w 197"/>
                <a:gd name="T29" fmla="*/ 57 h 239"/>
                <a:gd name="T30" fmla="*/ 4 w 197"/>
                <a:gd name="T31" fmla="*/ 79 h 239"/>
                <a:gd name="T32" fmla="*/ 1 w 197"/>
                <a:gd name="T33" fmla="*/ 105 h 239"/>
                <a:gd name="T34" fmla="*/ 0 w 197"/>
                <a:gd name="T35" fmla="*/ 119 h 239"/>
                <a:gd name="T36" fmla="*/ 2 w 197"/>
                <a:gd name="T37" fmla="*/ 147 h 239"/>
                <a:gd name="T38" fmla="*/ 9 w 197"/>
                <a:gd name="T39" fmla="*/ 173 h 239"/>
                <a:gd name="T40" fmla="*/ 19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9 h 239"/>
                <a:gd name="T52" fmla="*/ 99 w 197"/>
                <a:gd name="T53" fmla="*/ 239 h 239"/>
                <a:gd name="T54" fmla="*/ 124 w 197"/>
                <a:gd name="T55" fmla="*/ 237 h 239"/>
                <a:gd name="T56" fmla="*/ 145 w 197"/>
                <a:gd name="T57" fmla="*/ 231 h 239"/>
                <a:gd name="T58" fmla="*/ 154 w 197"/>
                <a:gd name="T59" fmla="*/ 227 h 239"/>
                <a:gd name="T60" fmla="*/ 170 w 197"/>
                <a:gd name="T61" fmla="*/ 217 h 239"/>
                <a:gd name="T62" fmla="*/ 151 w 197"/>
                <a:gd name="T63" fmla="*/ 180 h 239"/>
                <a:gd name="T64" fmla="*/ 139 w 197"/>
                <a:gd name="T65" fmla="*/ 188 h 239"/>
                <a:gd name="T66" fmla="*/ 128 w 197"/>
                <a:gd name="T67" fmla="*/ 194 h 239"/>
                <a:gd name="T68" fmla="*/ 116 w 197"/>
                <a:gd name="T69" fmla="*/ 197 h 239"/>
                <a:gd name="T70" fmla="*/ 102 w 197"/>
                <a:gd name="T71" fmla="*/ 199 h 239"/>
                <a:gd name="T72" fmla="*/ 91 w 197"/>
                <a:gd name="T73" fmla="*/ 198 h 239"/>
                <a:gd name="T74" fmla="*/ 73 w 197"/>
                <a:gd name="T75" fmla="*/ 191 h 239"/>
                <a:gd name="T76" fmla="*/ 57 w 197"/>
                <a:gd name="T77" fmla="*/ 175 h 239"/>
                <a:gd name="T78" fmla="*/ 47 w 197"/>
                <a:gd name="T79" fmla="*/ 151 h 239"/>
                <a:gd name="T80" fmla="*/ 195 w 197"/>
                <a:gd name="T81" fmla="*/ 135 h 239"/>
                <a:gd name="T82" fmla="*/ 196 w 197"/>
                <a:gd name="T83" fmla="*/ 126 h 239"/>
                <a:gd name="T84" fmla="*/ 197 w 197"/>
                <a:gd name="T85" fmla="*/ 114 h 239"/>
                <a:gd name="T86" fmla="*/ 45 w 197"/>
                <a:gd name="T87" fmla="*/ 98 h 239"/>
                <a:gd name="T88" fmla="*/ 50 w 197"/>
                <a:gd name="T89" fmla="*/ 73 h 239"/>
                <a:gd name="T90" fmla="*/ 61 w 197"/>
                <a:gd name="T91" fmla="*/ 55 h 239"/>
                <a:gd name="T92" fmla="*/ 77 w 197"/>
                <a:gd name="T93" fmla="*/ 44 h 239"/>
                <a:gd name="T94" fmla="*/ 97 w 197"/>
                <a:gd name="T95" fmla="*/ 40 h 239"/>
                <a:gd name="T96" fmla="*/ 104 w 197"/>
                <a:gd name="T97" fmla="*/ 41 h 239"/>
                <a:gd name="T98" fmla="*/ 116 w 197"/>
                <a:gd name="T99" fmla="*/ 43 h 239"/>
                <a:gd name="T100" fmla="*/ 126 w 197"/>
                <a:gd name="T101" fmla="*/ 47 h 239"/>
                <a:gd name="T102" fmla="*/ 137 w 197"/>
                <a:gd name="T103" fmla="*/ 57 h 239"/>
                <a:gd name="T104" fmla="*/ 147 w 197"/>
                <a:gd name="T105" fmla="*/ 76 h 239"/>
                <a:gd name="T106" fmla="*/ 151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4"/>
                  </a:moveTo>
                  <a:lnTo>
                    <a:pt x="197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2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1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3" y="184"/>
                  </a:lnTo>
                  <a:lnTo>
                    <a:pt x="19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91" y="198"/>
                  </a:lnTo>
                  <a:lnTo>
                    <a:pt x="82" y="195"/>
                  </a:lnTo>
                  <a:lnTo>
                    <a:pt x="73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7" y="114"/>
                  </a:lnTo>
                  <a:lnTo>
                    <a:pt x="197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7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7" name="Freeform 216"/>
            <p:cNvSpPr>
              <a:spLocks/>
            </p:cNvSpPr>
            <p:nvPr userDrawn="1"/>
          </p:nvSpPr>
          <p:spPr bwMode="auto">
            <a:xfrm>
              <a:off x="2849563" y="6362701"/>
              <a:ext cx="73025" cy="95250"/>
            </a:xfrm>
            <a:custGeom>
              <a:avLst/>
              <a:gdLst>
                <a:gd name="T0" fmla="*/ 182 w 182"/>
                <a:gd name="T1" fmla="*/ 39 h 239"/>
                <a:gd name="T2" fmla="*/ 165 w 182"/>
                <a:gd name="T3" fmla="*/ 22 h 239"/>
                <a:gd name="T4" fmla="*/ 146 w 182"/>
                <a:gd name="T5" fmla="*/ 10 h 239"/>
                <a:gd name="T6" fmla="*/ 124 w 182"/>
                <a:gd name="T7" fmla="*/ 2 h 239"/>
                <a:gd name="T8" fmla="*/ 101 w 182"/>
                <a:gd name="T9" fmla="*/ 0 h 239"/>
                <a:gd name="T10" fmla="*/ 90 w 182"/>
                <a:gd name="T11" fmla="*/ 0 h 239"/>
                <a:gd name="T12" fmla="*/ 71 w 182"/>
                <a:gd name="T13" fmla="*/ 4 h 239"/>
                <a:gd name="T14" fmla="*/ 53 w 182"/>
                <a:gd name="T15" fmla="*/ 12 h 239"/>
                <a:gd name="T16" fmla="*/ 37 w 182"/>
                <a:gd name="T17" fmla="*/ 24 h 239"/>
                <a:gd name="T18" fmla="*/ 23 w 182"/>
                <a:gd name="T19" fmla="*/ 39 h 239"/>
                <a:gd name="T20" fmla="*/ 12 w 182"/>
                <a:gd name="T21" fmla="*/ 58 h 239"/>
                <a:gd name="T22" fmla="*/ 5 w 182"/>
                <a:gd name="T23" fmla="*/ 80 h 239"/>
                <a:gd name="T24" fmla="*/ 1 w 182"/>
                <a:gd name="T25" fmla="*/ 106 h 239"/>
                <a:gd name="T26" fmla="*/ 0 w 182"/>
                <a:gd name="T27" fmla="*/ 120 h 239"/>
                <a:gd name="T28" fmla="*/ 2 w 182"/>
                <a:gd name="T29" fmla="*/ 145 h 239"/>
                <a:gd name="T30" fmla="*/ 8 w 182"/>
                <a:gd name="T31" fmla="*/ 169 h 239"/>
                <a:gd name="T32" fmla="*/ 17 w 182"/>
                <a:gd name="T33" fmla="*/ 190 h 239"/>
                <a:gd name="T34" fmla="*/ 29 w 182"/>
                <a:gd name="T35" fmla="*/ 207 h 239"/>
                <a:gd name="T36" fmla="*/ 43 w 182"/>
                <a:gd name="T37" fmla="*/ 221 h 239"/>
                <a:gd name="T38" fmla="*/ 60 w 182"/>
                <a:gd name="T39" fmla="*/ 231 h 239"/>
                <a:gd name="T40" fmla="*/ 79 w 182"/>
                <a:gd name="T41" fmla="*/ 237 h 239"/>
                <a:gd name="T42" fmla="*/ 99 w 182"/>
                <a:gd name="T43" fmla="*/ 239 h 239"/>
                <a:gd name="T44" fmla="*/ 114 w 182"/>
                <a:gd name="T45" fmla="*/ 238 h 239"/>
                <a:gd name="T46" fmla="*/ 139 w 182"/>
                <a:gd name="T47" fmla="*/ 232 h 239"/>
                <a:gd name="T48" fmla="*/ 158 w 182"/>
                <a:gd name="T49" fmla="*/ 220 h 239"/>
                <a:gd name="T50" fmla="*/ 174 w 182"/>
                <a:gd name="T51" fmla="*/ 205 h 239"/>
                <a:gd name="T52" fmla="*/ 152 w 182"/>
                <a:gd name="T53" fmla="*/ 168 h 239"/>
                <a:gd name="T54" fmla="*/ 140 w 182"/>
                <a:gd name="T55" fmla="*/ 181 h 239"/>
                <a:gd name="T56" fmla="*/ 128 w 182"/>
                <a:gd name="T57" fmla="*/ 189 h 239"/>
                <a:gd name="T58" fmla="*/ 115 w 182"/>
                <a:gd name="T59" fmla="*/ 195 h 239"/>
                <a:gd name="T60" fmla="*/ 101 w 182"/>
                <a:gd name="T61" fmla="*/ 197 h 239"/>
                <a:gd name="T62" fmla="*/ 94 w 182"/>
                <a:gd name="T63" fmla="*/ 196 h 239"/>
                <a:gd name="T64" fmla="*/ 82 w 182"/>
                <a:gd name="T65" fmla="*/ 193 h 239"/>
                <a:gd name="T66" fmla="*/ 72 w 182"/>
                <a:gd name="T67" fmla="*/ 188 h 239"/>
                <a:gd name="T68" fmla="*/ 63 w 182"/>
                <a:gd name="T69" fmla="*/ 180 h 239"/>
                <a:gd name="T70" fmla="*/ 56 w 182"/>
                <a:gd name="T71" fmla="*/ 169 h 239"/>
                <a:gd name="T72" fmla="*/ 49 w 182"/>
                <a:gd name="T73" fmla="*/ 150 h 239"/>
                <a:gd name="T74" fmla="*/ 46 w 182"/>
                <a:gd name="T75" fmla="*/ 118 h 239"/>
                <a:gd name="T76" fmla="*/ 47 w 182"/>
                <a:gd name="T77" fmla="*/ 102 h 239"/>
                <a:gd name="T78" fmla="*/ 54 w 182"/>
                <a:gd name="T79" fmla="*/ 74 h 239"/>
                <a:gd name="T80" fmla="*/ 60 w 182"/>
                <a:gd name="T81" fmla="*/ 63 h 239"/>
                <a:gd name="T82" fmla="*/ 68 w 182"/>
                <a:gd name="T83" fmla="*/ 54 h 239"/>
                <a:gd name="T84" fmla="*/ 77 w 182"/>
                <a:gd name="T85" fmla="*/ 48 h 239"/>
                <a:gd name="T86" fmla="*/ 88 w 182"/>
                <a:gd name="T87" fmla="*/ 44 h 239"/>
                <a:gd name="T88" fmla="*/ 99 w 182"/>
                <a:gd name="T89" fmla="*/ 43 h 239"/>
                <a:gd name="T90" fmla="*/ 107 w 182"/>
                <a:gd name="T91" fmla="*/ 43 h 239"/>
                <a:gd name="T92" fmla="*/ 121 w 182"/>
                <a:gd name="T93" fmla="*/ 46 h 239"/>
                <a:gd name="T94" fmla="*/ 135 w 182"/>
                <a:gd name="T95" fmla="*/ 53 h 239"/>
                <a:gd name="T96" fmla="*/ 148 w 182"/>
                <a:gd name="T97" fmla="*/ 64 h 239"/>
                <a:gd name="T98" fmla="*/ 182 w 182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2" h="239">
                  <a:moveTo>
                    <a:pt x="182" y="39"/>
                  </a:moveTo>
                  <a:lnTo>
                    <a:pt x="182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5"/>
                  </a:lnTo>
                  <a:lnTo>
                    <a:pt x="146" y="10"/>
                  </a:lnTo>
                  <a:lnTo>
                    <a:pt x="135" y="5"/>
                  </a:lnTo>
                  <a:lnTo>
                    <a:pt x="124" y="2"/>
                  </a:lnTo>
                  <a:lnTo>
                    <a:pt x="113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0"/>
                  </a:lnTo>
                  <a:lnTo>
                    <a:pt x="80" y="2"/>
                  </a:lnTo>
                  <a:lnTo>
                    <a:pt x="71" y="4"/>
                  </a:lnTo>
                  <a:lnTo>
                    <a:pt x="61" y="8"/>
                  </a:lnTo>
                  <a:lnTo>
                    <a:pt x="53" y="12"/>
                  </a:lnTo>
                  <a:lnTo>
                    <a:pt x="44" y="18"/>
                  </a:lnTo>
                  <a:lnTo>
                    <a:pt x="37" y="24"/>
                  </a:lnTo>
                  <a:lnTo>
                    <a:pt x="30" y="31"/>
                  </a:lnTo>
                  <a:lnTo>
                    <a:pt x="23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5" y="80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90"/>
                  </a:lnTo>
                  <a:lnTo>
                    <a:pt x="23" y="199"/>
                  </a:lnTo>
                  <a:lnTo>
                    <a:pt x="29" y="207"/>
                  </a:lnTo>
                  <a:lnTo>
                    <a:pt x="36" y="214"/>
                  </a:lnTo>
                  <a:lnTo>
                    <a:pt x="43" y="221"/>
                  </a:lnTo>
                  <a:lnTo>
                    <a:pt x="52" y="226"/>
                  </a:lnTo>
                  <a:lnTo>
                    <a:pt x="60" y="231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6"/>
                  </a:lnTo>
                  <a:lnTo>
                    <a:pt x="139" y="232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3"/>
                  </a:lnTo>
                  <a:lnTo>
                    <a:pt x="174" y="205"/>
                  </a:lnTo>
                  <a:lnTo>
                    <a:pt x="181" y="197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1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2" y="193"/>
                  </a:lnTo>
                  <a:lnTo>
                    <a:pt x="115" y="195"/>
                  </a:lnTo>
                  <a:lnTo>
                    <a:pt x="108" y="196"/>
                  </a:lnTo>
                  <a:lnTo>
                    <a:pt x="101" y="197"/>
                  </a:lnTo>
                  <a:lnTo>
                    <a:pt x="101" y="197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1"/>
                  </a:lnTo>
                  <a:lnTo>
                    <a:pt x="72" y="188"/>
                  </a:lnTo>
                  <a:lnTo>
                    <a:pt x="67" y="184"/>
                  </a:lnTo>
                  <a:lnTo>
                    <a:pt x="63" y="180"/>
                  </a:lnTo>
                  <a:lnTo>
                    <a:pt x="60" y="175"/>
                  </a:lnTo>
                  <a:lnTo>
                    <a:pt x="56" y="169"/>
                  </a:lnTo>
                  <a:lnTo>
                    <a:pt x="54" y="164"/>
                  </a:lnTo>
                  <a:lnTo>
                    <a:pt x="49" y="150"/>
                  </a:lnTo>
                  <a:lnTo>
                    <a:pt x="47" y="135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7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8"/>
                  </a:lnTo>
                  <a:lnTo>
                    <a:pt x="68" y="54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8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4"/>
                  </a:lnTo>
                  <a:lnTo>
                    <a:pt x="121" y="46"/>
                  </a:lnTo>
                  <a:lnTo>
                    <a:pt x="128" y="49"/>
                  </a:lnTo>
                  <a:lnTo>
                    <a:pt x="135" y="53"/>
                  </a:lnTo>
                  <a:lnTo>
                    <a:pt x="141" y="58"/>
                  </a:lnTo>
                  <a:lnTo>
                    <a:pt x="148" y="64"/>
                  </a:lnTo>
                  <a:lnTo>
                    <a:pt x="155" y="70"/>
                  </a:lnTo>
                  <a:lnTo>
                    <a:pt x="182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8" name="Freeform 217"/>
            <p:cNvSpPr>
              <a:spLocks noEditPoints="1"/>
            </p:cNvSpPr>
            <p:nvPr userDrawn="1"/>
          </p:nvSpPr>
          <p:spPr bwMode="auto">
            <a:xfrm>
              <a:off x="2936875" y="6362701"/>
              <a:ext cx="74613" cy="95250"/>
            </a:xfrm>
            <a:custGeom>
              <a:avLst/>
              <a:gdLst>
                <a:gd name="T0" fmla="*/ 186 w 186"/>
                <a:gd name="T1" fmla="*/ 77 h 239"/>
                <a:gd name="T2" fmla="*/ 185 w 186"/>
                <a:gd name="T3" fmla="*/ 67 h 239"/>
                <a:gd name="T4" fmla="*/ 182 w 186"/>
                <a:gd name="T5" fmla="*/ 50 h 239"/>
                <a:gd name="T6" fmla="*/ 176 w 186"/>
                <a:gd name="T7" fmla="*/ 36 h 239"/>
                <a:gd name="T8" fmla="*/ 167 w 186"/>
                <a:gd name="T9" fmla="*/ 24 h 239"/>
                <a:gd name="T10" fmla="*/ 156 w 186"/>
                <a:gd name="T11" fmla="*/ 14 h 239"/>
                <a:gd name="T12" fmla="*/ 142 w 186"/>
                <a:gd name="T13" fmla="*/ 7 h 239"/>
                <a:gd name="T14" fmla="*/ 127 w 186"/>
                <a:gd name="T15" fmla="*/ 2 h 239"/>
                <a:gd name="T16" fmla="*/ 109 w 186"/>
                <a:gd name="T17" fmla="*/ 0 h 239"/>
                <a:gd name="T18" fmla="*/ 100 w 186"/>
                <a:gd name="T19" fmla="*/ 0 h 239"/>
                <a:gd name="T20" fmla="*/ 77 w 186"/>
                <a:gd name="T21" fmla="*/ 1 h 239"/>
                <a:gd name="T22" fmla="*/ 57 w 186"/>
                <a:gd name="T23" fmla="*/ 5 h 239"/>
                <a:gd name="T24" fmla="*/ 38 w 186"/>
                <a:gd name="T25" fmla="*/ 11 h 239"/>
                <a:gd name="T26" fmla="*/ 21 w 186"/>
                <a:gd name="T27" fmla="*/ 20 h 239"/>
                <a:gd name="T28" fmla="*/ 39 w 186"/>
                <a:gd name="T29" fmla="*/ 54 h 239"/>
                <a:gd name="T30" fmla="*/ 67 w 186"/>
                <a:gd name="T31" fmla="*/ 43 h 239"/>
                <a:gd name="T32" fmla="*/ 99 w 186"/>
                <a:gd name="T33" fmla="*/ 40 h 239"/>
                <a:gd name="T34" fmla="*/ 108 w 186"/>
                <a:gd name="T35" fmla="*/ 41 h 239"/>
                <a:gd name="T36" fmla="*/ 125 w 186"/>
                <a:gd name="T37" fmla="*/ 46 h 239"/>
                <a:gd name="T38" fmla="*/ 135 w 186"/>
                <a:gd name="T39" fmla="*/ 56 h 239"/>
                <a:gd name="T40" fmla="*/ 141 w 186"/>
                <a:gd name="T41" fmla="*/ 70 h 239"/>
                <a:gd name="T42" fmla="*/ 142 w 186"/>
                <a:gd name="T43" fmla="*/ 96 h 239"/>
                <a:gd name="T44" fmla="*/ 133 w 186"/>
                <a:gd name="T45" fmla="*/ 92 h 239"/>
                <a:gd name="T46" fmla="*/ 107 w 186"/>
                <a:gd name="T47" fmla="*/ 88 h 239"/>
                <a:gd name="T48" fmla="*/ 91 w 186"/>
                <a:gd name="T49" fmla="*/ 87 h 239"/>
                <a:gd name="T50" fmla="*/ 63 w 186"/>
                <a:gd name="T51" fmla="*/ 89 h 239"/>
                <a:gd name="T52" fmla="*/ 47 w 186"/>
                <a:gd name="T53" fmla="*/ 94 h 239"/>
                <a:gd name="T54" fmla="*/ 32 w 186"/>
                <a:gd name="T55" fmla="*/ 101 h 239"/>
                <a:gd name="T56" fmla="*/ 20 w 186"/>
                <a:gd name="T57" fmla="*/ 110 h 239"/>
                <a:gd name="T58" fmla="*/ 10 w 186"/>
                <a:gd name="T59" fmla="*/ 121 h 239"/>
                <a:gd name="T60" fmla="*/ 4 w 186"/>
                <a:gd name="T61" fmla="*/ 135 h 239"/>
                <a:gd name="T62" fmla="*/ 0 w 186"/>
                <a:gd name="T63" fmla="*/ 153 h 239"/>
                <a:gd name="T64" fmla="*/ 0 w 186"/>
                <a:gd name="T65" fmla="*/ 162 h 239"/>
                <a:gd name="T66" fmla="*/ 2 w 186"/>
                <a:gd name="T67" fmla="*/ 182 h 239"/>
                <a:gd name="T68" fmla="*/ 7 w 186"/>
                <a:gd name="T69" fmla="*/ 198 h 239"/>
                <a:gd name="T70" fmla="*/ 15 w 186"/>
                <a:gd name="T71" fmla="*/ 211 h 239"/>
                <a:gd name="T72" fmla="*/ 25 w 186"/>
                <a:gd name="T73" fmla="*/ 222 h 239"/>
                <a:gd name="T74" fmla="*/ 38 w 186"/>
                <a:gd name="T75" fmla="*/ 230 h 239"/>
                <a:gd name="T76" fmla="*/ 51 w 186"/>
                <a:gd name="T77" fmla="*/ 235 h 239"/>
                <a:gd name="T78" fmla="*/ 79 w 186"/>
                <a:gd name="T79" fmla="*/ 239 h 239"/>
                <a:gd name="T80" fmla="*/ 90 w 186"/>
                <a:gd name="T81" fmla="*/ 239 h 239"/>
                <a:gd name="T82" fmla="*/ 108 w 186"/>
                <a:gd name="T83" fmla="*/ 234 h 239"/>
                <a:gd name="T84" fmla="*/ 115 w 186"/>
                <a:gd name="T85" fmla="*/ 231 h 239"/>
                <a:gd name="T86" fmla="*/ 134 w 186"/>
                <a:gd name="T87" fmla="*/ 219 h 239"/>
                <a:gd name="T88" fmla="*/ 142 w 186"/>
                <a:gd name="T89" fmla="*/ 235 h 239"/>
                <a:gd name="T90" fmla="*/ 142 w 186"/>
                <a:gd name="T91" fmla="*/ 170 h 239"/>
                <a:gd name="T92" fmla="*/ 137 w 186"/>
                <a:gd name="T93" fmla="*/ 175 h 239"/>
                <a:gd name="T94" fmla="*/ 126 w 186"/>
                <a:gd name="T95" fmla="*/ 185 h 239"/>
                <a:gd name="T96" fmla="*/ 112 w 186"/>
                <a:gd name="T97" fmla="*/ 193 h 239"/>
                <a:gd name="T98" fmla="*/ 95 w 186"/>
                <a:gd name="T99" fmla="*/ 198 h 239"/>
                <a:gd name="T100" fmla="*/ 86 w 186"/>
                <a:gd name="T101" fmla="*/ 199 h 239"/>
                <a:gd name="T102" fmla="*/ 68 w 186"/>
                <a:gd name="T103" fmla="*/ 196 h 239"/>
                <a:gd name="T104" fmla="*/ 55 w 186"/>
                <a:gd name="T105" fmla="*/ 190 h 239"/>
                <a:gd name="T106" fmla="*/ 50 w 186"/>
                <a:gd name="T107" fmla="*/ 185 h 239"/>
                <a:gd name="T108" fmla="*/ 43 w 186"/>
                <a:gd name="T109" fmla="*/ 170 h 239"/>
                <a:gd name="T110" fmla="*/ 42 w 186"/>
                <a:gd name="T111" fmla="*/ 161 h 239"/>
                <a:gd name="T112" fmla="*/ 46 w 186"/>
                <a:gd name="T113" fmla="*/ 146 h 239"/>
                <a:gd name="T114" fmla="*/ 55 w 186"/>
                <a:gd name="T115" fmla="*/ 135 h 239"/>
                <a:gd name="T116" fmla="*/ 70 w 186"/>
                <a:gd name="T117" fmla="*/ 128 h 239"/>
                <a:gd name="T118" fmla="*/ 89 w 186"/>
                <a:gd name="T119" fmla="*/ 126 h 239"/>
                <a:gd name="T120" fmla="*/ 106 w 186"/>
                <a:gd name="T121" fmla="*/ 126 h 239"/>
                <a:gd name="T122" fmla="*/ 120 w 186"/>
                <a:gd name="T123" fmla="*/ 128 h 239"/>
                <a:gd name="T124" fmla="*/ 142 w 186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239">
                  <a:moveTo>
                    <a:pt x="186" y="235"/>
                  </a:moveTo>
                  <a:lnTo>
                    <a:pt x="186" y="77"/>
                  </a:lnTo>
                  <a:lnTo>
                    <a:pt x="186" y="77"/>
                  </a:lnTo>
                  <a:lnTo>
                    <a:pt x="185" y="67"/>
                  </a:lnTo>
                  <a:lnTo>
                    <a:pt x="184" y="58"/>
                  </a:lnTo>
                  <a:lnTo>
                    <a:pt x="182" y="50"/>
                  </a:lnTo>
                  <a:lnTo>
                    <a:pt x="180" y="43"/>
                  </a:lnTo>
                  <a:lnTo>
                    <a:pt x="176" y="36"/>
                  </a:lnTo>
                  <a:lnTo>
                    <a:pt x="172" y="29"/>
                  </a:lnTo>
                  <a:lnTo>
                    <a:pt x="167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49" y="10"/>
                  </a:lnTo>
                  <a:lnTo>
                    <a:pt x="142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1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2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8" y="41"/>
                  </a:lnTo>
                  <a:lnTo>
                    <a:pt x="117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5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8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6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7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19" name="Freeform 218"/>
            <p:cNvSpPr>
              <a:spLocks/>
            </p:cNvSpPr>
            <p:nvPr userDrawn="1"/>
          </p:nvSpPr>
          <p:spPr bwMode="auto">
            <a:xfrm>
              <a:off x="3033713" y="6432551"/>
              <a:ext cx="25400" cy="44450"/>
            </a:xfrm>
            <a:custGeom>
              <a:avLst/>
              <a:gdLst>
                <a:gd name="T0" fmla="*/ 64 w 64"/>
                <a:gd name="T1" fmla="*/ 0 h 115"/>
                <a:gd name="T2" fmla="*/ 6 w 64"/>
                <a:gd name="T3" fmla="*/ 0 h 115"/>
                <a:gd name="T4" fmla="*/ 0 w 64"/>
                <a:gd name="T5" fmla="*/ 115 h 115"/>
                <a:gd name="T6" fmla="*/ 31 w 64"/>
                <a:gd name="T7" fmla="*/ 115 h 115"/>
                <a:gd name="T8" fmla="*/ 64 w 64"/>
                <a:gd name="T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15">
                  <a:moveTo>
                    <a:pt x="64" y="0"/>
                  </a:moveTo>
                  <a:lnTo>
                    <a:pt x="6" y="0"/>
                  </a:lnTo>
                  <a:lnTo>
                    <a:pt x="0" y="115"/>
                  </a:lnTo>
                  <a:lnTo>
                    <a:pt x="31" y="115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0" name="Freeform 219"/>
            <p:cNvSpPr>
              <a:spLocks/>
            </p:cNvSpPr>
            <p:nvPr userDrawn="1"/>
          </p:nvSpPr>
          <p:spPr bwMode="auto">
            <a:xfrm>
              <a:off x="3127375" y="6365876"/>
              <a:ext cx="90488" cy="92075"/>
            </a:xfrm>
            <a:custGeom>
              <a:avLst/>
              <a:gdLst>
                <a:gd name="T0" fmla="*/ 226 w 226"/>
                <a:gd name="T1" fmla="*/ 230 h 233"/>
                <a:gd name="T2" fmla="*/ 226 w 226"/>
                <a:gd name="T3" fmla="*/ 0 h 233"/>
                <a:gd name="T4" fmla="*/ 177 w 226"/>
                <a:gd name="T5" fmla="*/ 0 h 233"/>
                <a:gd name="T6" fmla="*/ 128 w 226"/>
                <a:gd name="T7" fmla="*/ 111 h 233"/>
                <a:gd name="T8" fmla="*/ 128 w 226"/>
                <a:gd name="T9" fmla="*/ 111 h 233"/>
                <a:gd name="T10" fmla="*/ 113 w 226"/>
                <a:gd name="T11" fmla="*/ 151 h 233"/>
                <a:gd name="T12" fmla="*/ 113 w 226"/>
                <a:gd name="T13" fmla="*/ 151 h 233"/>
                <a:gd name="T14" fmla="*/ 106 w 226"/>
                <a:gd name="T15" fmla="*/ 132 h 233"/>
                <a:gd name="T16" fmla="*/ 98 w 226"/>
                <a:gd name="T17" fmla="*/ 111 h 233"/>
                <a:gd name="T18" fmla="*/ 49 w 226"/>
                <a:gd name="T19" fmla="*/ 0 h 233"/>
                <a:gd name="T20" fmla="*/ 0 w 226"/>
                <a:gd name="T21" fmla="*/ 0 h 233"/>
                <a:gd name="T22" fmla="*/ 0 w 226"/>
                <a:gd name="T23" fmla="*/ 230 h 233"/>
                <a:gd name="T24" fmla="*/ 43 w 226"/>
                <a:gd name="T25" fmla="*/ 230 h 233"/>
                <a:gd name="T26" fmla="*/ 43 w 226"/>
                <a:gd name="T27" fmla="*/ 110 h 233"/>
                <a:gd name="T28" fmla="*/ 43 w 226"/>
                <a:gd name="T29" fmla="*/ 110 h 233"/>
                <a:gd name="T30" fmla="*/ 42 w 226"/>
                <a:gd name="T31" fmla="*/ 69 h 233"/>
                <a:gd name="T32" fmla="*/ 42 w 226"/>
                <a:gd name="T33" fmla="*/ 69 h 233"/>
                <a:gd name="T34" fmla="*/ 48 w 226"/>
                <a:gd name="T35" fmla="*/ 85 h 233"/>
                <a:gd name="T36" fmla="*/ 57 w 226"/>
                <a:gd name="T37" fmla="*/ 106 h 233"/>
                <a:gd name="T38" fmla="*/ 112 w 226"/>
                <a:gd name="T39" fmla="*/ 233 h 233"/>
                <a:gd name="T40" fmla="*/ 166 w 226"/>
                <a:gd name="T41" fmla="*/ 106 h 233"/>
                <a:gd name="T42" fmla="*/ 166 w 226"/>
                <a:gd name="T43" fmla="*/ 106 h 233"/>
                <a:gd name="T44" fmla="*/ 176 w 226"/>
                <a:gd name="T45" fmla="*/ 85 h 233"/>
                <a:gd name="T46" fmla="*/ 182 w 226"/>
                <a:gd name="T47" fmla="*/ 69 h 233"/>
                <a:gd name="T48" fmla="*/ 182 w 226"/>
                <a:gd name="T49" fmla="*/ 69 h 233"/>
                <a:gd name="T50" fmla="*/ 181 w 226"/>
                <a:gd name="T51" fmla="*/ 110 h 233"/>
                <a:gd name="T52" fmla="*/ 181 w 226"/>
                <a:gd name="T53" fmla="*/ 230 h 233"/>
                <a:gd name="T54" fmla="*/ 226 w 226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6" h="233">
                  <a:moveTo>
                    <a:pt x="226" y="230"/>
                  </a:moveTo>
                  <a:lnTo>
                    <a:pt x="226" y="0"/>
                  </a:lnTo>
                  <a:lnTo>
                    <a:pt x="177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6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6" y="106"/>
                  </a:lnTo>
                  <a:lnTo>
                    <a:pt x="166" y="106"/>
                  </a:lnTo>
                  <a:lnTo>
                    <a:pt x="176" y="85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1" y="110"/>
                  </a:lnTo>
                  <a:lnTo>
                    <a:pt x="181" y="230"/>
                  </a:lnTo>
                  <a:lnTo>
                    <a:pt x="226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1" name="Freeform 220"/>
            <p:cNvSpPr>
              <a:spLocks noEditPoints="1"/>
            </p:cNvSpPr>
            <p:nvPr userDrawn="1"/>
          </p:nvSpPr>
          <p:spPr bwMode="auto">
            <a:xfrm>
              <a:off x="3240088" y="6365876"/>
              <a:ext cx="98425" cy="90488"/>
            </a:xfrm>
            <a:custGeom>
              <a:avLst/>
              <a:gdLst>
                <a:gd name="T0" fmla="*/ 0 w 248"/>
                <a:gd name="T1" fmla="*/ 0 h 230"/>
                <a:gd name="T2" fmla="*/ 90 w 248"/>
                <a:gd name="T3" fmla="*/ 230 h 230"/>
                <a:gd name="T4" fmla="*/ 99 w 248"/>
                <a:gd name="T5" fmla="*/ 229 h 230"/>
                <a:gd name="T6" fmla="*/ 115 w 248"/>
                <a:gd name="T7" fmla="*/ 227 h 230"/>
                <a:gd name="T8" fmla="*/ 129 w 248"/>
                <a:gd name="T9" fmla="*/ 222 h 230"/>
                <a:gd name="T10" fmla="*/ 142 w 248"/>
                <a:gd name="T11" fmla="*/ 215 h 230"/>
                <a:gd name="T12" fmla="*/ 152 w 248"/>
                <a:gd name="T13" fmla="*/ 206 h 230"/>
                <a:gd name="T14" fmla="*/ 160 w 248"/>
                <a:gd name="T15" fmla="*/ 194 h 230"/>
                <a:gd name="T16" fmla="*/ 166 w 248"/>
                <a:gd name="T17" fmla="*/ 180 h 230"/>
                <a:gd name="T18" fmla="*/ 169 w 248"/>
                <a:gd name="T19" fmla="*/ 164 h 230"/>
                <a:gd name="T20" fmla="*/ 169 w 248"/>
                <a:gd name="T21" fmla="*/ 155 h 230"/>
                <a:gd name="T22" fmla="*/ 167 w 248"/>
                <a:gd name="T23" fmla="*/ 137 h 230"/>
                <a:gd name="T24" fmla="*/ 163 w 248"/>
                <a:gd name="T25" fmla="*/ 122 h 230"/>
                <a:gd name="T26" fmla="*/ 156 w 248"/>
                <a:gd name="T27" fmla="*/ 109 h 230"/>
                <a:gd name="T28" fmla="*/ 147 w 248"/>
                <a:gd name="T29" fmla="*/ 99 h 230"/>
                <a:gd name="T30" fmla="*/ 136 w 248"/>
                <a:gd name="T31" fmla="*/ 91 h 230"/>
                <a:gd name="T32" fmla="*/ 123 w 248"/>
                <a:gd name="T33" fmla="*/ 85 h 230"/>
                <a:gd name="T34" fmla="*/ 109 w 248"/>
                <a:gd name="T35" fmla="*/ 81 h 230"/>
                <a:gd name="T36" fmla="*/ 93 w 248"/>
                <a:gd name="T37" fmla="*/ 80 h 230"/>
                <a:gd name="T38" fmla="*/ 45 w 248"/>
                <a:gd name="T39" fmla="*/ 0 h 230"/>
                <a:gd name="T40" fmla="*/ 45 w 248"/>
                <a:gd name="T41" fmla="*/ 117 h 230"/>
                <a:gd name="T42" fmla="*/ 89 w 248"/>
                <a:gd name="T43" fmla="*/ 117 h 230"/>
                <a:gd name="T44" fmla="*/ 104 w 248"/>
                <a:gd name="T45" fmla="*/ 120 h 230"/>
                <a:gd name="T46" fmla="*/ 116 w 248"/>
                <a:gd name="T47" fmla="*/ 127 h 230"/>
                <a:gd name="T48" fmla="*/ 124 w 248"/>
                <a:gd name="T49" fmla="*/ 138 h 230"/>
                <a:gd name="T50" fmla="*/ 126 w 248"/>
                <a:gd name="T51" fmla="*/ 155 h 230"/>
                <a:gd name="T52" fmla="*/ 126 w 248"/>
                <a:gd name="T53" fmla="*/ 163 h 230"/>
                <a:gd name="T54" fmla="*/ 121 w 248"/>
                <a:gd name="T55" fmla="*/ 177 h 230"/>
                <a:gd name="T56" fmla="*/ 112 w 248"/>
                <a:gd name="T57" fmla="*/ 187 h 230"/>
                <a:gd name="T58" fmla="*/ 98 w 248"/>
                <a:gd name="T59" fmla="*/ 192 h 230"/>
                <a:gd name="T60" fmla="*/ 45 w 248"/>
                <a:gd name="T61" fmla="*/ 192 h 230"/>
                <a:gd name="T62" fmla="*/ 248 w 248"/>
                <a:gd name="T63" fmla="*/ 0 h 230"/>
                <a:gd name="T64" fmla="*/ 202 w 248"/>
                <a:gd name="T6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8" h="230">
                  <a:moveTo>
                    <a:pt x="45" y="0"/>
                  </a:moveTo>
                  <a:lnTo>
                    <a:pt x="0" y="0"/>
                  </a:lnTo>
                  <a:lnTo>
                    <a:pt x="0" y="230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9" y="229"/>
                  </a:lnTo>
                  <a:lnTo>
                    <a:pt x="107" y="228"/>
                  </a:lnTo>
                  <a:lnTo>
                    <a:pt x="115" y="227"/>
                  </a:lnTo>
                  <a:lnTo>
                    <a:pt x="122" y="225"/>
                  </a:lnTo>
                  <a:lnTo>
                    <a:pt x="129" y="222"/>
                  </a:lnTo>
                  <a:lnTo>
                    <a:pt x="136" y="219"/>
                  </a:lnTo>
                  <a:lnTo>
                    <a:pt x="142" y="215"/>
                  </a:lnTo>
                  <a:lnTo>
                    <a:pt x="147" y="211"/>
                  </a:lnTo>
                  <a:lnTo>
                    <a:pt x="152" y="206"/>
                  </a:lnTo>
                  <a:lnTo>
                    <a:pt x="156" y="200"/>
                  </a:lnTo>
                  <a:lnTo>
                    <a:pt x="160" y="194"/>
                  </a:lnTo>
                  <a:lnTo>
                    <a:pt x="163" y="187"/>
                  </a:lnTo>
                  <a:lnTo>
                    <a:pt x="166" y="180"/>
                  </a:lnTo>
                  <a:lnTo>
                    <a:pt x="167" y="172"/>
                  </a:lnTo>
                  <a:lnTo>
                    <a:pt x="169" y="164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46"/>
                  </a:lnTo>
                  <a:lnTo>
                    <a:pt x="167" y="137"/>
                  </a:lnTo>
                  <a:lnTo>
                    <a:pt x="166" y="129"/>
                  </a:lnTo>
                  <a:lnTo>
                    <a:pt x="163" y="122"/>
                  </a:lnTo>
                  <a:lnTo>
                    <a:pt x="160" y="115"/>
                  </a:lnTo>
                  <a:lnTo>
                    <a:pt x="156" y="109"/>
                  </a:lnTo>
                  <a:lnTo>
                    <a:pt x="152" y="104"/>
                  </a:lnTo>
                  <a:lnTo>
                    <a:pt x="147" y="99"/>
                  </a:lnTo>
                  <a:lnTo>
                    <a:pt x="142" y="94"/>
                  </a:lnTo>
                  <a:lnTo>
                    <a:pt x="136" y="91"/>
                  </a:lnTo>
                  <a:lnTo>
                    <a:pt x="130" y="88"/>
                  </a:lnTo>
                  <a:lnTo>
                    <a:pt x="123" y="85"/>
                  </a:lnTo>
                  <a:lnTo>
                    <a:pt x="116" y="83"/>
                  </a:lnTo>
                  <a:lnTo>
                    <a:pt x="109" y="81"/>
                  </a:lnTo>
                  <a:lnTo>
                    <a:pt x="101" y="81"/>
                  </a:lnTo>
                  <a:lnTo>
                    <a:pt x="93" y="80"/>
                  </a:lnTo>
                  <a:lnTo>
                    <a:pt x="45" y="80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7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7" y="118"/>
                  </a:lnTo>
                  <a:lnTo>
                    <a:pt x="104" y="120"/>
                  </a:lnTo>
                  <a:lnTo>
                    <a:pt x="111" y="123"/>
                  </a:lnTo>
                  <a:lnTo>
                    <a:pt x="116" y="127"/>
                  </a:lnTo>
                  <a:lnTo>
                    <a:pt x="120" y="132"/>
                  </a:lnTo>
                  <a:lnTo>
                    <a:pt x="124" y="138"/>
                  </a:lnTo>
                  <a:lnTo>
                    <a:pt x="125" y="14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63"/>
                  </a:lnTo>
                  <a:lnTo>
                    <a:pt x="124" y="171"/>
                  </a:lnTo>
                  <a:lnTo>
                    <a:pt x="121" y="177"/>
                  </a:lnTo>
                  <a:lnTo>
                    <a:pt x="117" y="182"/>
                  </a:lnTo>
                  <a:lnTo>
                    <a:pt x="112" y="187"/>
                  </a:lnTo>
                  <a:lnTo>
                    <a:pt x="105" y="190"/>
                  </a:lnTo>
                  <a:lnTo>
                    <a:pt x="98" y="192"/>
                  </a:lnTo>
                  <a:lnTo>
                    <a:pt x="89" y="192"/>
                  </a:lnTo>
                  <a:lnTo>
                    <a:pt x="45" y="192"/>
                  </a:lnTo>
                  <a:close/>
                  <a:moveTo>
                    <a:pt x="248" y="230"/>
                  </a:moveTo>
                  <a:lnTo>
                    <a:pt x="248" y="0"/>
                  </a:lnTo>
                  <a:lnTo>
                    <a:pt x="202" y="0"/>
                  </a:lnTo>
                  <a:lnTo>
                    <a:pt x="202" y="230"/>
                  </a:lnTo>
                  <a:lnTo>
                    <a:pt x="248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2" name="Freeform 221"/>
            <p:cNvSpPr>
              <a:spLocks/>
            </p:cNvSpPr>
            <p:nvPr userDrawn="1"/>
          </p:nvSpPr>
          <p:spPr bwMode="auto">
            <a:xfrm>
              <a:off x="3397250" y="6365876"/>
              <a:ext cx="85725" cy="122238"/>
            </a:xfrm>
            <a:custGeom>
              <a:avLst/>
              <a:gdLst>
                <a:gd name="T0" fmla="*/ 214 w 214"/>
                <a:gd name="T1" fmla="*/ 0 h 310"/>
                <a:gd name="T2" fmla="*/ 166 w 214"/>
                <a:gd name="T3" fmla="*/ 0 h 310"/>
                <a:gd name="T4" fmla="*/ 107 w 214"/>
                <a:gd name="T5" fmla="*/ 173 h 310"/>
                <a:gd name="T6" fmla="*/ 49 w 214"/>
                <a:gd name="T7" fmla="*/ 0 h 310"/>
                <a:gd name="T8" fmla="*/ 0 w 214"/>
                <a:gd name="T9" fmla="*/ 0 h 310"/>
                <a:gd name="T10" fmla="*/ 84 w 214"/>
                <a:gd name="T11" fmla="*/ 225 h 310"/>
                <a:gd name="T12" fmla="*/ 51 w 214"/>
                <a:gd name="T13" fmla="*/ 310 h 310"/>
                <a:gd name="T14" fmla="*/ 99 w 214"/>
                <a:gd name="T15" fmla="*/ 310 h 310"/>
                <a:gd name="T16" fmla="*/ 214 w 214"/>
                <a:gd name="T1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310">
                  <a:moveTo>
                    <a:pt x="214" y="0"/>
                  </a:moveTo>
                  <a:lnTo>
                    <a:pt x="166" y="0"/>
                  </a:lnTo>
                  <a:lnTo>
                    <a:pt x="107" y="173"/>
                  </a:lnTo>
                  <a:lnTo>
                    <a:pt x="49" y="0"/>
                  </a:lnTo>
                  <a:lnTo>
                    <a:pt x="0" y="0"/>
                  </a:lnTo>
                  <a:lnTo>
                    <a:pt x="84" y="225"/>
                  </a:lnTo>
                  <a:lnTo>
                    <a:pt x="51" y="310"/>
                  </a:lnTo>
                  <a:lnTo>
                    <a:pt x="99" y="31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3" name="Freeform 222"/>
            <p:cNvSpPr>
              <a:spLocks/>
            </p:cNvSpPr>
            <p:nvPr userDrawn="1"/>
          </p:nvSpPr>
          <p:spPr bwMode="auto">
            <a:xfrm>
              <a:off x="3486150" y="6365876"/>
              <a:ext cx="82550" cy="92075"/>
            </a:xfrm>
            <a:custGeom>
              <a:avLst/>
              <a:gdLst>
                <a:gd name="T0" fmla="*/ 94 w 209"/>
                <a:gd name="T1" fmla="*/ 39 h 234"/>
                <a:gd name="T2" fmla="*/ 164 w 209"/>
                <a:gd name="T3" fmla="*/ 39 h 234"/>
                <a:gd name="T4" fmla="*/ 164 w 209"/>
                <a:gd name="T5" fmla="*/ 230 h 234"/>
                <a:gd name="T6" fmla="*/ 209 w 209"/>
                <a:gd name="T7" fmla="*/ 230 h 234"/>
                <a:gd name="T8" fmla="*/ 209 w 209"/>
                <a:gd name="T9" fmla="*/ 0 h 234"/>
                <a:gd name="T10" fmla="*/ 52 w 209"/>
                <a:gd name="T11" fmla="*/ 0 h 234"/>
                <a:gd name="T12" fmla="*/ 47 w 209"/>
                <a:gd name="T13" fmla="*/ 116 h 234"/>
                <a:gd name="T14" fmla="*/ 47 w 209"/>
                <a:gd name="T15" fmla="*/ 116 h 234"/>
                <a:gd name="T16" fmla="*/ 45 w 209"/>
                <a:gd name="T17" fmla="*/ 135 h 234"/>
                <a:gd name="T18" fmla="*/ 42 w 209"/>
                <a:gd name="T19" fmla="*/ 152 h 234"/>
                <a:gd name="T20" fmla="*/ 38 w 209"/>
                <a:gd name="T21" fmla="*/ 165 h 234"/>
                <a:gd name="T22" fmla="*/ 32 w 209"/>
                <a:gd name="T23" fmla="*/ 175 h 234"/>
                <a:gd name="T24" fmla="*/ 26 w 209"/>
                <a:gd name="T25" fmla="*/ 183 h 234"/>
                <a:gd name="T26" fmla="*/ 18 w 209"/>
                <a:gd name="T27" fmla="*/ 189 h 234"/>
                <a:gd name="T28" fmla="*/ 9 w 209"/>
                <a:gd name="T29" fmla="*/ 193 h 234"/>
                <a:gd name="T30" fmla="*/ 0 w 209"/>
                <a:gd name="T31" fmla="*/ 195 h 234"/>
                <a:gd name="T32" fmla="*/ 12 w 209"/>
                <a:gd name="T33" fmla="*/ 234 h 234"/>
                <a:gd name="T34" fmla="*/ 12 w 209"/>
                <a:gd name="T35" fmla="*/ 234 h 234"/>
                <a:gd name="T36" fmla="*/ 19 w 209"/>
                <a:gd name="T37" fmla="*/ 233 h 234"/>
                <a:gd name="T38" fmla="*/ 27 w 209"/>
                <a:gd name="T39" fmla="*/ 230 h 234"/>
                <a:gd name="T40" fmla="*/ 34 w 209"/>
                <a:gd name="T41" fmla="*/ 228 h 234"/>
                <a:gd name="T42" fmla="*/ 41 w 209"/>
                <a:gd name="T43" fmla="*/ 224 h 234"/>
                <a:gd name="T44" fmla="*/ 48 w 209"/>
                <a:gd name="T45" fmla="*/ 220 h 234"/>
                <a:gd name="T46" fmla="*/ 54 w 209"/>
                <a:gd name="T47" fmla="*/ 215 h 234"/>
                <a:gd name="T48" fmla="*/ 60 w 209"/>
                <a:gd name="T49" fmla="*/ 209 h 234"/>
                <a:gd name="T50" fmla="*/ 66 w 209"/>
                <a:gd name="T51" fmla="*/ 203 h 234"/>
                <a:gd name="T52" fmla="*/ 71 w 209"/>
                <a:gd name="T53" fmla="*/ 195 h 234"/>
                <a:gd name="T54" fmla="*/ 75 w 209"/>
                <a:gd name="T55" fmla="*/ 187 h 234"/>
                <a:gd name="T56" fmla="*/ 79 w 209"/>
                <a:gd name="T57" fmla="*/ 178 h 234"/>
                <a:gd name="T58" fmla="*/ 83 w 209"/>
                <a:gd name="T59" fmla="*/ 168 h 234"/>
                <a:gd name="T60" fmla="*/ 86 w 209"/>
                <a:gd name="T61" fmla="*/ 156 h 234"/>
                <a:gd name="T62" fmla="*/ 88 w 209"/>
                <a:gd name="T63" fmla="*/ 143 h 234"/>
                <a:gd name="T64" fmla="*/ 89 w 209"/>
                <a:gd name="T65" fmla="*/ 130 h 234"/>
                <a:gd name="T66" fmla="*/ 91 w 209"/>
                <a:gd name="T67" fmla="*/ 116 h 234"/>
                <a:gd name="T68" fmla="*/ 94 w 209"/>
                <a:gd name="T69" fmla="*/ 3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9" h="234">
                  <a:moveTo>
                    <a:pt x="94" y="39"/>
                  </a:moveTo>
                  <a:lnTo>
                    <a:pt x="164" y="39"/>
                  </a:lnTo>
                  <a:lnTo>
                    <a:pt x="164" y="230"/>
                  </a:lnTo>
                  <a:lnTo>
                    <a:pt x="209" y="230"/>
                  </a:lnTo>
                  <a:lnTo>
                    <a:pt x="209" y="0"/>
                  </a:lnTo>
                  <a:lnTo>
                    <a:pt x="52" y="0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5" y="135"/>
                  </a:lnTo>
                  <a:lnTo>
                    <a:pt x="42" y="152"/>
                  </a:lnTo>
                  <a:lnTo>
                    <a:pt x="38" y="165"/>
                  </a:lnTo>
                  <a:lnTo>
                    <a:pt x="32" y="175"/>
                  </a:lnTo>
                  <a:lnTo>
                    <a:pt x="26" y="183"/>
                  </a:lnTo>
                  <a:lnTo>
                    <a:pt x="18" y="189"/>
                  </a:lnTo>
                  <a:lnTo>
                    <a:pt x="9" y="193"/>
                  </a:lnTo>
                  <a:lnTo>
                    <a:pt x="0" y="195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19" y="233"/>
                  </a:lnTo>
                  <a:lnTo>
                    <a:pt x="27" y="230"/>
                  </a:lnTo>
                  <a:lnTo>
                    <a:pt x="34" y="228"/>
                  </a:lnTo>
                  <a:lnTo>
                    <a:pt x="41" y="224"/>
                  </a:lnTo>
                  <a:lnTo>
                    <a:pt x="48" y="220"/>
                  </a:lnTo>
                  <a:lnTo>
                    <a:pt x="54" y="215"/>
                  </a:lnTo>
                  <a:lnTo>
                    <a:pt x="60" y="209"/>
                  </a:lnTo>
                  <a:lnTo>
                    <a:pt x="66" y="203"/>
                  </a:lnTo>
                  <a:lnTo>
                    <a:pt x="71" y="195"/>
                  </a:lnTo>
                  <a:lnTo>
                    <a:pt x="75" y="187"/>
                  </a:lnTo>
                  <a:lnTo>
                    <a:pt x="79" y="178"/>
                  </a:lnTo>
                  <a:lnTo>
                    <a:pt x="83" y="168"/>
                  </a:lnTo>
                  <a:lnTo>
                    <a:pt x="86" y="156"/>
                  </a:lnTo>
                  <a:lnTo>
                    <a:pt x="88" y="143"/>
                  </a:lnTo>
                  <a:lnTo>
                    <a:pt x="89" y="130"/>
                  </a:lnTo>
                  <a:lnTo>
                    <a:pt x="91" y="116"/>
                  </a:lnTo>
                  <a:lnTo>
                    <a:pt x="9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4" name="Freeform 223"/>
            <p:cNvSpPr>
              <a:spLocks/>
            </p:cNvSpPr>
            <p:nvPr userDrawn="1"/>
          </p:nvSpPr>
          <p:spPr bwMode="auto">
            <a:xfrm>
              <a:off x="3584575" y="6365876"/>
              <a:ext cx="85725" cy="122238"/>
            </a:xfrm>
            <a:custGeom>
              <a:avLst/>
              <a:gdLst>
                <a:gd name="T0" fmla="*/ 214 w 214"/>
                <a:gd name="T1" fmla="*/ 0 h 310"/>
                <a:gd name="T2" fmla="*/ 166 w 214"/>
                <a:gd name="T3" fmla="*/ 0 h 310"/>
                <a:gd name="T4" fmla="*/ 107 w 214"/>
                <a:gd name="T5" fmla="*/ 173 h 310"/>
                <a:gd name="T6" fmla="*/ 49 w 214"/>
                <a:gd name="T7" fmla="*/ 0 h 310"/>
                <a:gd name="T8" fmla="*/ 0 w 214"/>
                <a:gd name="T9" fmla="*/ 0 h 310"/>
                <a:gd name="T10" fmla="*/ 84 w 214"/>
                <a:gd name="T11" fmla="*/ 225 h 310"/>
                <a:gd name="T12" fmla="*/ 51 w 214"/>
                <a:gd name="T13" fmla="*/ 310 h 310"/>
                <a:gd name="T14" fmla="*/ 99 w 214"/>
                <a:gd name="T15" fmla="*/ 310 h 310"/>
                <a:gd name="T16" fmla="*/ 214 w 214"/>
                <a:gd name="T1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310">
                  <a:moveTo>
                    <a:pt x="214" y="0"/>
                  </a:moveTo>
                  <a:lnTo>
                    <a:pt x="166" y="0"/>
                  </a:lnTo>
                  <a:lnTo>
                    <a:pt x="107" y="173"/>
                  </a:lnTo>
                  <a:lnTo>
                    <a:pt x="49" y="0"/>
                  </a:lnTo>
                  <a:lnTo>
                    <a:pt x="0" y="0"/>
                  </a:lnTo>
                  <a:lnTo>
                    <a:pt x="84" y="225"/>
                  </a:lnTo>
                  <a:lnTo>
                    <a:pt x="51" y="310"/>
                  </a:lnTo>
                  <a:lnTo>
                    <a:pt x="99" y="31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5" name="Freeform 224"/>
            <p:cNvSpPr>
              <a:spLocks/>
            </p:cNvSpPr>
            <p:nvPr userDrawn="1"/>
          </p:nvSpPr>
          <p:spPr bwMode="auto">
            <a:xfrm>
              <a:off x="3681413" y="6365876"/>
              <a:ext cx="69850" cy="90488"/>
            </a:xfrm>
            <a:custGeom>
              <a:avLst/>
              <a:gdLst>
                <a:gd name="T0" fmla="*/ 179 w 179"/>
                <a:gd name="T1" fmla="*/ 0 h 230"/>
                <a:gd name="T2" fmla="*/ 134 w 179"/>
                <a:gd name="T3" fmla="*/ 0 h 230"/>
                <a:gd name="T4" fmla="*/ 134 w 179"/>
                <a:gd name="T5" fmla="*/ 92 h 230"/>
                <a:gd name="T6" fmla="*/ 134 w 179"/>
                <a:gd name="T7" fmla="*/ 92 h 230"/>
                <a:gd name="T8" fmla="*/ 125 w 179"/>
                <a:gd name="T9" fmla="*/ 98 h 230"/>
                <a:gd name="T10" fmla="*/ 113 w 179"/>
                <a:gd name="T11" fmla="*/ 102 h 230"/>
                <a:gd name="T12" fmla="*/ 100 w 179"/>
                <a:gd name="T13" fmla="*/ 105 h 230"/>
                <a:gd name="T14" fmla="*/ 85 w 179"/>
                <a:gd name="T15" fmla="*/ 106 h 230"/>
                <a:gd name="T16" fmla="*/ 85 w 179"/>
                <a:gd name="T17" fmla="*/ 106 h 230"/>
                <a:gd name="T18" fmla="*/ 76 w 179"/>
                <a:gd name="T19" fmla="*/ 105 h 230"/>
                <a:gd name="T20" fmla="*/ 68 w 179"/>
                <a:gd name="T21" fmla="*/ 103 h 230"/>
                <a:gd name="T22" fmla="*/ 61 w 179"/>
                <a:gd name="T23" fmla="*/ 101 h 230"/>
                <a:gd name="T24" fmla="*/ 56 w 179"/>
                <a:gd name="T25" fmla="*/ 97 h 230"/>
                <a:gd name="T26" fmla="*/ 51 w 179"/>
                <a:gd name="T27" fmla="*/ 91 h 230"/>
                <a:gd name="T28" fmla="*/ 48 w 179"/>
                <a:gd name="T29" fmla="*/ 85 h 230"/>
                <a:gd name="T30" fmla="*/ 46 w 179"/>
                <a:gd name="T31" fmla="*/ 76 h 230"/>
                <a:gd name="T32" fmla="*/ 45 w 179"/>
                <a:gd name="T33" fmla="*/ 66 h 230"/>
                <a:gd name="T34" fmla="*/ 45 w 179"/>
                <a:gd name="T35" fmla="*/ 0 h 230"/>
                <a:gd name="T36" fmla="*/ 0 w 179"/>
                <a:gd name="T37" fmla="*/ 0 h 230"/>
                <a:gd name="T38" fmla="*/ 0 w 179"/>
                <a:gd name="T39" fmla="*/ 64 h 230"/>
                <a:gd name="T40" fmla="*/ 0 w 179"/>
                <a:gd name="T41" fmla="*/ 64 h 230"/>
                <a:gd name="T42" fmla="*/ 1 w 179"/>
                <a:gd name="T43" fmla="*/ 74 h 230"/>
                <a:gd name="T44" fmla="*/ 2 w 179"/>
                <a:gd name="T45" fmla="*/ 83 h 230"/>
                <a:gd name="T46" fmla="*/ 3 w 179"/>
                <a:gd name="T47" fmla="*/ 91 h 230"/>
                <a:gd name="T48" fmla="*/ 5 w 179"/>
                <a:gd name="T49" fmla="*/ 99 h 230"/>
                <a:gd name="T50" fmla="*/ 8 w 179"/>
                <a:gd name="T51" fmla="*/ 106 h 230"/>
                <a:gd name="T52" fmla="*/ 11 w 179"/>
                <a:gd name="T53" fmla="*/ 113 h 230"/>
                <a:gd name="T54" fmla="*/ 15 w 179"/>
                <a:gd name="T55" fmla="*/ 119 h 230"/>
                <a:gd name="T56" fmla="*/ 19 w 179"/>
                <a:gd name="T57" fmla="*/ 124 h 230"/>
                <a:gd name="T58" fmla="*/ 24 w 179"/>
                <a:gd name="T59" fmla="*/ 129 h 230"/>
                <a:gd name="T60" fmla="*/ 30 w 179"/>
                <a:gd name="T61" fmla="*/ 133 h 230"/>
                <a:gd name="T62" fmla="*/ 36 w 179"/>
                <a:gd name="T63" fmla="*/ 137 h 230"/>
                <a:gd name="T64" fmla="*/ 42 w 179"/>
                <a:gd name="T65" fmla="*/ 140 h 230"/>
                <a:gd name="T66" fmla="*/ 50 w 179"/>
                <a:gd name="T67" fmla="*/ 142 h 230"/>
                <a:gd name="T68" fmla="*/ 57 w 179"/>
                <a:gd name="T69" fmla="*/ 145 h 230"/>
                <a:gd name="T70" fmla="*/ 65 w 179"/>
                <a:gd name="T71" fmla="*/ 145 h 230"/>
                <a:gd name="T72" fmla="*/ 74 w 179"/>
                <a:gd name="T73" fmla="*/ 146 h 230"/>
                <a:gd name="T74" fmla="*/ 74 w 179"/>
                <a:gd name="T75" fmla="*/ 146 h 230"/>
                <a:gd name="T76" fmla="*/ 91 w 179"/>
                <a:gd name="T77" fmla="*/ 145 h 230"/>
                <a:gd name="T78" fmla="*/ 108 w 179"/>
                <a:gd name="T79" fmla="*/ 141 h 230"/>
                <a:gd name="T80" fmla="*/ 122 w 179"/>
                <a:gd name="T81" fmla="*/ 137 h 230"/>
                <a:gd name="T82" fmla="*/ 134 w 179"/>
                <a:gd name="T83" fmla="*/ 131 h 230"/>
                <a:gd name="T84" fmla="*/ 134 w 179"/>
                <a:gd name="T85" fmla="*/ 230 h 230"/>
                <a:gd name="T86" fmla="*/ 179 w 179"/>
                <a:gd name="T87" fmla="*/ 230 h 230"/>
                <a:gd name="T88" fmla="*/ 179 w 179"/>
                <a:gd name="T8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lnTo>
                    <a:pt x="134" y="0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25" y="98"/>
                  </a:lnTo>
                  <a:lnTo>
                    <a:pt x="113" y="102"/>
                  </a:lnTo>
                  <a:lnTo>
                    <a:pt x="100" y="105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76" y="105"/>
                  </a:lnTo>
                  <a:lnTo>
                    <a:pt x="68" y="103"/>
                  </a:lnTo>
                  <a:lnTo>
                    <a:pt x="61" y="101"/>
                  </a:lnTo>
                  <a:lnTo>
                    <a:pt x="56" y="97"/>
                  </a:lnTo>
                  <a:lnTo>
                    <a:pt x="51" y="91"/>
                  </a:lnTo>
                  <a:lnTo>
                    <a:pt x="48" y="85"/>
                  </a:lnTo>
                  <a:lnTo>
                    <a:pt x="46" y="76"/>
                  </a:lnTo>
                  <a:lnTo>
                    <a:pt x="45" y="66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1" y="74"/>
                  </a:lnTo>
                  <a:lnTo>
                    <a:pt x="2" y="83"/>
                  </a:lnTo>
                  <a:lnTo>
                    <a:pt x="3" y="91"/>
                  </a:lnTo>
                  <a:lnTo>
                    <a:pt x="5" y="99"/>
                  </a:lnTo>
                  <a:lnTo>
                    <a:pt x="8" y="106"/>
                  </a:lnTo>
                  <a:lnTo>
                    <a:pt x="11" y="113"/>
                  </a:lnTo>
                  <a:lnTo>
                    <a:pt x="15" y="119"/>
                  </a:lnTo>
                  <a:lnTo>
                    <a:pt x="19" y="124"/>
                  </a:lnTo>
                  <a:lnTo>
                    <a:pt x="24" y="129"/>
                  </a:lnTo>
                  <a:lnTo>
                    <a:pt x="30" y="133"/>
                  </a:lnTo>
                  <a:lnTo>
                    <a:pt x="36" y="137"/>
                  </a:lnTo>
                  <a:lnTo>
                    <a:pt x="42" y="140"/>
                  </a:lnTo>
                  <a:lnTo>
                    <a:pt x="50" y="142"/>
                  </a:lnTo>
                  <a:lnTo>
                    <a:pt x="57" y="145"/>
                  </a:lnTo>
                  <a:lnTo>
                    <a:pt x="65" y="145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91" y="145"/>
                  </a:lnTo>
                  <a:lnTo>
                    <a:pt x="108" y="141"/>
                  </a:lnTo>
                  <a:lnTo>
                    <a:pt x="122" y="137"/>
                  </a:lnTo>
                  <a:lnTo>
                    <a:pt x="134" y="131"/>
                  </a:lnTo>
                  <a:lnTo>
                    <a:pt x="134" y="230"/>
                  </a:lnTo>
                  <a:lnTo>
                    <a:pt x="179" y="230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6" name="Freeform 225"/>
            <p:cNvSpPr>
              <a:spLocks/>
            </p:cNvSpPr>
            <p:nvPr userDrawn="1"/>
          </p:nvSpPr>
          <p:spPr bwMode="auto">
            <a:xfrm>
              <a:off x="3775075" y="6365876"/>
              <a:ext cx="117475" cy="90488"/>
            </a:xfrm>
            <a:custGeom>
              <a:avLst/>
              <a:gdLst>
                <a:gd name="T0" fmla="*/ 294 w 294"/>
                <a:gd name="T1" fmla="*/ 0 h 230"/>
                <a:gd name="T2" fmla="*/ 249 w 294"/>
                <a:gd name="T3" fmla="*/ 0 h 230"/>
                <a:gd name="T4" fmla="*/ 249 w 294"/>
                <a:gd name="T5" fmla="*/ 190 h 230"/>
                <a:gd name="T6" fmla="*/ 169 w 294"/>
                <a:gd name="T7" fmla="*/ 190 h 230"/>
                <a:gd name="T8" fmla="*/ 169 w 294"/>
                <a:gd name="T9" fmla="*/ 0 h 230"/>
                <a:gd name="T10" fmla="*/ 125 w 294"/>
                <a:gd name="T11" fmla="*/ 0 h 230"/>
                <a:gd name="T12" fmla="*/ 125 w 294"/>
                <a:gd name="T13" fmla="*/ 190 h 230"/>
                <a:gd name="T14" fmla="*/ 45 w 294"/>
                <a:gd name="T15" fmla="*/ 190 h 230"/>
                <a:gd name="T16" fmla="*/ 45 w 294"/>
                <a:gd name="T17" fmla="*/ 0 h 230"/>
                <a:gd name="T18" fmla="*/ 0 w 294"/>
                <a:gd name="T19" fmla="*/ 0 h 230"/>
                <a:gd name="T20" fmla="*/ 0 w 294"/>
                <a:gd name="T21" fmla="*/ 230 h 230"/>
                <a:gd name="T22" fmla="*/ 294 w 294"/>
                <a:gd name="T23" fmla="*/ 230 h 230"/>
                <a:gd name="T24" fmla="*/ 294 w 29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230">
                  <a:moveTo>
                    <a:pt x="294" y="0"/>
                  </a:moveTo>
                  <a:lnTo>
                    <a:pt x="249" y="0"/>
                  </a:lnTo>
                  <a:lnTo>
                    <a:pt x="249" y="190"/>
                  </a:lnTo>
                  <a:lnTo>
                    <a:pt x="169" y="190"/>
                  </a:lnTo>
                  <a:lnTo>
                    <a:pt x="169" y="0"/>
                  </a:lnTo>
                  <a:lnTo>
                    <a:pt x="125" y="0"/>
                  </a:lnTo>
                  <a:lnTo>
                    <a:pt x="125" y="190"/>
                  </a:lnTo>
                  <a:lnTo>
                    <a:pt x="45" y="19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294" y="23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7" name="Freeform 226"/>
            <p:cNvSpPr>
              <a:spLocks noEditPoints="1"/>
            </p:cNvSpPr>
            <p:nvPr userDrawn="1"/>
          </p:nvSpPr>
          <p:spPr bwMode="auto">
            <a:xfrm>
              <a:off x="3910013" y="6362701"/>
              <a:ext cx="74613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7 h 239"/>
                <a:gd name="T4" fmla="*/ 183 w 187"/>
                <a:gd name="T5" fmla="*/ 50 h 239"/>
                <a:gd name="T6" fmla="*/ 177 w 187"/>
                <a:gd name="T7" fmla="*/ 36 h 239"/>
                <a:gd name="T8" fmla="*/ 169 w 187"/>
                <a:gd name="T9" fmla="*/ 24 h 239"/>
                <a:gd name="T10" fmla="*/ 157 w 187"/>
                <a:gd name="T11" fmla="*/ 14 h 239"/>
                <a:gd name="T12" fmla="*/ 144 w 187"/>
                <a:gd name="T13" fmla="*/ 7 h 239"/>
                <a:gd name="T14" fmla="*/ 128 w 187"/>
                <a:gd name="T15" fmla="*/ 2 h 239"/>
                <a:gd name="T16" fmla="*/ 110 w 187"/>
                <a:gd name="T17" fmla="*/ 0 h 239"/>
                <a:gd name="T18" fmla="*/ 101 w 187"/>
                <a:gd name="T19" fmla="*/ 0 h 239"/>
                <a:gd name="T20" fmla="*/ 78 w 187"/>
                <a:gd name="T21" fmla="*/ 1 h 239"/>
                <a:gd name="T22" fmla="*/ 58 w 187"/>
                <a:gd name="T23" fmla="*/ 5 h 239"/>
                <a:gd name="T24" fmla="*/ 40 w 187"/>
                <a:gd name="T25" fmla="*/ 11 h 239"/>
                <a:gd name="T26" fmla="*/ 23 w 187"/>
                <a:gd name="T27" fmla="*/ 20 h 239"/>
                <a:gd name="T28" fmla="*/ 40 w 187"/>
                <a:gd name="T29" fmla="*/ 54 h 239"/>
                <a:gd name="T30" fmla="*/ 68 w 187"/>
                <a:gd name="T31" fmla="*/ 43 h 239"/>
                <a:gd name="T32" fmla="*/ 100 w 187"/>
                <a:gd name="T33" fmla="*/ 40 h 239"/>
                <a:gd name="T34" fmla="*/ 110 w 187"/>
                <a:gd name="T35" fmla="*/ 41 h 239"/>
                <a:gd name="T36" fmla="*/ 126 w 187"/>
                <a:gd name="T37" fmla="*/ 46 h 239"/>
                <a:gd name="T38" fmla="*/ 137 w 187"/>
                <a:gd name="T39" fmla="*/ 56 h 239"/>
                <a:gd name="T40" fmla="*/ 142 w 187"/>
                <a:gd name="T41" fmla="*/ 70 h 239"/>
                <a:gd name="T42" fmla="*/ 143 w 187"/>
                <a:gd name="T43" fmla="*/ 96 h 239"/>
                <a:gd name="T44" fmla="*/ 134 w 187"/>
                <a:gd name="T45" fmla="*/ 92 h 239"/>
                <a:gd name="T46" fmla="*/ 109 w 187"/>
                <a:gd name="T47" fmla="*/ 88 h 239"/>
                <a:gd name="T48" fmla="*/ 92 w 187"/>
                <a:gd name="T49" fmla="*/ 87 h 239"/>
                <a:gd name="T50" fmla="*/ 64 w 187"/>
                <a:gd name="T51" fmla="*/ 89 h 239"/>
                <a:gd name="T52" fmla="*/ 48 w 187"/>
                <a:gd name="T53" fmla="*/ 94 h 239"/>
                <a:gd name="T54" fmla="*/ 33 w 187"/>
                <a:gd name="T55" fmla="*/ 101 h 239"/>
                <a:gd name="T56" fmla="*/ 21 w 187"/>
                <a:gd name="T57" fmla="*/ 110 h 239"/>
                <a:gd name="T58" fmla="*/ 11 w 187"/>
                <a:gd name="T59" fmla="*/ 121 h 239"/>
                <a:gd name="T60" fmla="*/ 4 w 187"/>
                <a:gd name="T61" fmla="*/ 135 h 239"/>
                <a:gd name="T62" fmla="*/ 0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7 w 187"/>
                <a:gd name="T73" fmla="*/ 222 h 239"/>
                <a:gd name="T74" fmla="*/ 39 w 187"/>
                <a:gd name="T75" fmla="*/ 230 h 239"/>
                <a:gd name="T76" fmla="*/ 52 w 187"/>
                <a:gd name="T77" fmla="*/ 235 h 239"/>
                <a:gd name="T78" fmla="*/ 80 w 187"/>
                <a:gd name="T79" fmla="*/ 239 h 239"/>
                <a:gd name="T80" fmla="*/ 91 w 187"/>
                <a:gd name="T81" fmla="*/ 239 h 239"/>
                <a:gd name="T82" fmla="*/ 109 w 187"/>
                <a:gd name="T83" fmla="*/ 234 h 239"/>
                <a:gd name="T84" fmla="*/ 116 w 187"/>
                <a:gd name="T85" fmla="*/ 231 h 239"/>
                <a:gd name="T86" fmla="*/ 135 w 187"/>
                <a:gd name="T87" fmla="*/ 219 h 239"/>
                <a:gd name="T88" fmla="*/ 143 w 187"/>
                <a:gd name="T89" fmla="*/ 235 h 239"/>
                <a:gd name="T90" fmla="*/ 143 w 187"/>
                <a:gd name="T91" fmla="*/ 170 h 239"/>
                <a:gd name="T92" fmla="*/ 139 w 187"/>
                <a:gd name="T93" fmla="*/ 175 h 239"/>
                <a:gd name="T94" fmla="*/ 127 w 187"/>
                <a:gd name="T95" fmla="*/ 185 h 239"/>
                <a:gd name="T96" fmla="*/ 113 w 187"/>
                <a:gd name="T97" fmla="*/ 193 h 239"/>
                <a:gd name="T98" fmla="*/ 96 w 187"/>
                <a:gd name="T99" fmla="*/ 198 h 239"/>
                <a:gd name="T100" fmla="*/ 88 w 187"/>
                <a:gd name="T101" fmla="*/ 199 h 239"/>
                <a:gd name="T102" fmla="*/ 69 w 187"/>
                <a:gd name="T103" fmla="*/ 196 h 239"/>
                <a:gd name="T104" fmla="*/ 56 w 187"/>
                <a:gd name="T105" fmla="*/ 190 h 239"/>
                <a:gd name="T106" fmla="*/ 51 w 187"/>
                <a:gd name="T107" fmla="*/ 185 h 239"/>
                <a:gd name="T108" fmla="*/ 45 w 187"/>
                <a:gd name="T109" fmla="*/ 170 h 239"/>
                <a:gd name="T110" fmla="*/ 44 w 187"/>
                <a:gd name="T111" fmla="*/ 161 h 239"/>
                <a:gd name="T112" fmla="*/ 47 w 187"/>
                <a:gd name="T113" fmla="*/ 146 h 239"/>
                <a:gd name="T114" fmla="*/ 56 w 187"/>
                <a:gd name="T115" fmla="*/ 135 h 239"/>
                <a:gd name="T116" fmla="*/ 71 w 187"/>
                <a:gd name="T117" fmla="*/ 128 h 239"/>
                <a:gd name="T118" fmla="*/ 91 w 187"/>
                <a:gd name="T119" fmla="*/ 126 h 239"/>
                <a:gd name="T120" fmla="*/ 108 w 187"/>
                <a:gd name="T121" fmla="*/ 126 h 239"/>
                <a:gd name="T122" fmla="*/ 121 w 187"/>
                <a:gd name="T123" fmla="*/ 128 h 239"/>
                <a:gd name="T124" fmla="*/ 143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7"/>
                  </a:lnTo>
                  <a:lnTo>
                    <a:pt x="185" y="58"/>
                  </a:lnTo>
                  <a:lnTo>
                    <a:pt x="183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9" y="24"/>
                  </a:lnTo>
                  <a:lnTo>
                    <a:pt x="163" y="19"/>
                  </a:lnTo>
                  <a:lnTo>
                    <a:pt x="157" y="14"/>
                  </a:lnTo>
                  <a:lnTo>
                    <a:pt x="151" y="10"/>
                  </a:lnTo>
                  <a:lnTo>
                    <a:pt x="144" y="7"/>
                  </a:lnTo>
                  <a:lnTo>
                    <a:pt x="136" y="5"/>
                  </a:lnTo>
                  <a:lnTo>
                    <a:pt x="128" y="2"/>
                  </a:lnTo>
                  <a:lnTo>
                    <a:pt x="119" y="1"/>
                  </a:lnTo>
                  <a:lnTo>
                    <a:pt x="110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89" y="0"/>
                  </a:lnTo>
                  <a:lnTo>
                    <a:pt x="78" y="1"/>
                  </a:lnTo>
                  <a:lnTo>
                    <a:pt x="68" y="3"/>
                  </a:lnTo>
                  <a:lnTo>
                    <a:pt x="58" y="5"/>
                  </a:lnTo>
                  <a:lnTo>
                    <a:pt x="49" y="8"/>
                  </a:lnTo>
                  <a:lnTo>
                    <a:pt x="40" y="11"/>
                  </a:lnTo>
                  <a:lnTo>
                    <a:pt x="31" y="16"/>
                  </a:lnTo>
                  <a:lnTo>
                    <a:pt x="23" y="20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54" y="48"/>
                  </a:lnTo>
                  <a:lnTo>
                    <a:pt x="68" y="43"/>
                  </a:lnTo>
                  <a:lnTo>
                    <a:pt x="83" y="41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10" y="41"/>
                  </a:lnTo>
                  <a:lnTo>
                    <a:pt x="118" y="43"/>
                  </a:lnTo>
                  <a:lnTo>
                    <a:pt x="126" y="46"/>
                  </a:lnTo>
                  <a:lnTo>
                    <a:pt x="132" y="50"/>
                  </a:lnTo>
                  <a:lnTo>
                    <a:pt x="137" y="56"/>
                  </a:lnTo>
                  <a:lnTo>
                    <a:pt x="140" y="62"/>
                  </a:lnTo>
                  <a:lnTo>
                    <a:pt x="142" y="70"/>
                  </a:lnTo>
                  <a:lnTo>
                    <a:pt x="143" y="79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34" y="92"/>
                  </a:lnTo>
                  <a:lnTo>
                    <a:pt x="122" y="89"/>
                  </a:lnTo>
                  <a:lnTo>
                    <a:pt x="109" y="88"/>
                  </a:lnTo>
                  <a:lnTo>
                    <a:pt x="92" y="87"/>
                  </a:lnTo>
                  <a:lnTo>
                    <a:pt x="92" y="87"/>
                  </a:lnTo>
                  <a:lnTo>
                    <a:pt x="73" y="88"/>
                  </a:lnTo>
                  <a:lnTo>
                    <a:pt x="64" y="89"/>
                  </a:lnTo>
                  <a:lnTo>
                    <a:pt x="56" y="91"/>
                  </a:lnTo>
                  <a:lnTo>
                    <a:pt x="48" y="94"/>
                  </a:lnTo>
                  <a:lnTo>
                    <a:pt x="40" y="97"/>
                  </a:lnTo>
                  <a:lnTo>
                    <a:pt x="33" y="101"/>
                  </a:lnTo>
                  <a:lnTo>
                    <a:pt x="27" y="105"/>
                  </a:lnTo>
                  <a:lnTo>
                    <a:pt x="21" y="110"/>
                  </a:lnTo>
                  <a:lnTo>
                    <a:pt x="15" y="115"/>
                  </a:lnTo>
                  <a:lnTo>
                    <a:pt x="11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2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1" y="217"/>
                  </a:lnTo>
                  <a:lnTo>
                    <a:pt x="27" y="222"/>
                  </a:lnTo>
                  <a:lnTo>
                    <a:pt x="33" y="226"/>
                  </a:lnTo>
                  <a:lnTo>
                    <a:pt x="39" y="230"/>
                  </a:lnTo>
                  <a:lnTo>
                    <a:pt x="45" y="233"/>
                  </a:lnTo>
                  <a:lnTo>
                    <a:pt x="52" y="235"/>
                  </a:lnTo>
                  <a:lnTo>
                    <a:pt x="66" y="238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91" y="239"/>
                  </a:lnTo>
                  <a:lnTo>
                    <a:pt x="101" y="237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4"/>
                  </a:lnTo>
                  <a:lnTo>
                    <a:pt x="135" y="219"/>
                  </a:lnTo>
                  <a:lnTo>
                    <a:pt x="143" y="212"/>
                  </a:lnTo>
                  <a:lnTo>
                    <a:pt x="143" y="235"/>
                  </a:lnTo>
                  <a:lnTo>
                    <a:pt x="187" y="235"/>
                  </a:lnTo>
                  <a:close/>
                  <a:moveTo>
                    <a:pt x="143" y="170"/>
                  </a:moveTo>
                  <a:lnTo>
                    <a:pt x="143" y="170"/>
                  </a:lnTo>
                  <a:lnTo>
                    <a:pt x="139" y="175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1" y="190"/>
                  </a:lnTo>
                  <a:lnTo>
                    <a:pt x="113" y="193"/>
                  </a:lnTo>
                  <a:lnTo>
                    <a:pt x="105" y="196"/>
                  </a:lnTo>
                  <a:lnTo>
                    <a:pt x="96" y="198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78" y="198"/>
                  </a:lnTo>
                  <a:lnTo>
                    <a:pt x="69" y="196"/>
                  </a:lnTo>
                  <a:lnTo>
                    <a:pt x="62" y="194"/>
                  </a:lnTo>
                  <a:lnTo>
                    <a:pt x="56" y="190"/>
                  </a:lnTo>
                  <a:lnTo>
                    <a:pt x="56" y="190"/>
                  </a:lnTo>
                  <a:lnTo>
                    <a:pt x="51" y="185"/>
                  </a:lnTo>
                  <a:lnTo>
                    <a:pt x="47" y="178"/>
                  </a:lnTo>
                  <a:lnTo>
                    <a:pt x="45" y="170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53"/>
                  </a:lnTo>
                  <a:lnTo>
                    <a:pt x="47" y="146"/>
                  </a:lnTo>
                  <a:lnTo>
                    <a:pt x="51" y="140"/>
                  </a:lnTo>
                  <a:lnTo>
                    <a:pt x="56" y="135"/>
                  </a:lnTo>
                  <a:lnTo>
                    <a:pt x="63" y="131"/>
                  </a:lnTo>
                  <a:lnTo>
                    <a:pt x="71" y="128"/>
                  </a:lnTo>
                  <a:lnTo>
                    <a:pt x="80" y="126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108" y="126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31" y="131"/>
                  </a:lnTo>
                  <a:lnTo>
                    <a:pt x="143" y="136"/>
                  </a:lnTo>
                  <a:lnTo>
                    <a:pt x="143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8" name="Freeform 227"/>
            <p:cNvSpPr>
              <a:spLocks noEditPoints="1"/>
            </p:cNvSpPr>
            <p:nvPr userDrawn="1"/>
          </p:nvSpPr>
          <p:spPr bwMode="auto">
            <a:xfrm>
              <a:off x="4002088" y="6362701"/>
              <a:ext cx="79375" cy="95250"/>
            </a:xfrm>
            <a:custGeom>
              <a:avLst/>
              <a:gdLst>
                <a:gd name="T0" fmla="*/ 197 w 197"/>
                <a:gd name="T1" fmla="*/ 114 h 239"/>
                <a:gd name="T2" fmla="*/ 196 w 197"/>
                <a:gd name="T3" fmla="*/ 92 h 239"/>
                <a:gd name="T4" fmla="*/ 191 w 197"/>
                <a:gd name="T5" fmla="*/ 70 h 239"/>
                <a:gd name="T6" fmla="*/ 184 w 197"/>
                <a:gd name="T7" fmla="*/ 51 h 239"/>
                <a:gd name="T8" fmla="*/ 173 w 197"/>
                <a:gd name="T9" fmla="*/ 34 h 239"/>
                <a:gd name="T10" fmla="*/ 160 w 197"/>
                <a:gd name="T11" fmla="*/ 20 h 239"/>
                <a:gd name="T12" fmla="*/ 143 w 197"/>
                <a:gd name="T13" fmla="*/ 9 h 239"/>
                <a:gd name="T14" fmla="*/ 123 w 197"/>
                <a:gd name="T15" fmla="*/ 2 h 239"/>
                <a:gd name="T16" fmla="*/ 101 w 197"/>
                <a:gd name="T17" fmla="*/ 0 h 239"/>
                <a:gd name="T18" fmla="*/ 90 w 197"/>
                <a:gd name="T19" fmla="*/ 0 h 239"/>
                <a:gd name="T20" fmla="*/ 69 w 197"/>
                <a:gd name="T21" fmla="*/ 4 h 239"/>
                <a:gd name="T22" fmla="*/ 51 w 197"/>
                <a:gd name="T23" fmla="*/ 12 h 239"/>
                <a:gd name="T24" fmla="*/ 35 w 197"/>
                <a:gd name="T25" fmla="*/ 23 h 239"/>
                <a:gd name="T26" fmla="*/ 22 w 197"/>
                <a:gd name="T27" fmla="*/ 38 h 239"/>
                <a:gd name="T28" fmla="*/ 12 w 197"/>
                <a:gd name="T29" fmla="*/ 57 h 239"/>
                <a:gd name="T30" fmla="*/ 5 w 197"/>
                <a:gd name="T31" fmla="*/ 79 h 239"/>
                <a:gd name="T32" fmla="*/ 1 w 197"/>
                <a:gd name="T33" fmla="*/ 105 h 239"/>
                <a:gd name="T34" fmla="*/ 0 w 197"/>
                <a:gd name="T35" fmla="*/ 119 h 239"/>
                <a:gd name="T36" fmla="*/ 2 w 197"/>
                <a:gd name="T37" fmla="*/ 147 h 239"/>
                <a:gd name="T38" fmla="*/ 9 w 197"/>
                <a:gd name="T39" fmla="*/ 173 h 239"/>
                <a:gd name="T40" fmla="*/ 19 w 197"/>
                <a:gd name="T41" fmla="*/ 193 h 239"/>
                <a:gd name="T42" fmla="*/ 30 w 197"/>
                <a:gd name="T43" fmla="*/ 209 h 239"/>
                <a:gd name="T44" fmla="*/ 37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9 h 239"/>
                <a:gd name="T52" fmla="*/ 99 w 197"/>
                <a:gd name="T53" fmla="*/ 239 h 239"/>
                <a:gd name="T54" fmla="*/ 125 w 197"/>
                <a:gd name="T55" fmla="*/ 237 h 239"/>
                <a:gd name="T56" fmla="*/ 145 w 197"/>
                <a:gd name="T57" fmla="*/ 231 h 239"/>
                <a:gd name="T58" fmla="*/ 154 w 197"/>
                <a:gd name="T59" fmla="*/ 227 h 239"/>
                <a:gd name="T60" fmla="*/ 170 w 197"/>
                <a:gd name="T61" fmla="*/ 217 h 239"/>
                <a:gd name="T62" fmla="*/ 152 w 197"/>
                <a:gd name="T63" fmla="*/ 180 h 239"/>
                <a:gd name="T64" fmla="*/ 139 w 197"/>
                <a:gd name="T65" fmla="*/ 188 h 239"/>
                <a:gd name="T66" fmla="*/ 129 w 197"/>
                <a:gd name="T67" fmla="*/ 194 h 239"/>
                <a:gd name="T68" fmla="*/ 116 w 197"/>
                <a:gd name="T69" fmla="*/ 197 h 239"/>
                <a:gd name="T70" fmla="*/ 102 w 197"/>
                <a:gd name="T71" fmla="*/ 199 h 239"/>
                <a:gd name="T72" fmla="*/ 92 w 197"/>
                <a:gd name="T73" fmla="*/ 198 h 239"/>
                <a:gd name="T74" fmla="*/ 73 w 197"/>
                <a:gd name="T75" fmla="*/ 191 h 239"/>
                <a:gd name="T76" fmla="*/ 58 w 197"/>
                <a:gd name="T77" fmla="*/ 175 h 239"/>
                <a:gd name="T78" fmla="*/ 47 w 197"/>
                <a:gd name="T79" fmla="*/ 151 h 239"/>
                <a:gd name="T80" fmla="*/ 196 w 197"/>
                <a:gd name="T81" fmla="*/ 135 h 239"/>
                <a:gd name="T82" fmla="*/ 196 w 197"/>
                <a:gd name="T83" fmla="*/ 126 h 239"/>
                <a:gd name="T84" fmla="*/ 197 w 197"/>
                <a:gd name="T85" fmla="*/ 114 h 239"/>
                <a:gd name="T86" fmla="*/ 45 w 197"/>
                <a:gd name="T87" fmla="*/ 98 h 239"/>
                <a:gd name="T88" fmla="*/ 51 w 197"/>
                <a:gd name="T89" fmla="*/ 73 h 239"/>
                <a:gd name="T90" fmla="*/ 61 w 197"/>
                <a:gd name="T91" fmla="*/ 55 h 239"/>
                <a:gd name="T92" fmla="*/ 77 w 197"/>
                <a:gd name="T93" fmla="*/ 44 h 239"/>
                <a:gd name="T94" fmla="*/ 98 w 197"/>
                <a:gd name="T95" fmla="*/ 40 h 239"/>
                <a:gd name="T96" fmla="*/ 104 w 197"/>
                <a:gd name="T97" fmla="*/ 41 h 239"/>
                <a:gd name="T98" fmla="*/ 116 w 197"/>
                <a:gd name="T99" fmla="*/ 43 h 239"/>
                <a:gd name="T100" fmla="*/ 126 w 197"/>
                <a:gd name="T101" fmla="*/ 47 h 239"/>
                <a:gd name="T102" fmla="*/ 138 w 197"/>
                <a:gd name="T103" fmla="*/ 57 h 239"/>
                <a:gd name="T104" fmla="*/ 147 w 197"/>
                <a:gd name="T105" fmla="*/ 76 h 239"/>
                <a:gd name="T106" fmla="*/ 152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4"/>
                  </a:moveTo>
                  <a:lnTo>
                    <a:pt x="197" y="114"/>
                  </a:lnTo>
                  <a:lnTo>
                    <a:pt x="197" y="103"/>
                  </a:lnTo>
                  <a:lnTo>
                    <a:pt x="196" y="92"/>
                  </a:lnTo>
                  <a:lnTo>
                    <a:pt x="194" y="81"/>
                  </a:lnTo>
                  <a:lnTo>
                    <a:pt x="191" y="70"/>
                  </a:lnTo>
                  <a:lnTo>
                    <a:pt x="188" y="60"/>
                  </a:lnTo>
                  <a:lnTo>
                    <a:pt x="184" y="51"/>
                  </a:lnTo>
                  <a:lnTo>
                    <a:pt x="179" y="42"/>
                  </a:lnTo>
                  <a:lnTo>
                    <a:pt x="173" y="34"/>
                  </a:lnTo>
                  <a:lnTo>
                    <a:pt x="167" y="26"/>
                  </a:lnTo>
                  <a:lnTo>
                    <a:pt x="160" y="20"/>
                  </a:lnTo>
                  <a:lnTo>
                    <a:pt x="152" y="14"/>
                  </a:lnTo>
                  <a:lnTo>
                    <a:pt x="143" y="9"/>
                  </a:lnTo>
                  <a:lnTo>
                    <a:pt x="134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2" y="38"/>
                  </a:lnTo>
                  <a:lnTo>
                    <a:pt x="16" y="47"/>
                  </a:lnTo>
                  <a:lnTo>
                    <a:pt x="12" y="57"/>
                  </a:lnTo>
                  <a:lnTo>
                    <a:pt x="8" y="68"/>
                  </a:lnTo>
                  <a:lnTo>
                    <a:pt x="5" y="79"/>
                  </a:lnTo>
                  <a:lnTo>
                    <a:pt x="2" y="92"/>
                  </a:lnTo>
                  <a:lnTo>
                    <a:pt x="1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4" y="184"/>
                  </a:lnTo>
                  <a:lnTo>
                    <a:pt x="19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7" y="215"/>
                  </a:lnTo>
                  <a:lnTo>
                    <a:pt x="44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5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7"/>
                  </a:lnTo>
                  <a:lnTo>
                    <a:pt x="178" y="209"/>
                  </a:lnTo>
                  <a:lnTo>
                    <a:pt x="152" y="180"/>
                  </a:lnTo>
                  <a:lnTo>
                    <a:pt x="152" y="180"/>
                  </a:lnTo>
                  <a:lnTo>
                    <a:pt x="139" y="188"/>
                  </a:lnTo>
                  <a:lnTo>
                    <a:pt x="129" y="194"/>
                  </a:lnTo>
                  <a:lnTo>
                    <a:pt x="129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92" y="198"/>
                  </a:lnTo>
                  <a:lnTo>
                    <a:pt x="82" y="195"/>
                  </a:lnTo>
                  <a:lnTo>
                    <a:pt x="73" y="191"/>
                  </a:lnTo>
                  <a:lnTo>
                    <a:pt x="65" y="184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6" y="135"/>
                  </a:lnTo>
                  <a:lnTo>
                    <a:pt x="196" y="135"/>
                  </a:lnTo>
                  <a:lnTo>
                    <a:pt x="196" y="126"/>
                  </a:lnTo>
                  <a:lnTo>
                    <a:pt x="197" y="114"/>
                  </a:lnTo>
                  <a:lnTo>
                    <a:pt x="197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1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7" y="44"/>
                  </a:lnTo>
                  <a:lnTo>
                    <a:pt x="87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8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2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9" name="Freeform 228"/>
            <p:cNvSpPr>
              <a:spLocks/>
            </p:cNvSpPr>
            <p:nvPr userDrawn="1"/>
          </p:nvSpPr>
          <p:spPr bwMode="auto">
            <a:xfrm>
              <a:off x="4100513" y="6365876"/>
              <a:ext cx="88900" cy="92075"/>
            </a:xfrm>
            <a:custGeom>
              <a:avLst/>
              <a:gdLst>
                <a:gd name="T0" fmla="*/ 226 w 226"/>
                <a:gd name="T1" fmla="*/ 230 h 233"/>
                <a:gd name="T2" fmla="*/ 226 w 226"/>
                <a:gd name="T3" fmla="*/ 0 h 233"/>
                <a:gd name="T4" fmla="*/ 177 w 226"/>
                <a:gd name="T5" fmla="*/ 0 h 233"/>
                <a:gd name="T6" fmla="*/ 128 w 226"/>
                <a:gd name="T7" fmla="*/ 111 h 233"/>
                <a:gd name="T8" fmla="*/ 128 w 226"/>
                <a:gd name="T9" fmla="*/ 111 h 233"/>
                <a:gd name="T10" fmla="*/ 113 w 226"/>
                <a:gd name="T11" fmla="*/ 151 h 233"/>
                <a:gd name="T12" fmla="*/ 113 w 226"/>
                <a:gd name="T13" fmla="*/ 151 h 233"/>
                <a:gd name="T14" fmla="*/ 107 w 226"/>
                <a:gd name="T15" fmla="*/ 132 h 233"/>
                <a:gd name="T16" fmla="*/ 98 w 226"/>
                <a:gd name="T17" fmla="*/ 111 h 233"/>
                <a:gd name="T18" fmla="*/ 49 w 226"/>
                <a:gd name="T19" fmla="*/ 0 h 233"/>
                <a:gd name="T20" fmla="*/ 0 w 226"/>
                <a:gd name="T21" fmla="*/ 0 h 233"/>
                <a:gd name="T22" fmla="*/ 0 w 226"/>
                <a:gd name="T23" fmla="*/ 230 h 233"/>
                <a:gd name="T24" fmla="*/ 43 w 226"/>
                <a:gd name="T25" fmla="*/ 230 h 233"/>
                <a:gd name="T26" fmla="*/ 43 w 226"/>
                <a:gd name="T27" fmla="*/ 110 h 233"/>
                <a:gd name="T28" fmla="*/ 43 w 226"/>
                <a:gd name="T29" fmla="*/ 110 h 233"/>
                <a:gd name="T30" fmla="*/ 42 w 226"/>
                <a:gd name="T31" fmla="*/ 69 h 233"/>
                <a:gd name="T32" fmla="*/ 42 w 226"/>
                <a:gd name="T33" fmla="*/ 69 h 233"/>
                <a:gd name="T34" fmla="*/ 48 w 226"/>
                <a:gd name="T35" fmla="*/ 85 h 233"/>
                <a:gd name="T36" fmla="*/ 57 w 226"/>
                <a:gd name="T37" fmla="*/ 106 h 233"/>
                <a:gd name="T38" fmla="*/ 112 w 226"/>
                <a:gd name="T39" fmla="*/ 233 h 233"/>
                <a:gd name="T40" fmla="*/ 167 w 226"/>
                <a:gd name="T41" fmla="*/ 106 h 233"/>
                <a:gd name="T42" fmla="*/ 167 w 226"/>
                <a:gd name="T43" fmla="*/ 106 h 233"/>
                <a:gd name="T44" fmla="*/ 176 w 226"/>
                <a:gd name="T45" fmla="*/ 85 h 233"/>
                <a:gd name="T46" fmla="*/ 182 w 226"/>
                <a:gd name="T47" fmla="*/ 69 h 233"/>
                <a:gd name="T48" fmla="*/ 182 w 226"/>
                <a:gd name="T49" fmla="*/ 69 h 233"/>
                <a:gd name="T50" fmla="*/ 181 w 226"/>
                <a:gd name="T51" fmla="*/ 110 h 233"/>
                <a:gd name="T52" fmla="*/ 181 w 226"/>
                <a:gd name="T53" fmla="*/ 230 h 233"/>
                <a:gd name="T54" fmla="*/ 226 w 226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6" h="233">
                  <a:moveTo>
                    <a:pt x="226" y="230"/>
                  </a:moveTo>
                  <a:lnTo>
                    <a:pt x="226" y="0"/>
                  </a:lnTo>
                  <a:lnTo>
                    <a:pt x="177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7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76" y="85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1" y="110"/>
                  </a:lnTo>
                  <a:lnTo>
                    <a:pt x="181" y="230"/>
                  </a:lnTo>
                  <a:lnTo>
                    <a:pt x="226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30" name="Freeform 229"/>
            <p:cNvSpPr>
              <a:spLocks/>
            </p:cNvSpPr>
            <p:nvPr userDrawn="1"/>
          </p:nvSpPr>
          <p:spPr bwMode="auto">
            <a:xfrm>
              <a:off x="4256088" y="6365876"/>
              <a:ext cx="88900" cy="92075"/>
            </a:xfrm>
            <a:custGeom>
              <a:avLst/>
              <a:gdLst>
                <a:gd name="T0" fmla="*/ 227 w 227"/>
                <a:gd name="T1" fmla="*/ 230 h 233"/>
                <a:gd name="T2" fmla="*/ 227 w 227"/>
                <a:gd name="T3" fmla="*/ 0 h 233"/>
                <a:gd name="T4" fmla="*/ 178 w 227"/>
                <a:gd name="T5" fmla="*/ 0 h 233"/>
                <a:gd name="T6" fmla="*/ 128 w 227"/>
                <a:gd name="T7" fmla="*/ 111 h 233"/>
                <a:gd name="T8" fmla="*/ 128 w 227"/>
                <a:gd name="T9" fmla="*/ 111 h 233"/>
                <a:gd name="T10" fmla="*/ 113 w 227"/>
                <a:gd name="T11" fmla="*/ 151 h 233"/>
                <a:gd name="T12" fmla="*/ 113 w 227"/>
                <a:gd name="T13" fmla="*/ 151 h 233"/>
                <a:gd name="T14" fmla="*/ 106 w 227"/>
                <a:gd name="T15" fmla="*/ 132 h 233"/>
                <a:gd name="T16" fmla="*/ 98 w 227"/>
                <a:gd name="T17" fmla="*/ 111 h 233"/>
                <a:gd name="T18" fmla="*/ 49 w 227"/>
                <a:gd name="T19" fmla="*/ 0 h 233"/>
                <a:gd name="T20" fmla="*/ 0 w 227"/>
                <a:gd name="T21" fmla="*/ 0 h 233"/>
                <a:gd name="T22" fmla="*/ 0 w 227"/>
                <a:gd name="T23" fmla="*/ 230 h 233"/>
                <a:gd name="T24" fmla="*/ 43 w 227"/>
                <a:gd name="T25" fmla="*/ 230 h 233"/>
                <a:gd name="T26" fmla="*/ 43 w 227"/>
                <a:gd name="T27" fmla="*/ 110 h 233"/>
                <a:gd name="T28" fmla="*/ 43 w 227"/>
                <a:gd name="T29" fmla="*/ 110 h 233"/>
                <a:gd name="T30" fmla="*/ 42 w 227"/>
                <a:gd name="T31" fmla="*/ 69 h 233"/>
                <a:gd name="T32" fmla="*/ 42 w 227"/>
                <a:gd name="T33" fmla="*/ 69 h 233"/>
                <a:gd name="T34" fmla="*/ 48 w 227"/>
                <a:gd name="T35" fmla="*/ 85 h 233"/>
                <a:gd name="T36" fmla="*/ 57 w 227"/>
                <a:gd name="T37" fmla="*/ 106 h 233"/>
                <a:gd name="T38" fmla="*/ 112 w 227"/>
                <a:gd name="T39" fmla="*/ 233 h 233"/>
                <a:gd name="T40" fmla="*/ 167 w 227"/>
                <a:gd name="T41" fmla="*/ 106 h 233"/>
                <a:gd name="T42" fmla="*/ 167 w 227"/>
                <a:gd name="T43" fmla="*/ 106 h 233"/>
                <a:gd name="T44" fmla="*/ 177 w 227"/>
                <a:gd name="T45" fmla="*/ 85 h 233"/>
                <a:gd name="T46" fmla="*/ 183 w 227"/>
                <a:gd name="T47" fmla="*/ 69 h 233"/>
                <a:gd name="T48" fmla="*/ 183 w 227"/>
                <a:gd name="T49" fmla="*/ 69 h 233"/>
                <a:gd name="T50" fmla="*/ 182 w 227"/>
                <a:gd name="T51" fmla="*/ 110 h 233"/>
                <a:gd name="T52" fmla="*/ 182 w 227"/>
                <a:gd name="T53" fmla="*/ 230 h 233"/>
                <a:gd name="T54" fmla="*/ 227 w 227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7" h="233">
                  <a:moveTo>
                    <a:pt x="227" y="230"/>
                  </a:moveTo>
                  <a:lnTo>
                    <a:pt x="227" y="0"/>
                  </a:lnTo>
                  <a:lnTo>
                    <a:pt x="178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6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77" y="85"/>
                  </a:lnTo>
                  <a:lnTo>
                    <a:pt x="183" y="69"/>
                  </a:lnTo>
                  <a:lnTo>
                    <a:pt x="183" y="69"/>
                  </a:lnTo>
                  <a:lnTo>
                    <a:pt x="182" y="110"/>
                  </a:lnTo>
                  <a:lnTo>
                    <a:pt x="182" y="230"/>
                  </a:lnTo>
                  <a:lnTo>
                    <a:pt x="227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31" name="Freeform 230"/>
            <p:cNvSpPr>
              <a:spLocks/>
            </p:cNvSpPr>
            <p:nvPr userDrawn="1"/>
          </p:nvSpPr>
          <p:spPr bwMode="auto">
            <a:xfrm>
              <a:off x="4368800" y="6365876"/>
              <a:ext cx="74613" cy="90488"/>
            </a:xfrm>
            <a:custGeom>
              <a:avLst/>
              <a:gdLst>
                <a:gd name="T0" fmla="*/ 0 w 186"/>
                <a:gd name="T1" fmla="*/ 0 h 230"/>
                <a:gd name="T2" fmla="*/ 0 w 186"/>
                <a:gd name="T3" fmla="*/ 230 h 230"/>
                <a:gd name="T4" fmla="*/ 45 w 186"/>
                <a:gd name="T5" fmla="*/ 230 h 230"/>
                <a:gd name="T6" fmla="*/ 124 w 186"/>
                <a:gd name="T7" fmla="*/ 101 h 230"/>
                <a:gd name="T8" fmla="*/ 124 w 186"/>
                <a:gd name="T9" fmla="*/ 101 h 230"/>
                <a:gd name="T10" fmla="*/ 142 w 186"/>
                <a:gd name="T11" fmla="*/ 72 h 230"/>
                <a:gd name="T12" fmla="*/ 142 w 186"/>
                <a:gd name="T13" fmla="*/ 72 h 230"/>
                <a:gd name="T14" fmla="*/ 141 w 186"/>
                <a:gd name="T15" fmla="*/ 120 h 230"/>
                <a:gd name="T16" fmla="*/ 141 w 186"/>
                <a:gd name="T17" fmla="*/ 230 h 230"/>
                <a:gd name="T18" fmla="*/ 186 w 186"/>
                <a:gd name="T19" fmla="*/ 230 h 230"/>
                <a:gd name="T20" fmla="*/ 186 w 186"/>
                <a:gd name="T21" fmla="*/ 0 h 230"/>
                <a:gd name="T22" fmla="*/ 141 w 186"/>
                <a:gd name="T23" fmla="*/ 0 h 230"/>
                <a:gd name="T24" fmla="*/ 62 w 186"/>
                <a:gd name="T25" fmla="*/ 127 h 230"/>
                <a:gd name="T26" fmla="*/ 62 w 186"/>
                <a:gd name="T27" fmla="*/ 127 h 230"/>
                <a:gd name="T28" fmla="*/ 52 w 186"/>
                <a:gd name="T29" fmla="*/ 143 h 230"/>
                <a:gd name="T30" fmla="*/ 44 w 186"/>
                <a:gd name="T31" fmla="*/ 158 h 230"/>
                <a:gd name="T32" fmla="*/ 44 w 186"/>
                <a:gd name="T33" fmla="*/ 158 h 230"/>
                <a:gd name="T34" fmla="*/ 45 w 186"/>
                <a:gd name="T35" fmla="*/ 108 h 230"/>
                <a:gd name="T36" fmla="*/ 45 w 186"/>
                <a:gd name="T37" fmla="*/ 0 h 230"/>
                <a:gd name="T38" fmla="*/ 0 w 186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6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4" y="101"/>
                  </a:lnTo>
                  <a:lnTo>
                    <a:pt x="124" y="101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1" y="120"/>
                  </a:lnTo>
                  <a:lnTo>
                    <a:pt x="141" y="230"/>
                  </a:lnTo>
                  <a:lnTo>
                    <a:pt x="186" y="230"/>
                  </a:lnTo>
                  <a:lnTo>
                    <a:pt x="186" y="0"/>
                  </a:lnTo>
                  <a:lnTo>
                    <a:pt x="141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32" name="Freeform 231"/>
            <p:cNvSpPr>
              <a:spLocks noEditPoints="1"/>
            </p:cNvSpPr>
            <p:nvPr userDrawn="1"/>
          </p:nvSpPr>
          <p:spPr bwMode="auto">
            <a:xfrm>
              <a:off x="4465638" y="6362701"/>
              <a:ext cx="76200" cy="127000"/>
            </a:xfrm>
            <a:custGeom>
              <a:avLst/>
              <a:gdLst>
                <a:gd name="T0" fmla="*/ 194 w 194"/>
                <a:gd name="T1" fmla="*/ 123 h 319"/>
                <a:gd name="T2" fmla="*/ 192 w 194"/>
                <a:gd name="T3" fmla="*/ 92 h 319"/>
                <a:gd name="T4" fmla="*/ 187 w 194"/>
                <a:gd name="T5" fmla="*/ 67 h 319"/>
                <a:gd name="T6" fmla="*/ 179 w 194"/>
                <a:gd name="T7" fmla="*/ 45 h 319"/>
                <a:gd name="T8" fmla="*/ 168 w 194"/>
                <a:gd name="T9" fmla="*/ 28 h 319"/>
                <a:gd name="T10" fmla="*/ 155 w 194"/>
                <a:gd name="T11" fmla="*/ 16 h 319"/>
                <a:gd name="T12" fmla="*/ 140 w 194"/>
                <a:gd name="T13" fmla="*/ 7 h 319"/>
                <a:gd name="T14" fmla="*/ 123 w 194"/>
                <a:gd name="T15" fmla="*/ 2 h 319"/>
                <a:gd name="T16" fmla="*/ 105 w 194"/>
                <a:gd name="T17" fmla="*/ 0 h 319"/>
                <a:gd name="T18" fmla="*/ 96 w 194"/>
                <a:gd name="T19" fmla="*/ 0 h 319"/>
                <a:gd name="T20" fmla="*/ 79 w 194"/>
                <a:gd name="T21" fmla="*/ 4 h 319"/>
                <a:gd name="T22" fmla="*/ 65 w 194"/>
                <a:gd name="T23" fmla="*/ 11 h 319"/>
                <a:gd name="T24" fmla="*/ 45 w 194"/>
                <a:gd name="T25" fmla="*/ 26 h 319"/>
                <a:gd name="T26" fmla="*/ 0 w 194"/>
                <a:gd name="T27" fmla="*/ 5 h 319"/>
                <a:gd name="T28" fmla="*/ 45 w 194"/>
                <a:gd name="T29" fmla="*/ 296 h 319"/>
                <a:gd name="T30" fmla="*/ 45 w 194"/>
                <a:gd name="T31" fmla="*/ 213 h 319"/>
                <a:gd name="T32" fmla="*/ 58 w 194"/>
                <a:gd name="T33" fmla="*/ 225 h 319"/>
                <a:gd name="T34" fmla="*/ 72 w 194"/>
                <a:gd name="T35" fmla="*/ 233 h 319"/>
                <a:gd name="T36" fmla="*/ 87 w 194"/>
                <a:gd name="T37" fmla="*/ 238 h 319"/>
                <a:gd name="T38" fmla="*/ 102 w 194"/>
                <a:gd name="T39" fmla="*/ 239 h 319"/>
                <a:gd name="T40" fmla="*/ 111 w 194"/>
                <a:gd name="T41" fmla="*/ 239 h 319"/>
                <a:gd name="T42" fmla="*/ 129 w 194"/>
                <a:gd name="T43" fmla="*/ 235 h 319"/>
                <a:gd name="T44" fmla="*/ 145 w 194"/>
                <a:gd name="T45" fmla="*/ 228 h 319"/>
                <a:gd name="T46" fmla="*/ 160 w 194"/>
                <a:gd name="T47" fmla="*/ 218 h 319"/>
                <a:gd name="T48" fmla="*/ 172 w 194"/>
                <a:gd name="T49" fmla="*/ 203 h 319"/>
                <a:gd name="T50" fmla="*/ 182 w 194"/>
                <a:gd name="T51" fmla="*/ 185 h 319"/>
                <a:gd name="T52" fmla="*/ 189 w 194"/>
                <a:gd name="T53" fmla="*/ 164 h 319"/>
                <a:gd name="T54" fmla="*/ 193 w 194"/>
                <a:gd name="T55" fmla="*/ 137 h 319"/>
                <a:gd name="T56" fmla="*/ 194 w 194"/>
                <a:gd name="T57" fmla="*/ 123 h 319"/>
                <a:gd name="T58" fmla="*/ 149 w 194"/>
                <a:gd name="T59" fmla="*/ 124 h 319"/>
                <a:gd name="T60" fmla="*/ 146 w 194"/>
                <a:gd name="T61" fmla="*/ 157 h 319"/>
                <a:gd name="T62" fmla="*/ 139 w 194"/>
                <a:gd name="T63" fmla="*/ 175 h 319"/>
                <a:gd name="T64" fmla="*/ 133 w 194"/>
                <a:gd name="T65" fmla="*/ 184 h 319"/>
                <a:gd name="T66" fmla="*/ 125 w 194"/>
                <a:gd name="T67" fmla="*/ 191 h 319"/>
                <a:gd name="T68" fmla="*/ 116 w 194"/>
                <a:gd name="T69" fmla="*/ 195 h 319"/>
                <a:gd name="T70" fmla="*/ 104 w 194"/>
                <a:gd name="T71" fmla="*/ 198 h 319"/>
                <a:gd name="T72" fmla="*/ 98 w 194"/>
                <a:gd name="T73" fmla="*/ 198 h 319"/>
                <a:gd name="T74" fmla="*/ 81 w 194"/>
                <a:gd name="T75" fmla="*/ 195 h 319"/>
                <a:gd name="T76" fmla="*/ 66 w 194"/>
                <a:gd name="T77" fmla="*/ 188 h 319"/>
                <a:gd name="T78" fmla="*/ 54 w 194"/>
                <a:gd name="T79" fmla="*/ 178 h 319"/>
                <a:gd name="T80" fmla="*/ 44 w 194"/>
                <a:gd name="T81" fmla="*/ 168 h 319"/>
                <a:gd name="T82" fmla="*/ 44 w 194"/>
                <a:gd name="T83" fmla="*/ 70 h 319"/>
                <a:gd name="T84" fmla="*/ 56 w 194"/>
                <a:gd name="T85" fmla="*/ 58 h 319"/>
                <a:gd name="T86" fmla="*/ 69 w 194"/>
                <a:gd name="T87" fmla="*/ 49 h 319"/>
                <a:gd name="T88" fmla="*/ 82 w 194"/>
                <a:gd name="T89" fmla="*/ 43 h 319"/>
                <a:gd name="T90" fmla="*/ 96 w 194"/>
                <a:gd name="T91" fmla="*/ 41 h 319"/>
                <a:gd name="T92" fmla="*/ 102 w 194"/>
                <a:gd name="T93" fmla="*/ 42 h 319"/>
                <a:gd name="T94" fmla="*/ 113 w 194"/>
                <a:gd name="T95" fmla="*/ 44 h 319"/>
                <a:gd name="T96" fmla="*/ 124 w 194"/>
                <a:gd name="T97" fmla="*/ 49 h 319"/>
                <a:gd name="T98" fmla="*/ 132 w 194"/>
                <a:gd name="T99" fmla="*/ 56 h 319"/>
                <a:gd name="T100" fmla="*/ 138 w 194"/>
                <a:gd name="T101" fmla="*/ 67 h 319"/>
                <a:gd name="T102" fmla="*/ 145 w 194"/>
                <a:gd name="T103" fmla="*/ 87 h 319"/>
                <a:gd name="T104" fmla="*/ 149 w 194"/>
                <a:gd name="T105" fmla="*/ 124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" h="319">
                  <a:moveTo>
                    <a:pt x="194" y="123"/>
                  </a:moveTo>
                  <a:lnTo>
                    <a:pt x="194" y="123"/>
                  </a:lnTo>
                  <a:lnTo>
                    <a:pt x="193" y="107"/>
                  </a:lnTo>
                  <a:lnTo>
                    <a:pt x="192" y="92"/>
                  </a:lnTo>
                  <a:lnTo>
                    <a:pt x="190" y="79"/>
                  </a:lnTo>
                  <a:lnTo>
                    <a:pt x="187" y="67"/>
                  </a:lnTo>
                  <a:lnTo>
                    <a:pt x="183" y="55"/>
                  </a:lnTo>
                  <a:lnTo>
                    <a:pt x="179" y="45"/>
                  </a:lnTo>
                  <a:lnTo>
                    <a:pt x="174" y="36"/>
                  </a:lnTo>
                  <a:lnTo>
                    <a:pt x="168" y="28"/>
                  </a:lnTo>
                  <a:lnTo>
                    <a:pt x="162" y="22"/>
                  </a:lnTo>
                  <a:lnTo>
                    <a:pt x="155" y="16"/>
                  </a:lnTo>
                  <a:lnTo>
                    <a:pt x="148" y="11"/>
                  </a:lnTo>
                  <a:lnTo>
                    <a:pt x="140" y="7"/>
                  </a:lnTo>
                  <a:lnTo>
                    <a:pt x="132" y="4"/>
                  </a:lnTo>
                  <a:lnTo>
                    <a:pt x="123" y="2"/>
                  </a:lnTo>
                  <a:lnTo>
                    <a:pt x="114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96" y="0"/>
                  </a:lnTo>
                  <a:lnTo>
                    <a:pt x="87" y="2"/>
                  </a:lnTo>
                  <a:lnTo>
                    <a:pt x="79" y="4"/>
                  </a:lnTo>
                  <a:lnTo>
                    <a:pt x="72" y="7"/>
                  </a:lnTo>
                  <a:lnTo>
                    <a:pt x="65" y="11"/>
                  </a:lnTo>
                  <a:lnTo>
                    <a:pt x="58" y="16"/>
                  </a:lnTo>
                  <a:lnTo>
                    <a:pt x="45" y="26"/>
                  </a:lnTo>
                  <a:lnTo>
                    <a:pt x="45" y="5"/>
                  </a:lnTo>
                  <a:lnTo>
                    <a:pt x="0" y="5"/>
                  </a:lnTo>
                  <a:lnTo>
                    <a:pt x="0" y="319"/>
                  </a:lnTo>
                  <a:lnTo>
                    <a:pt x="45" y="296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51" y="219"/>
                  </a:lnTo>
                  <a:lnTo>
                    <a:pt x="58" y="225"/>
                  </a:lnTo>
                  <a:lnTo>
                    <a:pt x="65" y="229"/>
                  </a:lnTo>
                  <a:lnTo>
                    <a:pt x="72" y="233"/>
                  </a:lnTo>
                  <a:lnTo>
                    <a:pt x="80" y="236"/>
                  </a:lnTo>
                  <a:lnTo>
                    <a:pt x="87" y="238"/>
                  </a:lnTo>
                  <a:lnTo>
                    <a:pt x="95" y="239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11" y="239"/>
                  </a:lnTo>
                  <a:lnTo>
                    <a:pt x="121" y="238"/>
                  </a:lnTo>
                  <a:lnTo>
                    <a:pt x="129" y="235"/>
                  </a:lnTo>
                  <a:lnTo>
                    <a:pt x="138" y="232"/>
                  </a:lnTo>
                  <a:lnTo>
                    <a:pt x="145" y="228"/>
                  </a:lnTo>
                  <a:lnTo>
                    <a:pt x="153" y="223"/>
                  </a:lnTo>
                  <a:lnTo>
                    <a:pt x="160" y="218"/>
                  </a:lnTo>
                  <a:lnTo>
                    <a:pt x="166" y="211"/>
                  </a:lnTo>
                  <a:lnTo>
                    <a:pt x="172" y="203"/>
                  </a:lnTo>
                  <a:lnTo>
                    <a:pt x="178" y="195"/>
                  </a:lnTo>
                  <a:lnTo>
                    <a:pt x="182" y="185"/>
                  </a:lnTo>
                  <a:lnTo>
                    <a:pt x="186" y="175"/>
                  </a:lnTo>
                  <a:lnTo>
                    <a:pt x="189" y="164"/>
                  </a:lnTo>
                  <a:lnTo>
                    <a:pt x="192" y="151"/>
                  </a:lnTo>
                  <a:lnTo>
                    <a:pt x="193" y="137"/>
                  </a:lnTo>
                  <a:lnTo>
                    <a:pt x="194" y="123"/>
                  </a:lnTo>
                  <a:lnTo>
                    <a:pt x="194" y="123"/>
                  </a:lnTo>
                  <a:close/>
                  <a:moveTo>
                    <a:pt x="149" y="124"/>
                  </a:moveTo>
                  <a:lnTo>
                    <a:pt x="149" y="124"/>
                  </a:lnTo>
                  <a:lnTo>
                    <a:pt x="148" y="141"/>
                  </a:lnTo>
                  <a:lnTo>
                    <a:pt x="146" y="157"/>
                  </a:lnTo>
                  <a:lnTo>
                    <a:pt x="142" y="169"/>
                  </a:lnTo>
                  <a:lnTo>
                    <a:pt x="139" y="175"/>
                  </a:lnTo>
                  <a:lnTo>
                    <a:pt x="136" y="180"/>
                  </a:lnTo>
                  <a:lnTo>
                    <a:pt x="133" y="184"/>
                  </a:lnTo>
                  <a:lnTo>
                    <a:pt x="129" y="188"/>
                  </a:lnTo>
                  <a:lnTo>
                    <a:pt x="125" y="191"/>
                  </a:lnTo>
                  <a:lnTo>
                    <a:pt x="121" y="193"/>
                  </a:lnTo>
                  <a:lnTo>
                    <a:pt x="116" y="195"/>
                  </a:lnTo>
                  <a:lnTo>
                    <a:pt x="110" y="197"/>
                  </a:lnTo>
                  <a:lnTo>
                    <a:pt x="104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0" y="197"/>
                  </a:lnTo>
                  <a:lnTo>
                    <a:pt x="81" y="195"/>
                  </a:lnTo>
                  <a:lnTo>
                    <a:pt x="74" y="192"/>
                  </a:lnTo>
                  <a:lnTo>
                    <a:pt x="66" y="188"/>
                  </a:lnTo>
                  <a:lnTo>
                    <a:pt x="60" y="183"/>
                  </a:lnTo>
                  <a:lnTo>
                    <a:pt x="54" y="178"/>
                  </a:lnTo>
                  <a:lnTo>
                    <a:pt x="49" y="173"/>
                  </a:lnTo>
                  <a:lnTo>
                    <a:pt x="44" y="168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50" y="64"/>
                  </a:lnTo>
                  <a:lnTo>
                    <a:pt x="56" y="58"/>
                  </a:lnTo>
                  <a:lnTo>
                    <a:pt x="62" y="53"/>
                  </a:lnTo>
                  <a:lnTo>
                    <a:pt x="69" y="49"/>
                  </a:lnTo>
                  <a:lnTo>
                    <a:pt x="75" y="46"/>
                  </a:lnTo>
                  <a:lnTo>
                    <a:pt x="82" y="43"/>
                  </a:lnTo>
                  <a:lnTo>
                    <a:pt x="89" y="42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4" y="49"/>
                  </a:lnTo>
                  <a:lnTo>
                    <a:pt x="128" y="52"/>
                  </a:lnTo>
                  <a:lnTo>
                    <a:pt x="132" y="56"/>
                  </a:lnTo>
                  <a:lnTo>
                    <a:pt x="135" y="61"/>
                  </a:lnTo>
                  <a:lnTo>
                    <a:pt x="138" y="67"/>
                  </a:lnTo>
                  <a:lnTo>
                    <a:pt x="141" y="73"/>
                  </a:lnTo>
                  <a:lnTo>
                    <a:pt x="145" y="87"/>
                  </a:lnTo>
                  <a:lnTo>
                    <a:pt x="148" y="104"/>
                  </a:lnTo>
                  <a:lnTo>
                    <a:pt x="149" y="124"/>
                  </a:lnTo>
                  <a:lnTo>
                    <a:pt x="149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33" name="Freeform 232"/>
            <p:cNvSpPr>
              <a:spLocks/>
            </p:cNvSpPr>
            <p:nvPr userDrawn="1"/>
          </p:nvSpPr>
          <p:spPr bwMode="auto">
            <a:xfrm>
              <a:off x="4560888" y="6430963"/>
              <a:ext cx="26988" cy="26988"/>
            </a:xfrm>
            <a:custGeom>
              <a:avLst/>
              <a:gdLst>
                <a:gd name="T0" fmla="*/ 68 w 68"/>
                <a:gd name="T1" fmla="*/ 35 h 69"/>
                <a:gd name="T2" fmla="*/ 68 w 68"/>
                <a:gd name="T3" fmla="*/ 35 h 69"/>
                <a:gd name="T4" fmla="*/ 68 w 68"/>
                <a:gd name="T5" fmla="*/ 28 h 69"/>
                <a:gd name="T6" fmla="*/ 66 w 68"/>
                <a:gd name="T7" fmla="*/ 21 h 69"/>
                <a:gd name="T8" fmla="*/ 63 w 68"/>
                <a:gd name="T9" fmla="*/ 15 h 69"/>
                <a:gd name="T10" fmla="*/ 58 w 68"/>
                <a:gd name="T11" fmla="*/ 10 h 69"/>
                <a:gd name="T12" fmla="*/ 53 w 68"/>
                <a:gd name="T13" fmla="*/ 6 h 69"/>
                <a:gd name="T14" fmla="*/ 47 w 68"/>
                <a:gd name="T15" fmla="*/ 3 h 69"/>
                <a:gd name="T16" fmla="*/ 41 w 68"/>
                <a:gd name="T17" fmla="*/ 1 h 69"/>
                <a:gd name="T18" fmla="*/ 34 w 68"/>
                <a:gd name="T19" fmla="*/ 0 h 69"/>
                <a:gd name="T20" fmla="*/ 34 w 68"/>
                <a:gd name="T21" fmla="*/ 0 h 69"/>
                <a:gd name="T22" fmla="*/ 27 w 68"/>
                <a:gd name="T23" fmla="*/ 1 h 69"/>
                <a:gd name="T24" fmla="*/ 20 w 68"/>
                <a:gd name="T25" fmla="*/ 3 h 69"/>
                <a:gd name="T26" fmla="*/ 14 w 68"/>
                <a:gd name="T27" fmla="*/ 6 h 69"/>
                <a:gd name="T28" fmla="*/ 9 w 68"/>
                <a:gd name="T29" fmla="*/ 10 h 69"/>
                <a:gd name="T30" fmla="*/ 5 w 68"/>
                <a:gd name="T31" fmla="*/ 15 h 69"/>
                <a:gd name="T32" fmla="*/ 2 w 68"/>
                <a:gd name="T33" fmla="*/ 21 h 69"/>
                <a:gd name="T34" fmla="*/ 0 w 68"/>
                <a:gd name="T35" fmla="*/ 28 h 69"/>
                <a:gd name="T36" fmla="*/ 0 w 68"/>
                <a:gd name="T37" fmla="*/ 35 h 69"/>
                <a:gd name="T38" fmla="*/ 0 w 68"/>
                <a:gd name="T39" fmla="*/ 35 h 69"/>
                <a:gd name="T40" fmla="*/ 0 w 68"/>
                <a:gd name="T41" fmla="*/ 42 h 69"/>
                <a:gd name="T42" fmla="*/ 2 w 68"/>
                <a:gd name="T43" fmla="*/ 49 h 69"/>
                <a:gd name="T44" fmla="*/ 5 w 68"/>
                <a:gd name="T45" fmla="*/ 54 h 69"/>
                <a:gd name="T46" fmla="*/ 9 w 68"/>
                <a:gd name="T47" fmla="*/ 59 h 69"/>
                <a:gd name="T48" fmla="*/ 14 w 68"/>
                <a:gd name="T49" fmla="*/ 64 h 69"/>
                <a:gd name="T50" fmla="*/ 20 w 68"/>
                <a:gd name="T51" fmla="*/ 67 h 69"/>
                <a:gd name="T52" fmla="*/ 27 w 68"/>
                <a:gd name="T53" fmla="*/ 69 h 69"/>
                <a:gd name="T54" fmla="*/ 34 w 68"/>
                <a:gd name="T55" fmla="*/ 69 h 69"/>
                <a:gd name="T56" fmla="*/ 34 w 68"/>
                <a:gd name="T57" fmla="*/ 69 h 69"/>
                <a:gd name="T58" fmla="*/ 41 w 68"/>
                <a:gd name="T59" fmla="*/ 69 h 69"/>
                <a:gd name="T60" fmla="*/ 47 w 68"/>
                <a:gd name="T61" fmla="*/ 67 h 69"/>
                <a:gd name="T62" fmla="*/ 53 w 68"/>
                <a:gd name="T63" fmla="*/ 64 h 69"/>
                <a:gd name="T64" fmla="*/ 58 w 68"/>
                <a:gd name="T65" fmla="*/ 59 h 69"/>
                <a:gd name="T66" fmla="*/ 63 w 68"/>
                <a:gd name="T67" fmla="*/ 54 h 69"/>
                <a:gd name="T68" fmla="*/ 66 w 68"/>
                <a:gd name="T69" fmla="*/ 49 h 69"/>
                <a:gd name="T70" fmla="*/ 68 w 68"/>
                <a:gd name="T71" fmla="*/ 42 h 69"/>
                <a:gd name="T72" fmla="*/ 68 w 68"/>
                <a:gd name="T73" fmla="*/ 35 h 69"/>
                <a:gd name="T74" fmla="*/ 68 w 68"/>
                <a:gd name="T75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8" h="69">
                  <a:moveTo>
                    <a:pt x="68" y="35"/>
                  </a:moveTo>
                  <a:lnTo>
                    <a:pt x="68" y="35"/>
                  </a:lnTo>
                  <a:lnTo>
                    <a:pt x="68" y="28"/>
                  </a:lnTo>
                  <a:lnTo>
                    <a:pt x="66" y="21"/>
                  </a:lnTo>
                  <a:lnTo>
                    <a:pt x="63" y="15"/>
                  </a:lnTo>
                  <a:lnTo>
                    <a:pt x="58" y="10"/>
                  </a:lnTo>
                  <a:lnTo>
                    <a:pt x="53" y="6"/>
                  </a:lnTo>
                  <a:lnTo>
                    <a:pt x="47" y="3"/>
                  </a:lnTo>
                  <a:lnTo>
                    <a:pt x="41" y="1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7" y="1"/>
                  </a:lnTo>
                  <a:lnTo>
                    <a:pt x="20" y="3"/>
                  </a:lnTo>
                  <a:lnTo>
                    <a:pt x="14" y="6"/>
                  </a:lnTo>
                  <a:lnTo>
                    <a:pt x="9" y="10"/>
                  </a:lnTo>
                  <a:lnTo>
                    <a:pt x="5" y="15"/>
                  </a:lnTo>
                  <a:lnTo>
                    <a:pt x="2" y="21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42"/>
                  </a:lnTo>
                  <a:lnTo>
                    <a:pt x="2" y="49"/>
                  </a:lnTo>
                  <a:lnTo>
                    <a:pt x="5" y="54"/>
                  </a:lnTo>
                  <a:lnTo>
                    <a:pt x="9" y="59"/>
                  </a:lnTo>
                  <a:lnTo>
                    <a:pt x="14" y="64"/>
                  </a:lnTo>
                  <a:lnTo>
                    <a:pt x="20" y="67"/>
                  </a:lnTo>
                  <a:lnTo>
                    <a:pt x="27" y="69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41" y="69"/>
                  </a:lnTo>
                  <a:lnTo>
                    <a:pt x="47" y="67"/>
                  </a:lnTo>
                  <a:lnTo>
                    <a:pt x="53" y="64"/>
                  </a:lnTo>
                  <a:lnTo>
                    <a:pt x="58" y="59"/>
                  </a:lnTo>
                  <a:lnTo>
                    <a:pt x="63" y="54"/>
                  </a:lnTo>
                  <a:lnTo>
                    <a:pt x="66" y="49"/>
                  </a:lnTo>
                  <a:lnTo>
                    <a:pt x="68" y="42"/>
                  </a:lnTo>
                  <a:lnTo>
                    <a:pt x="68" y="35"/>
                  </a:lnTo>
                  <a:lnTo>
                    <a:pt x="68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29507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1187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38" y="385087"/>
            <a:ext cx="5413375" cy="4572000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996696" y="1691640"/>
            <a:ext cx="45974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996696" y="2660904"/>
            <a:ext cx="459740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8" y="5340096"/>
            <a:ext cx="1515759" cy="1156968"/>
          </a:xfrm>
          <a:prstGeom prst="rect">
            <a:avLst/>
          </a:prstGeom>
        </p:spPr>
      </p:pic>
      <p:grpSp>
        <p:nvGrpSpPr>
          <p:cNvPr id="86" name="Group 85"/>
          <p:cNvGrpSpPr/>
          <p:nvPr userDrawn="1"/>
        </p:nvGrpSpPr>
        <p:grpSpPr>
          <a:xfrm>
            <a:off x="601662" y="5892019"/>
            <a:ext cx="4152900" cy="603250"/>
            <a:chOff x="457200" y="5894388"/>
            <a:chExt cx="4152900" cy="603250"/>
          </a:xfrm>
        </p:grpSpPr>
        <p:sp>
          <p:nvSpPr>
            <p:cNvPr id="8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57200" y="5894388"/>
              <a:ext cx="4152900" cy="603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88" name="Rectangle 87"/>
            <p:cNvSpPr>
              <a:spLocks noChangeArrowheads="1"/>
            </p:cNvSpPr>
            <p:nvPr userDrawn="1"/>
          </p:nvSpPr>
          <p:spPr bwMode="auto">
            <a:xfrm>
              <a:off x="465138" y="5894388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89" name="Rectangle 88"/>
            <p:cNvSpPr>
              <a:spLocks noChangeArrowheads="1"/>
            </p:cNvSpPr>
            <p:nvPr userDrawn="1"/>
          </p:nvSpPr>
          <p:spPr bwMode="auto">
            <a:xfrm>
              <a:off x="631825" y="5894388"/>
              <a:ext cx="101600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0" name="Rectangle 89"/>
            <p:cNvSpPr>
              <a:spLocks noChangeArrowheads="1"/>
            </p:cNvSpPr>
            <p:nvPr userDrawn="1"/>
          </p:nvSpPr>
          <p:spPr bwMode="auto">
            <a:xfrm>
              <a:off x="801688" y="5894388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1" name="Freeform 90"/>
            <p:cNvSpPr>
              <a:spLocks/>
            </p:cNvSpPr>
            <p:nvPr userDrawn="1"/>
          </p:nvSpPr>
          <p:spPr bwMode="auto">
            <a:xfrm>
              <a:off x="461963" y="6122988"/>
              <a:ext cx="104775" cy="122238"/>
            </a:xfrm>
            <a:custGeom>
              <a:avLst/>
              <a:gdLst>
                <a:gd name="T0" fmla="*/ 120 w 264"/>
                <a:gd name="T1" fmla="*/ 305 h 305"/>
                <a:gd name="T2" fmla="*/ 264 w 264"/>
                <a:gd name="T3" fmla="*/ 0 h 305"/>
                <a:gd name="T4" fmla="*/ 212 w 264"/>
                <a:gd name="T5" fmla="*/ 0 h 305"/>
                <a:gd name="T6" fmla="*/ 170 w 264"/>
                <a:gd name="T7" fmla="*/ 98 h 305"/>
                <a:gd name="T8" fmla="*/ 170 w 264"/>
                <a:gd name="T9" fmla="*/ 98 h 305"/>
                <a:gd name="T10" fmla="*/ 153 w 264"/>
                <a:gd name="T11" fmla="*/ 136 h 305"/>
                <a:gd name="T12" fmla="*/ 140 w 264"/>
                <a:gd name="T13" fmla="*/ 167 h 305"/>
                <a:gd name="T14" fmla="*/ 140 w 264"/>
                <a:gd name="T15" fmla="*/ 167 h 305"/>
                <a:gd name="T16" fmla="*/ 126 w 264"/>
                <a:gd name="T17" fmla="*/ 135 h 305"/>
                <a:gd name="T18" fmla="*/ 106 w 264"/>
                <a:gd name="T19" fmla="*/ 97 h 305"/>
                <a:gd name="T20" fmla="*/ 56 w 264"/>
                <a:gd name="T21" fmla="*/ 0 h 305"/>
                <a:gd name="T22" fmla="*/ 0 w 264"/>
                <a:gd name="T23" fmla="*/ 0 h 305"/>
                <a:gd name="T24" fmla="*/ 114 w 264"/>
                <a:gd name="T25" fmla="*/ 213 h 305"/>
                <a:gd name="T26" fmla="*/ 68 w 264"/>
                <a:gd name="T27" fmla="*/ 305 h 305"/>
                <a:gd name="T28" fmla="*/ 120 w 264"/>
                <a:gd name="T29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305">
                  <a:moveTo>
                    <a:pt x="120" y="305"/>
                  </a:moveTo>
                  <a:lnTo>
                    <a:pt x="264" y="0"/>
                  </a:lnTo>
                  <a:lnTo>
                    <a:pt x="212" y="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53" y="136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26" y="135"/>
                  </a:lnTo>
                  <a:lnTo>
                    <a:pt x="106" y="97"/>
                  </a:lnTo>
                  <a:lnTo>
                    <a:pt x="56" y="0"/>
                  </a:lnTo>
                  <a:lnTo>
                    <a:pt x="0" y="0"/>
                  </a:lnTo>
                  <a:lnTo>
                    <a:pt x="114" y="213"/>
                  </a:lnTo>
                  <a:lnTo>
                    <a:pt x="68" y="305"/>
                  </a:lnTo>
                  <a:lnTo>
                    <a:pt x="120" y="3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2" name="Freeform 91"/>
            <p:cNvSpPr>
              <a:spLocks noEditPoints="1"/>
            </p:cNvSpPr>
            <p:nvPr userDrawn="1"/>
          </p:nvSpPr>
          <p:spPr bwMode="auto">
            <a:xfrm>
              <a:off x="623888" y="6153151"/>
              <a:ext cx="73025" cy="92075"/>
            </a:xfrm>
            <a:custGeom>
              <a:avLst/>
              <a:gdLst>
                <a:gd name="T0" fmla="*/ 0 w 184"/>
                <a:gd name="T1" fmla="*/ 229 h 229"/>
                <a:gd name="T2" fmla="*/ 106 w 184"/>
                <a:gd name="T3" fmla="*/ 229 h 229"/>
                <a:gd name="T4" fmla="*/ 132 w 184"/>
                <a:gd name="T5" fmla="*/ 227 h 229"/>
                <a:gd name="T6" fmla="*/ 146 w 184"/>
                <a:gd name="T7" fmla="*/ 222 h 229"/>
                <a:gd name="T8" fmla="*/ 159 w 184"/>
                <a:gd name="T9" fmla="*/ 215 h 229"/>
                <a:gd name="T10" fmla="*/ 169 w 184"/>
                <a:gd name="T11" fmla="*/ 207 h 229"/>
                <a:gd name="T12" fmla="*/ 176 w 184"/>
                <a:gd name="T13" fmla="*/ 196 h 229"/>
                <a:gd name="T14" fmla="*/ 182 w 184"/>
                <a:gd name="T15" fmla="*/ 182 h 229"/>
                <a:gd name="T16" fmla="*/ 184 w 184"/>
                <a:gd name="T17" fmla="*/ 167 h 229"/>
                <a:gd name="T18" fmla="*/ 184 w 184"/>
                <a:gd name="T19" fmla="*/ 159 h 229"/>
                <a:gd name="T20" fmla="*/ 181 w 184"/>
                <a:gd name="T21" fmla="*/ 138 h 229"/>
                <a:gd name="T22" fmla="*/ 172 w 184"/>
                <a:gd name="T23" fmla="*/ 122 h 229"/>
                <a:gd name="T24" fmla="*/ 161 w 184"/>
                <a:gd name="T25" fmla="*/ 112 h 229"/>
                <a:gd name="T26" fmla="*/ 147 w 184"/>
                <a:gd name="T27" fmla="*/ 106 h 229"/>
                <a:gd name="T28" fmla="*/ 154 w 184"/>
                <a:gd name="T29" fmla="*/ 102 h 229"/>
                <a:gd name="T30" fmla="*/ 164 w 184"/>
                <a:gd name="T31" fmla="*/ 94 h 229"/>
                <a:gd name="T32" fmla="*/ 172 w 184"/>
                <a:gd name="T33" fmla="*/ 82 h 229"/>
                <a:gd name="T34" fmla="*/ 177 w 184"/>
                <a:gd name="T35" fmla="*/ 68 h 229"/>
                <a:gd name="T36" fmla="*/ 177 w 184"/>
                <a:gd name="T37" fmla="*/ 60 h 229"/>
                <a:gd name="T38" fmla="*/ 176 w 184"/>
                <a:gd name="T39" fmla="*/ 46 h 229"/>
                <a:gd name="T40" fmla="*/ 173 w 184"/>
                <a:gd name="T41" fmla="*/ 34 h 229"/>
                <a:gd name="T42" fmla="*/ 167 w 184"/>
                <a:gd name="T43" fmla="*/ 24 h 229"/>
                <a:gd name="T44" fmla="*/ 159 w 184"/>
                <a:gd name="T45" fmla="*/ 15 h 229"/>
                <a:gd name="T46" fmla="*/ 150 w 184"/>
                <a:gd name="T47" fmla="*/ 9 h 229"/>
                <a:gd name="T48" fmla="*/ 126 w 184"/>
                <a:gd name="T49" fmla="*/ 1 h 229"/>
                <a:gd name="T50" fmla="*/ 0 w 184"/>
                <a:gd name="T51" fmla="*/ 0 h 229"/>
                <a:gd name="T52" fmla="*/ 45 w 184"/>
                <a:gd name="T53" fmla="*/ 37 h 229"/>
                <a:gd name="T54" fmla="*/ 104 w 184"/>
                <a:gd name="T55" fmla="*/ 37 h 229"/>
                <a:gd name="T56" fmla="*/ 117 w 184"/>
                <a:gd name="T57" fmla="*/ 39 h 229"/>
                <a:gd name="T58" fmla="*/ 126 w 184"/>
                <a:gd name="T59" fmla="*/ 45 h 229"/>
                <a:gd name="T60" fmla="*/ 131 w 184"/>
                <a:gd name="T61" fmla="*/ 53 h 229"/>
                <a:gd name="T62" fmla="*/ 133 w 184"/>
                <a:gd name="T63" fmla="*/ 64 h 229"/>
                <a:gd name="T64" fmla="*/ 132 w 184"/>
                <a:gd name="T65" fmla="*/ 69 h 229"/>
                <a:gd name="T66" fmla="*/ 129 w 184"/>
                <a:gd name="T67" fmla="*/ 78 h 229"/>
                <a:gd name="T68" fmla="*/ 122 w 184"/>
                <a:gd name="T69" fmla="*/ 85 h 229"/>
                <a:gd name="T70" fmla="*/ 111 w 184"/>
                <a:gd name="T71" fmla="*/ 89 h 229"/>
                <a:gd name="T72" fmla="*/ 45 w 184"/>
                <a:gd name="T73" fmla="*/ 90 h 229"/>
                <a:gd name="T74" fmla="*/ 45 w 184"/>
                <a:gd name="T75" fmla="*/ 127 h 229"/>
                <a:gd name="T76" fmla="*/ 105 w 184"/>
                <a:gd name="T77" fmla="*/ 127 h 229"/>
                <a:gd name="T78" fmla="*/ 120 w 184"/>
                <a:gd name="T79" fmla="*/ 129 h 229"/>
                <a:gd name="T80" fmla="*/ 130 w 184"/>
                <a:gd name="T81" fmla="*/ 136 h 229"/>
                <a:gd name="T82" fmla="*/ 137 w 184"/>
                <a:gd name="T83" fmla="*/ 146 h 229"/>
                <a:gd name="T84" fmla="*/ 140 w 184"/>
                <a:gd name="T85" fmla="*/ 160 h 229"/>
                <a:gd name="T86" fmla="*/ 139 w 184"/>
                <a:gd name="T87" fmla="*/ 167 h 229"/>
                <a:gd name="T88" fmla="*/ 135 w 184"/>
                <a:gd name="T89" fmla="*/ 178 h 229"/>
                <a:gd name="T90" fmla="*/ 127 w 184"/>
                <a:gd name="T91" fmla="*/ 187 h 229"/>
                <a:gd name="T92" fmla="*/ 113 w 184"/>
                <a:gd name="T93" fmla="*/ 191 h 229"/>
                <a:gd name="T94" fmla="*/ 45 w 184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4" h="229">
                  <a:moveTo>
                    <a:pt x="0" y="0"/>
                  </a:move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24" y="228"/>
                  </a:lnTo>
                  <a:lnTo>
                    <a:pt x="132" y="227"/>
                  </a:lnTo>
                  <a:lnTo>
                    <a:pt x="139" y="225"/>
                  </a:lnTo>
                  <a:lnTo>
                    <a:pt x="146" y="222"/>
                  </a:lnTo>
                  <a:lnTo>
                    <a:pt x="153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6" y="196"/>
                  </a:lnTo>
                  <a:lnTo>
                    <a:pt x="179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4" y="159"/>
                  </a:lnTo>
                  <a:lnTo>
                    <a:pt x="184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7" y="129"/>
                  </a:lnTo>
                  <a:lnTo>
                    <a:pt x="172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4" y="108"/>
                  </a:lnTo>
                  <a:lnTo>
                    <a:pt x="147" y="106"/>
                  </a:lnTo>
                  <a:lnTo>
                    <a:pt x="147" y="106"/>
                  </a:lnTo>
                  <a:lnTo>
                    <a:pt x="154" y="102"/>
                  </a:lnTo>
                  <a:lnTo>
                    <a:pt x="159" y="98"/>
                  </a:lnTo>
                  <a:lnTo>
                    <a:pt x="164" y="94"/>
                  </a:lnTo>
                  <a:lnTo>
                    <a:pt x="169" y="88"/>
                  </a:lnTo>
                  <a:lnTo>
                    <a:pt x="172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7" y="60"/>
                  </a:lnTo>
                  <a:lnTo>
                    <a:pt x="177" y="60"/>
                  </a:lnTo>
                  <a:lnTo>
                    <a:pt x="177" y="53"/>
                  </a:lnTo>
                  <a:lnTo>
                    <a:pt x="176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0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59" y="15"/>
                  </a:lnTo>
                  <a:lnTo>
                    <a:pt x="155" y="12"/>
                  </a:lnTo>
                  <a:lnTo>
                    <a:pt x="150" y="9"/>
                  </a:lnTo>
                  <a:lnTo>
                    <a:pt x="139" y="4"/>
                  </a:lnTo>
                  <a:lnTo>
                    <a:pt x="126" y="1"/>
                  </a:lnTo>
                  <a:lnTo>
                    <a:pt x="112" y="0"/>
                  </a:lnTo>
                  <a:lnTo>
                    <a:pt x="0" y="0"/>
                  </a:lnTo>
                  <a:close/>
                  <a:moveTo>
                    <a:pt x="45" y="90"/>
                  </a:moveTo>
                  <a:lnTo>
                    <a:pt x="45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1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6" y="45"/>
                  </a:lnTo>
                  <a:lnTo>
                    <a:pt x="129" y="49"/>
                  </a:lnTo>
                  <a:lnTo>
                    <a:pt x="131" y="53"/>
                  </a:lnTo>
                  <a:lnTo>
                    <a:pt x="132" y="58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9"/>
                  </a:lnTo>
                  <a:lnTo>
                    <a:pt x="131" y="74"/>
                  </a:lnTo>
                  <a:lnTo>
                    <a:pt x="129" y="78"/>
                  </a:lnTo>
                  <a:lnTo>
                    <a:pt x="126" y="82"/>
                  </a:lnTo>
                  <a:lnTo>
                    <a:pt x="122" y="85"/>
                  </a:lnTo>
                  <a:lnTo>
                    <a:pt x="117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5" y="90"/>
                  </a:lnTo>
                  <a:close/>
                  <a:moveTo>
                    <a:pt x="45" y="192"/>
                  </a:moveTo>
                  <a:lnTo>
                    <a:pt x="45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13" y="128"/>
                  </a:lnTo>
                  <a:lnTo>
                    <a:pt x="120" y="129"/>
                  </a:lnTo>
                  <a:lnTo>
                    <a:pt x="125" y="132"/>
                  </a:lnTo>
                  <a:lnTo>
                    <a:pt x="130" y="136"/>
                  </a:lnTo>
                  <a:lnTo>
                    <a:pt x="134" y="141"/>
                  </a:lnTo>
                  <a:lnTo>
                    <a:pt x="137" y="146"/>
                  </a:lnTo>
                  <a:lnTo>
                    <a:pt x="139" y="153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9" y="167"/>
                  </a:lnTo>
                  <a:lnTo>
                    <a:pt x="138" y="173"/>
                  </a:lnTo>
                  <a:lnTo>
                    <a:pt x="135" y="178"/>
                  </a:lnTo>
                  <a:lnTo>
                    <a:pt x="131" y="183"/>
                  </a:lnTo>
                  <a:lnTo>
                    <a:pt x="127" y="187"/>
                  </a:lnTo>
                  <a:lnTo>
                    <a:pt x="120" y="190"/>
                  </a:lnTo>
                  <a:lnTo>
                    <a:pt x="113" y="191"/>
                  </a:lnTo>
                  <a:lnTo>
                    <a:pt x="104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3" name="Freeform 92"/>
            <p:cNvSpPr>
              <a:spLocks noEditPoints="1"/>
            </p:cNvSpPr>
            <p:nvPr userDrawn="1"/>
          </p:nvSpPr>
          <p:spPr bwMode="auto">
            <a:xfrm>
              <a:off x="711200" y="6151563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6 w 187"/>
                <a:gd name="T3" fmla="*/ 68 h 239"/>
                <a:gd name="T4" fmla="*/ 183 w 187"/>
                <a:gd name="T5" fmla="*/ 51 h 239"/>
                <a:gd name="T6" fmla="*/ 177 w 187"/>
                <a:gd name="T7" fmla="*/ 36 h 239"/>
                <a:gd name="T8" fmla="*/ 168 w 187"/>
                <a:gd name="T9" fmla="*/ 24 h 239"/>
                <a:gd name="T10" fmla="*/ 157 w 187"/>
                <a:gd name="T11" fmla="*/ 15 h 239"/>
                <a:gd name="T12" fmla="*/ 143 w 187"/>
                <a:gd name="T13" fmla="*/ 8 h 239"/>
                <a:gd name="T14" fmla="*/ 128 w 187"/>
                <a:gd name="T15" fmla="*/ 3 h 239"/>
                <a:gd name="T16" fmla="*/ 110 w 187"/>
                <a:gd name="T17" fmla="*/ 1 h 239"/>
                <a:gd name="T18" fmla="*/ 100 w 187"/>
                <a:gd name="T19" fmla="*/ 0 h 239"/>
                <a:gd name="T20" fmla="*/ 77 w 187"/>
                <a:gd name="T21" fmla="*/ 2 h 239"/>
                <a:gd name="T22" fmla="*/ 57 w 187"/>
                <a:gd name="T23" fmla="*/ 6 h 239"/>
                <a:gd name="T24" fmla="*/ 38 w 187"/>
                <a:gd name="T25" fmla="*/ 12 h 239"/>
                <a:gd name="T26" fmla="*/ 21 w 187"/>
                <a:gd name="T27" fmla="*/ 21 h 239"/>
                <a:gd name="T28" fmla="*/ 39 w 187"/>
                <a:gd name="T29" fmla="*/ 55 h 239"/>
                <a:gd name="T30" fmla="*/ 67 w 187"/>
                <a:gd name="T31" fmla="*/ 44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2 w 187"/>
                <a:gd name="T41" fmla="*/ 70 h 239"/>
                <a:gd name="T42" fmla="*/ 143 w 187"/>
                <a:gd name="T43" fmla="*/ 96 h 239"/>
                <a:gd name="T44" fmla="*/ 134 w 187"/>
                <a:gd name="T45" fmla="*/ 93 h 239"/>
                <a:gd name="T46" fmla="*/ 107 w 187"/>
                <a:gd name="T47" fmla="*/ 88 h 239"/>
                <a:gd name="T48" fmla="*/ 91 w 187"/>
                <a:gd name="T49" fmla="*/ 88 h 239"/>
                <a:gd name="T50" fmla="*/ 63 w 187"/>
                <a:gd name="T51" fmla="*/ 90 h 239"/>
                <a:gd name="T52" fmla="*/ 47 w 187"/>
                <a:gd name="T53" fmla="*/ 94 h 239"/>
                <a:gd name="T54" fmla="*/ 32 w 187"/>
                <a:gd name="T55" fmla="*/ 101 h 239"/>
                <a:gd name="T56" fmla="*/ 20 w 187"/>
                <a:gd name="T57" fmla="*/ 110 h 239"/>
                <a:gd name="T58" fmla="*/ 10 w 187"/>
                <a:gd name="T59" fmla="*/ 122 h 239"/>
                <a:gd name="T60" fmla="*/ 4 w 187"/>
                <a:gd name="T61" fmla="*/ 136 h 239"/>
                <a:gd name="T62" fmla="*/ 0 w 187"/>
                <a:gd name="T63" fmla="*/ 152 h 239"/>
                <a:gd name="T64" fmla="*/ 0 w 187"/>
                <a:gd name="T65" fmla="*/ 162 h 239"/>
                <a:gd name="T66" fmla="*/ 1 w 187"/>
                <a:gd name="T67" fmla="*/ 181 h 239"/>
                <a:gd name="T68" fmla="*/ 7 w 187"/>
                <a:gd name="T69" fmla="*/ 197 h 239"/>
                <a:gd name="T70" fmla="*/ 15 w 187"/>
                <a:gd name="T71" fmla="*/ 211 h 239"/>
                <a:gd name="T72" fmla="*/ 25 w 187"/>
                <a:gd name="T73" fmla="*/ 221 h 239"/>
                <a:gd name="T74" fmla="*/ 38 w 187"/>
                <a:gd name="T75" fmla="*/ 229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8 h 239"/>
                <a:gd name="T82" fmla="*/ 109 w 187"/>
                <a:gd name="T83" fmla="*/ 234 h 239"/>
                <a:gd name="T84" fmla="*/ 116 w 187"/>
                <a:gd name="T85" fmla="*/ 231 h 239"/>
                <a:gd name="T86" fmla="*/ 135 w 187"/>
                <a:gd name="T87" fmla="*/ 218 h 239"/>
                <a:gd name="T88" fmla="*/ 143 w 187"/>
                <a:gd name="T89" fmla="*/ 234 h 239"/>
                <a:gd name="T90" fmla="*/ 143 w 187"/>
                <a:gd name="T91" fmla="*/ 169 h 239"/>
                <a:gd name="T92" fmla="*/ 138 w 187"/>
                <a:gd name="T93" fmla="*/ 174 h 239"/>
                <a:gd name="T94" fmla="*/ 127 w 187"/>
                <a:gd name="T95" fmla="*/ 185 h 239"/>
                <a:gd name="T96" fmla="*/ 113 w 187"/>
                <a:gd name="T97" fmla="*/ 193 h 239"/>
                <a:gd name="T98" fmla="*/ 95 w 187"/>
                <a:gd name="T99" fmla="*/ 198 h 239"/>
                <a:gd name="T100" fmla="*/ 86 w 187"/>
                <a:gd name="T101" fmla="*/ 198 h 239"/>
                <a:gd name="T102" fmla="*/ 68 w 187"/>
                <a:gd name="T103" fmla="*/ 196 h 239"/>
                <a:gd name="T104" fmla="*/ 55 w 187"/>
                <a:gd name="T105" fmla="*/ 189 h 239"/>
                <a:gd name="T106" fmla="*/ 50 w 187"/>
                <a:gd name="T107" fmla="*/ 184 h 239"/>
                <a:gd name="T108" fmla="*/ 43 w 187"/>
                <a:gd name="T109" fmla="*/ 170 h 239"/>
                <a:gd name="T110" fmla="*/ 42 w 187"/>
                <a:gd name="T111" fmla="*/ 160 h 239"/>
                <a:gd name="T112" fmla="*/ 46 w 187"/>
                <a:gd name="T113" fmla="*/ 146 h 239"/>
                <a:gd name="T114" fmla="*/ 55 w 187"/>
                <a:gd name="T115" fmla="*/ 136 h 239"/>
                <a:gd name="T116" fmla="*/ 70 w 187"/>
                <a:gd name="T117" fmla="*/ 129 h 239"/>
                <a:gd name="T118" fmla="*/ 89 w 187"/>
                <a:gd name="T119" fmla="*/ 126 h 239"/>
                <a:gd name="T120" fmla="*/ 106 w 187"/>
                <a:gd name="T121" fmla="*/ 127 h 239"/>
                <a:gd name="T122" fmla="*/ 120 w 187"/>
                <a:gd name="T123" fmla="*/ 129 h 239"/>
                <a:gd name="T124" fmla="*/ 143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4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6" y="68"/>
                  </a:lnTo>
                  <a:lnTo>
                    <a:pt x="185" y="59"/>
                  </a:lnTo>
                  <a:lnTo>
                    <a:pt x="183" y="51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30"/>
                  </a:lnTo>
                  <a:lnTo>
                    <a:pt x="168" y="24"/>
                  </a:lnTo>
                  <a:lnTo>
                    <a:pt x="163" y="19"/>
                  </a:lnTo>
                  <a:lnTo>
                    <a:pt x="157" y="15"/>
                  </a:lnTo>
                  <a:lnTo>
                    <a:pt x="150" y="11"/>
                  </a:lnTo>
                  <a:lnTo>
                    <a:pt x="143" y="8"/>
                  </a:lnTo>
                  <a:lnTo>
                    <a:pt x="136" y="5"/>
                  </a:lnTo>
                  <a:lnTo>
                    <a:pt x="128" y="3"/>
                  </a:lnTo>
                  <a:lnTo>
                    <a:pt x="119" y="2"/>
                  </a:lnTo>
                  <a:lnTo>
                    <a:pt x="110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1"/>
                  </a:lnTo>
                  <a:lnTo>
                    <a:pt x="77" y="2"/>
                  </a:lnTo>
                  <a:lnTo>
                    <a:pt x="67" y="3"/>
                  </a:lnTo>
                  <a:lnTo>
                    <a:pt x="57" y="6"/>
                  </a:lnTo>
                  <a:lnTo>
                    <a:pt x="47" y="8"/>
                  </a:lnTo>
                  <a:lnTo>
                    <a:pt x="38" y="12"/>
                  </a:lnTo>
                  <a:lnTo>
                    <a:pt x="30" y="16"/>
                  </a:lnTo>
                  <a:lnTo>
                    <a:pt x="21" y="21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52" y="48"/>
                  </a:lnTo>
                  <a:lnTo>
                    <a:pt x="67" y="44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2" y="51"/>
                  </a:lnTo>
                  <a:lnTo>
                    <a:pt x="136" y="56"/>
                  </a:lnTo>
                  <a:lnTo>
                    <a:pt x="140" y="63"/>
                  </a:lnTo>
                  <a:lnTo>
                    <a:pt x="142" y="70"/>
                  </a:lnTo>
                  <a:lnTo>
                    <a:pt x="143" y="79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34" y="93"/>
                  </a:lnTo>
                  <a:lnTo>
                    <a:pt x="122" y="90"/>
                  </a:lnTo>
                  <a:lnTo>
                    <a:pt x="107" y="88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72" y="89"/>
                  </a:lnTo>
                  <a:lnTo>
                    <a:pt x="63" y="90"/>
                  </a:lnTo>
                  <a:lnTo>
                    <a:pt x="55" y="92"/>
                  </a:lnTo>
                  <a:lnTo>
                    <a:pt x="47" y="94"/>
                  </a:lnTo>
                  <a:lnTo>
                    <a:pt x="39" y="98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6"/>
                  </a:lnTo>
                  <a:lnTo>
                    <a:pt x="10" y="122"/>
                  </a:lnTo>
                  <a:lnTo>
                    <a:pt x="7" y="129"/>
                  </a:lnTo>
                  <a:lnTo>
                    <a:pt x="4" y="136"/>
                  </a:lnTo>
                  <a:lnTo>
                    <a:pt x="1" y="144"/>
                  </a:lnTo>
                  <a:lnTo>
                    <a:pt x="0" y="152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1" y="181"/>
                  </a:lnTo>
                  <a:lnTo>
                    <a:pt x="4" y="190"/>
                  </a:lnTo>
                  <a:lnTo>
                    <a:pt x="7" y="197"/>
                  </a:lnTo>
                  <a:lnTo>
                    <a:pt x="11" y="204"/>
                  </a:lnTo>
                  <a:lnTo>
                    <a:pt x="15" y="211"/>
                  </a:lnTo>
                  <a:lnTo>
                    <a:pt x="20" y="216"/>
                  </a:lnTo>
                  <a:lnTo>
                    <a:pt x="25" y="221"/>
                  </a:lnTo>
                  <a:lnTo>
                    <a:pt x="31" y="226"/>
                  </a:lnTo>
                  <a:lnTo>
                    <a:pt x="38" y="229"/>
                  </a:lnTo>
                  <a:lnTo>
                    <a:pt x="44" y="232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8"/>
                  </a:lnTo>
                  <a:lnTo>
                    <a:pt x="100" y="236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3"/>
                  </a:lnTo>
                  <a:lnTo>
                    <a:pt x="135" y="218"/>
                  </a:lnTo>
                  <a:lnTo>
                    <a:pt x="143" y="211"/>
                  </a:lnTo>
                  <a:lnTo>
                    <a:pt x="143" y="234"/>
                  </a:lnTo>
                  <a:lnTo>
                    <a:pt x="187" y="234"/>
                  </a:lnTo>
                  <a:close/>
                  <a:moveTo>
                    <a:pt x="143" y="169"/>
                  </a:moveTo>
                  <a:lnTo>
                    <a:pt x="143" y="169"/>
                  </a:lnTo>
                  <a:lnTo>
                    <a:pt x="138" y="174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89"/>
                  </a:lnTo>
                  <a:lnTo>
                    <a:pt x="113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3"/>
                  </a:lnTo>
                  <a:lnTo>
                    <a:pt x="55" y="189"/>
                  </a:lnTo>
                  <a:lnTo>
                    <a:pt x="55" y="189"/>
                  </a:lnTo>
                  <a:lnTo>
                    <a:pt x="50" y="184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6"/>
                  </a:lnTo>
                  <a:lnTo>
                    <a:pt x="62" y="132"/>
                  </a:lnTo>
                  <a:lnTo>
                    <a:pt x="70" y="129"/>
                  </a:lnTo>
                  <a:lnTo>
                    <a:pt x="79" y="127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7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31" y="132"/>
                  </a:lnTo>
                  <a:lnTo>
                    <a:pt x="143" y="136"/>
                  </a:lnTo>
                  <a:lnTo>
                    <a:pt x="143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4" name="Freeform 93"/>
            <p:cNvSpPr>
              <a:spLocks/>
            </p:cNvSpPr>
            <p:nvPr userDrawn="1"/>
          </p:nvSpPr>
          <p:spPr bwMode="auto">
            <a:xfrm>
              <a:off x="803275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5 w 181"/>
                <a:gd name="T3" fmla="*/ 22 h 239"/>
                <a:gd name="T4" fmla="*/ 146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5 w 181"/>
                <a:gd name="T23" fmla="*/ 81 h 239"/>
                <a:gd name="T24" fmla="*/ 1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8 w 181"/>
                <a:gd name="T31" fmla="*/ 169 h 239"/>
                <a:gd name="T32" fmla="*/ 17 w 181"/>
                <a:gd name="T33" fmla="*/ 189 h 239"/>
                <a:gd name="T34" fmla="*/ 29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9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40 w 181"/>
                <a:gd name="T55" fmla="*/ 180 h 239"/>
                <a:gd name="T56" fmla="*/ 128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4 h 239"/>
                <a:gd name="T82" fmla="*/ 68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7 w 181"/>
                <a:gd name="T91" fmla="*/ 43 h 239"/>
                <a:gd name="T92" fmla="*/ 121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6"/>
                  </a:lnTo>
                  <a:lnTo>
                    <a:pt x="146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5"/>
                  </a:lnTo>
                  <a:lnTo>
                    <a:pt x="139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0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0"/>
                  </a:lnTo>
                  <a:lnTo>
                    <a:pt x="72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60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5"/>
                  </a:lnTo>
                  <a:lnTo>
                    <a:pt x="121" y="47"/>
                  </a:lnTo>
                  <a:lnTo>
                    <a:pt x="128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5" name="Freeform 94"/>
            <p:cNvSpPr>
              <a:spLocks noEditPoints="1"/>
            </p:cNvSpPr>
            <p:nvPr userDrawn="1"/>
          </p:nvSpPr>
          <p:spPr bwMode="auto">
            <a:xfrm>
              <a:off x="933450" y="6151563"/>
              <a:ext cx="77788" cy="95250"/>
            </a:xfrm>
            <a:custGeom>
              <a:avLst/>
              <a:gdLst>
                <a:gd name="T0" fmla="*/ 197 w 197"/>
                <a:gd name="T1" fmla="*/ 115 h 239"/>
                <a:gd name="T2" fmla="*/ 196 w 197"/>
                <a:gd name="T3" fmla="*/ 92 h 239"/>
                <a:gd name="T4" fmla="*/ 192 w 197"/>
                <a:gd name="T5" fmla="*/ 71 h 239"/>
                <a:gd name="T6" fmla="*/ 184 w 197"/>
                <a:gd name="T7" fmla="*/ 52 h 239"/>
                <a:gd name="T8" fmla="*/ 174 w 197"/>
                <a:gd name="T9" fmla="*/ 34 h 239"/>
                <a:gd name="T10" fmla="*/ 160 w 197"/>
                <a:gd name="T11" fmla="*/ 20 h 239"/>
                <a:gd name="T12" fmla="*/ 144 w 197"/>
                <a:gd name="T13" fmla="*/ 10 h 239"/>
                <a:gd name="T14" fmla="*/ 124 w 197"/>
                <a:gd name="T15" fmla="*/ 3 h 239"/>
                <a:gd name="T16" fmla="*/ 101 w 197"/>
                <a:gd name="T17" fmla="*/ 0 h 239"/>
                <a:gd name="T18" fmla="*/ 90 w 197"/>
                <a:gd name="T19" fmla="*/ 1 h 239"/>
                <a:gd name="T20" fmla="*/ 70 w 197"/>
                <a:gd name="T21" fmla="*/ 5 h 239"/>
                <a:gd name="T22" fmla="*/ 52 w 197"/>
                <a:gd name="T23" fmla="*/ 12 h 239"/>
                <a:gd name="T24" fmla="*/ 35 w 197"/>
                <a:gd name="T25" fmla="*/ 24 h 239"/>
                <a:gd name="T26" fmla="*/ 21 w 197"/>
                <a:gd name="T27" fmla="*/ 39 h 239"/>
                <a:gd name="T28" fmla="*/ 11 w 197"/>
                <a:gd name="T29" fmla="*/ 58 h 239"/>
                <a:gd name="T30" fmla="*/ 4 w 197"/>
                <a:gd name="T31" fmla="*/ 80 h 239"/>
                <a:gd name="T32" fmla="*/ 0 w 197"/>
                <a:gd name="T33" fmla="*/ 106 h 239"/>
                <a:gd name="T34" fmla="*/ 0 w 197"/>
                <a:gd name="T35" fmla="*/ 120 h 239"/>
                <a:gd name="T36" fmla="*/ 2 w 197"/>
                <a:gd name="T37" fmla="*/ 148 h 239"/>
                <a:gd name="T38" fmla="*/ 9 w 197"/>
                <a:gd name="T39" fmla="*/ 172 h 239"/>
                <a:gd name="T40" fmla="*/ 18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2 w 197"/>
                <a:gd name="T47" fmla="*/ 226 h 239"/>
                <a:gd name="T48" fmla="*/ 69 w 197"/>
                <a:gd name="T49" fmla="*/ 234 h 239"/>
                <a:gd name="T50" fmla="*/ 89 w 197"/>
                <a:gd name="T51" fmla="*/ 238 h 239"/>
                <a:gd name="T52" fmla="*/ 100 w 197"/>
                <a:gd name="T53" fmla="*/ 239 h 239"/>
                <a:gd name="T54" fmla="*/ 125 w 197"/>
                <a:gd name="T55" fmla="*/ 237 h 239"/>
                <a:gd name="T56" fmla="*/ 146 w 197"/>
                <a:gd name="T57" fmla="*/ 231 h 239"/>
                <a:gd name="T58" fmla="*/ 154 w 197"/>
                <a:gd name="T59" fmla="*/ 227 h 239"/>
                <a:gd name="T60" fmla="*/ 170 w 197"/>
                <a:gd name="T61" fmla="*/ 216 h 239"/>
                <a:gd name="T62" fmla="*/ 152 w 197"/>
                <a:gd name="T63" fmla="*/ 180 h 239"/>
                <a:gd name="T64" fmla="*/ 140 w 197"/>
                <a:gd name="T65" fmla="*/ 188 h 239"/>
                <a:gd name="T66" fmla="*/ 129 w 197"/>
                <a:gd name="T67" fmla="*/ 193 h 239"/>
                <a:gd name="T68" fmla="*/ 117 w 197"/>
                <a:gd name="T69" fmla="*/ 197 h 239"/>
                <a:gd name="T70" fmla="*/ 102 w 197"/>
                <a:gd name="T71" fmla="*/ 198 h 239"/>
                <a:gd name="T72" fmla="*/ 92 w 197"/>
                <a:gd name="T73" fmla="*/ 197 h 239"/>
                <a:gd name="T74" fmla="*/ 73 w 197"/>
                <a:gd name="T75" fmla="*/ 190 h 239"/>
                <a:gd name="T76" fmla="*/ 58 w 197"/>
                <a:gd name="T77" fmla="*/ 175 h 239"/>
                <a:gd name="T78" fmla="*/ 48 w 197"/>
                <a:gd name="T79" fmla="*/ 151 h 239"/>
                <a:gd name="T80" fmla="*/ 196 w 197"/>
                <a:gd name="T81" fmla="*/ 136 h 239"/>
                <a:gd name="T82" fmla="*/ 197 w 197"/>
                <a:gd name="T83" fmla="*/ 127 h 239"/>
                <a:gd name="T84" fmla="*/ 197 w 197"/>
                <a:gd name="T85" fmla="*/ 115 h 239"/>
                <a:gd name="T86" fmla="*/ 45 w 197"/>
                <a:gd name="T87" fmla="*/ 98 h 239"/>
                <a:gd name="T88" fmla="*/ 51 w 197"/>
                <a:gd name="T89" fmla="*/ 74 h 239"/>
                <a:gd name="T90" fmla="*/ 62 w 197"/>
                <a:gd name="T91" fmla="*/ 56 h 239"/>
                <a:gd name="T92" fmla="*/ 77 w 197"/>
                <a:gd name="T93" fmla="*/ 45 h 239"/>
                <a:gd name="T94" fmla="*/ 98 w 197"/>
                <a:gd name="T95" fmla="*/ 41 h 239"/>
                <a:gd name="T96" fmla="*/ 105 w 197"/>
                <a:gd name="T97" fmla="*/ 41 h 239"/>
                <a:gd name="T98" fmla="*/ 117 w 197"/>
                <a:gd name="T99" fmla="*/ 44 h 239"/>
                <a:gd name="T100" fmla="*/ 127 w 197"/>
                <a:gd name="T101" fmla="*/ 48 h 239"/>
                <a:gd name="T102" fmla="*/ 138 w 197"/>
                <a:gd name="T103" fmla="*/ 58 h 239"/>
                <a:gd name="T104" fmla="*/ 148 w 197"/>
                <a:gd name="T105" fmla="*/ 76 h 239"/>
                <a:gd name="T106" fmla="*/ 152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5"/>
                  </a:moveTo>
                  <a:lnTo>
                    <a:pt x="197" y="115"/>
                  </a:lnTo>
                  <a:lnTo>
                    <a:pt x="197" y="104"/>
                  </a:lnTo>
                  <a:lnTo>
                    <a:pt x="196" y="92"/>
                  </a:lnTo>
                  <a:lnTo>
                    <a:pt x="194" y="81"/>
                  </a:lnTo>
                  <a:lnTo>
                    <a:pt x="192" y="71"/>
                  </a:lnTo>
                  <a:lnTo>
                    <a:pt x="188" y="61"/>
                  </a:lnTo>
                  <a:lnTo>
                    <a:pt x="184" y="52"/>
                  </a:lnTo>
                  <a:lnTo>
                    <a:pt x="179" y="43"/>
                  </a:lnTo>
                  <a:lnTo>
                    <a:pt x="174" y="34"/>
                  </a:lnTo>
                  <a:lnTo>
                    <a:pt x="167" y="27"/>
                  </a:lnTo>
                  <a:lnTo>
                    <a:pt x="160" y="20"/>
                  </a:lnTo>
                  <a:lnTo>
                    <a:pt x="152" y="14"/>
                  </a:lnTo>
                  <a:lnTo>
                    <a:pt x="144" y="10"/>
                  </a:lnTo>
                  <a:lnTo>
                    <a:pt x="134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0" y="8"/>
                  </a:lnTo>
                  <a:lnTo>
                    <a:pt x="52" y="12"/>
                  </a:lnTo>
                  <a:lnTo>
                    <a:pt x="42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1" y="39"/>
                  </a:lnTo>
                  <a:lnTo>
                    <a:pt x="16" y="48"/>
                  </a:lnTo>
                  <a:lnTo>
                    <a:pt x="11" y="58"/>
                  </a:lnTo>
                  <a:lnTo>
                    <a:pt x="7" y="68"/>
                  </a:lnTo>
                  <a:lnTo>
                    <a:pt x="4" y="80"/>
                  </a:lnTo>
                  <a:lnTo>
                    <a:pt x="2" y="92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4"/>
                  </a:lnTo>
                  <a:lnTo>
                    <a:pt x="2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3" y="183"/>
                  </a:lnTo>
                  <a:lnTo>
                    <a:pt x="18" y="193"/>
                  </a:lnTo>
                  <a:lnTo>
                    <a:pt x="24" y="201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0"/>
                  </a:lnTo>
                  <a:lnTo>
                    <a:pt x="52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6"/>
                  </a:lnTo>
                  <a:lnTo>
                    <a:pt x="89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3" y="238"/>
                  </a:lnTo>
                  <a:lnTo>
                    <a:pt x="125" y="237"/>
                  </a:lnTo>
                  <a:lnTo>
                    <a:pt x="136" y="234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6"/>
                  </a:lnTo>
                  <a:lnTo>
                    <a:pt x="179" y="209"/>
                  </a:lnTo>
                  <a:lnTo>
                    <a:pt x="152" y="180"/>
                  </a:lnTo>
                  <a:lnTo>
                    <a:pt x="152" y="180"/>
                  </a:lnTo>
                  <a:lnTo>
                    <a:pt x="140" y="188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3" y="195"/>
                  </a:lnTo>
                  <a:lnTo>
                    <a:pt x="117" y="197"/>
                  </a:lnTo>
                  <a:lnTo>
                    <a:pt x="110" y="198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92" y="197"/>
                  </a:lnTo>
                  <a:lnTo>
                    <a:pt x="82" y="195"/>
                  </a:lnTo>
                  <a:lnTo>
                    <a:pt x="73" y="190"/>
                  </a:lnTo>
                  <a:lnTo>
                    <a:pt x="65" y="183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8" y="151"/>
                  </a:lnTo>
                  <a:lnTo>
                    <a:pt x="44" y="136"/>
                  </a:lnTo>
                  <a:lnTo>
                    <a:pt x="196" y="136"/>
                  </a:lnTo>
                  <a:lnTo>
                    <a:pt x="196" y="136"/>
                  </a:lnTo>
                  <a:lnTo>
                    <a:pt x="197" y="127"/>
                  </a:lnTo>
                  <a:lnTo>
                    <a:pt x="197" y="115"/>
                  </a:lnTo>
                  <a:lnTo>
                    <a:pt x="197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8" y="85"/>
                  </a:lnTo>
                  <a:lnTo>
                    <a:pt x="51" y="74"/>
                  </a:lnTo>
                  <a:lnTo>
                    <a:pt x="56" y="64"/>
                  </a:lnTo>
                  <a:lnTo>
                    <a:pt x="62" y="56"/>
                  </a:lnTo>
                  <a:lnTo>
                    <a:pt x="69" y="49"/>
                  </a:lnTo>
                  <a:lnTo>
                    <a:pt x="77" y="45"/>
                  </a:lnTo>
                  <a:lnTo>
                    <a:pt x="87" y="42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105" y="41"/>
                  </a:lnTo>
                  <a:lnTo>
                    <a:pt x="111" y="42"/>
                  </a:lnTo>
                  <a:lnTo>
                    <a:pt x="117" y="44"/>
                  </a:lnTo>
                  <a:lnTo>
                    <a:pt x="122" y="45"/>
                  </a:lnTo>
                  <a:lnTo>
                    <a:pt x="127" y="48"/>
                  </a:lnTo>
                  <a:lnTo>
                    <a:pt x="131" y="51"/>
                  </a:lnTo>
                  <a:lnTo>
                    <a:pt x="138" y="58"/>
                  </a:lnTo>
                  <a:lnTo>
                    <a:pt x="144" y="66"/>
                  </a:lnTo>
                  <a:lnTo>
                    <a:pt x="148" y="76"/>
                  </a:lnTo>
                  <a:lnTo>
                    <a:pt x="151" y="87"/>
                  </a:lnTo>
                  <a:lnTo>
                    <a:pt x="152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6" name="Freeform 95"/>
            <p:cNvSpPr>
              <a:spLocks/>
            </p:cNvSpPr>
            <p:nvPr userDrawn="1"/>
          </p:nvSpPr>
          <p:spPr bwMode="auto">
            <a:xfrm>
              <a:off x="1025525" y="6151563"/>
              <a:ext cx="73025" cy="95250"/>
            </a:xfrm>
            <a:custGeom>
              <a:avLst/>
              <a:gdLst>
                <a:gd name="T0" fmla="*/ 181 w 181"/>
                <a:gd name="T1" fmla="*/ 39 h 239"/>
                <a:gd name="T2" fmla="*/ 165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5 w 181"/>
                <a:gd name="T23" fmla="*/ 81 h 239"/>
                <a:gd name="T24" fmla="*/ 1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8 w 181"/>
                <a:gd name="T31" fmla="*/ 169 h 239"/>
                <a:gd name="T32" fmla="*/ 17 w 181"/>
                <a:gd name="T33" fmla="*/ 189 h 239"/>
                <a:gd name="T34" fmla="*/ 29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40 w 181"/>
                <a:gd name="T55" fmla="*/ 180 h 239"/>
                <a:gd name="T56" fmla="*/ 128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4 h 239"/>
                <a:gd name="T82" fmla="*/ 68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7 w 181"/>
                <a:gd name="T91" fmla="*/ 43 h 239"/>
                <a:gd name="T92" fmla="*/ 121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0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0"/>
                  </a:lnTo>
                  <a:lnTo>
                    <a:pt x="72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60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5"/>
                  </a:lnTo>
                  <a:lnTo>
                    <a:pt x="121" y="47"/>
                  </a:lnTo>
                  <a:lnTo>
                    <a:pt x="128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7" name="Freeform 96"/>
            <p:cNvSpPr>
              <a:spLocks/>
            </p:cNvSpPr>
            <p:nvPr userDrawn="1"/>
          </p:nvSpPr>
          <p:spPr bwMode="auto">
            <a:xfrm>
              <a:off x="1108075" y="6153151"/>
              <a:ext cx="73025" cy="92075"/>
            </a:xfrm>
            <a:custGeom>
              <a:avLst/>
              <a:gdLst>
                <a:gd name="T0" fmla="*/ 185 w 185"/>
                <a:gd name="T1" fmla="*/ 39 h 229"/>
                <a:gd name="T2" fmla="*/ 185 w 185"/>
                <a:gd name="T3" fmla="*/ 0 h 229"/>
                <a:gd name="T4" fmla="*/ 0 w 185"/>
                <a:gd name="T5" fmla="*/ 0 h 229"/>
                <a:gd name="T6" fmla="*/ 0 w 185"/>
                <a:gd name="T7" fmla="*/ 39 h 229"/>
                <a:gd name="T8" fmla="*/ 70 w 185"/>
                <a:gd name="T9" fmla="*/ 39 h 229"/>
                <a:gd name="T10" fmla="*/ 70 w 185"/>
                <a:gd name="T11" fmla="*/ 229 h 229"/>
                <a:gd name="T12" fmla="*/ 116 w 185"/>
                <a:gd name="T13" fmla="*/ 229 h 229"/>
                <a:gd name="T14" fmla="*/ 116 w 185"/>
                <a:gd name="T15" fmla="*/ 39 h 229"/>
                <a:gd name="T16" fmla="*/ 185 w 185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185" y="39"/>
                  </a:moveTo>
                  <a:lnTo>
                    <a:pt x="185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229"/>
                  </a:lnTo>
                  <a:lnTo>
                    <a:pt x="116" y="229"/>
                  </a:lnTo>
                  <a:lnTo>
                    <a:pt x="116" y="39"/>
                  </a:lnTo>
                  <a:lnTo>
                    <a:pt x="185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8" name="Freeform 97"/>
            <p:cNvSpPr>
              <a:spLocks noEditPoints="1"/>
            </p:cNvSpPr>
            <p:nvPr userDrawn="1"/>
          </p:nvSpPr>
          <p:spPr bwMode="auto">
            <a:xfrm>
              <a:off x="1193800" y="6153151"/>
              <a:ext cx="74613" cy="92075"/>
            </a:xfrm>
            <a:custGeom>
              <a:avLst/>
              <a:gdLst>
                <a:gd name="T0" fmla="*/ 44 w 184"/>
                <a:gd name="T1" fmla="*/ 0 h 229"/>
                <a:gd name="T2" fmla="*/ 0 w 184"/>
                <a:gd name="T3" fmla="*/ 0 h 229"/>
                <a:gd name="T4" fmla="*/ 0 w 184"/>
                <a:gd name="T5" fmla="*/ 229 h 229"/>
                <a:gd name="T6" fmla="*/ 105 w 184"/>
                <a:gd name="T7" fmla="*/ 229 h 229"/>
                <a:gd name="T8" fmla="*/ 105 w 184"/>
                <a:gd name="T9" fmla="*/ 229 h 229"/>
                <a:gd name="T10" fmla="*/ 114 w 184"/>
                <a:gd name="T11" fmla="*/ 229 h 229"/>
                <a:gd name="T12" fmla="*/ 122 w 184"/>
                <a:gd name="T13" fmla="*/ 228 h 229"/>
                <a:gd name="T14" fmla="*/ 129 w 184"/>
                <a:gd name="T15" fmla="*/ 226 h 229"/>
                <a:gd name="T16" fmla="*/ 137 w 184"/>
                <a:gd name="T17" fmla="*/ 224 h 229"/>
                <a:gd name="T18" fmla="*/ 144 w 184"/>
                <a:gd name="T19" fmla="*/ 222 h 229"/>
                <a:gd name="T20" fmla="*/ 150 w 184"/>
                <a:gd name="T21" fmla="*/ 218 h 229"/>
                <a:gd name="T22" fmla="*/ 156 w 184"/>
                <a:gd name="T23" fmla="*/ 214 h 229"/>
                <a:gd name="T24" fmla="*/ 162 w 184"/>
                <a:gd name="T25" fmla="*/ 210 h 229"/>
                <a:gd name="T26" fmla="*/ 167 w 184"/>
                <a:gd name="T27" fmla="*/ 205 h 229"/>
                <a:gd name="T28" fmla="*/ 171 w 184"/>
                <a:gd name="T29" fmla="*/ 200 h 229"/>
                <a:gd name="T30" fmla="*/ 175 w 184"/>
                <a:gd name="T31" fmla="*/ 193 h 229"/>
                <a:gd name="T32" fmla="*/ 178 w 184"/>
                <a:gd name="T33" fmla="*/ 187 h 229"/>
                <a:gd name="T34" fmla="*/ 180 w 184"/>
                <a:gd name="T35" fmla="*/ 180 h 229"/>
                <a:gd name="T36" fmla="*/ 182 w 184"/>
                <a:gd name="T37" fmla="*/ 172 h 229"/>
                <a:gd name="T38" fmla="*/ 183 w 184"/>
                <a:gd name="T39" fmla="*/ 163 h 229"/>
                <a:gd name="T40" fmla="*/ 184 w 184"/>
                <a:gd name="T41" fmla="*/ 154 h 229"/>
                <a:gd name="T42" fmla="*/ 184 w 184"/>
                <a:gd name="T43" fmla="*/ 154 h 229"/>
                <a:gd name="T44" fmla="*/ 183 w 184"/>
                <a:gd name="T45" fmla="*/ 146 h 229"/>
                <a:gd name="T46" fmla="*/ 182 w 184"/>
                <a:gd name="T47" fmla="*/ 137 h 229"/>
                <a:gd name="T48" fmla="*/ 180 w 184"/>
                <a:gd name="T49" fmla="*/ 130 h 229"/>
                <a:gd name="T50" fmla="*/ 178 w 184"/>
                <a:gd name="T51" fmla="*/ 122 h 229"/>
                <a:gd name="T52" fmla="*/ 175 w 184"/>
                <a:gd name="T53" fmla="*/ 116 h 229"/>
                <a:gd name="T54" fmla="*/ 171 w 184"/>
                <a:gd name="T55" fmla="*/ 110 h 229"/>
                <a:gd name="T56" fmla="*/ 167 w 184"/>
                <a:gd name="T57" fmla="*/ 104 h 229"/>
                <a:gd name="T58" fmla="*/ 162 w 184"/>
                <a:gd name="T59" fmla="*/ 99 h 229"/>
                <a:gd name="T60" fmla="*/ 157 w 184"/>
                <a:gd name="T61" fmla="*/ 95 h 229"/>
                <a:gd name="T62" fmla="*/ 151 w 184"/>
                <a:gd name="T63" fmla="*/ 91 h 229"/>
                <a:gd name="T64" fmla="*/ 145 w 184"/>
                <a:gd name="T65" fmla="*/ 88 h 229"/>
                <a:gd name="T66" fmla="*/ 138 w 184"/>
                <a:gd name="T67" fmla="*/ 85 h 229"/>
                <a:gd name="T68" fmla="*/ 131 w 184"/>
                <a:gd name="T69" fmla="*/ 83 h 229"/>
                <a:gd name="T70" fmla="*/ 123 w 184"/>
                <a:gd name="T71" fmla="*/ 82 h 229"/>
                <a:gd name="T72" fmla="*/ 116 w 184"/>
                <a:gd name="T73" fmla="*/ 81 h 229"/>
                <a:gd name="T74" fmla="*/ 108 w 184"/>
                <a:gd name="T75" fmla="*/ 81 h 229"/>
                <a:gd name="T76" fmla="*/ 44 w 184"/>
                <a:gd name="T77" fmla="*/ 81 h 229"/>
                <a:gd name="T78" fmla="*/ 44 w 184"/>
                <a:gd name="T79" fmla="*/ 0 h 229"/>
                <a:gd name="T80" fmla="*/ 44 w 184"/>
                <a:gd name="T81" fmla="*/ 192 h 229"/>
                <a:gd name="T82" fmla="*/ 44 w 184"/>
                <a:gd name="T83" fmla="*/ 118 h 229"/>
                <a:gd name="T84" fmla="*/ 102 w 184"/>
                <a:gd name="T85" fmla="*/ 118 h 229"/>
                <a:gd name="T86" fmla="*/ 102 w 184"/>
                <a:gd name="T87" fmla="*/ 118 h 229"/>
                <a:gd name="T88" fmla="*/ 110 w 184"/>
                <a:gd name="T89" fmla="*/ 118 h 229"/>
                <a:gd name="T90" fmla="*/ 117 w 184"/>
                <a:gd name="T91" fmla="*/ 120 h 229"/>
                <a:gd name="T92" fmla="*/ 123 w 184"/>
                <a:gd name="T93" fmla="*/ 123 h 229"/>
                <a:gd name="T94" fmla="*/ 129 w 184"/>
                <a:gd name="T95" fmla="*/ 127 h 229"/>
                <a:gd name="T96" fmla="*/ 133 w 184"/>
                <a:gd name="T97" fmla="*/ 133 h 229"/>
                <a:gd name="T98" fmla="*/ 136 w 184"/>
                <a:gd name="T99" fmla="*/ 139 h 229"/>
                <a:gd name="T100" fmla="*/ 138 w 184"/>
                <a:gd name="T101" fmla="*/ 146 h 229"/>
                <a:gd name="T102" fmla="*/ 139 w 184"/>
                <a:gd name="T103" fmla="*/ 155 h 229"/>
                <a:gd name="T104" fmla="*/ 139 w 184"/>
                <a:gd name="T105" fmla="*/ 155 h 229"/>
                <a:gd name="T106" fmla="*/ 138 w 184"/>
                <a:gd name="T107" fmla="*/ 163 h 229"/>
                <a:gd name="T108" fmla="*/ 136 w 184"/>
                <a:gd name="T109" fmla="*/ 170 h 229"/>
                <a:gd name="T110" fmla="*/ 133 w 184"/>
                <a:gd name="T111" fmla="*/ 177 h 229"/>
                <a:gd name="T112" fmla="*/ 129 w 184"/>
                <a:gd name="T113" fmla="*/ 182 h 229"/>
                <a:gd name="T114" fmla="*/ 124 w 184"/>
                <a:gd name="T115" fmla="*/ 186 h 229"/>
                <a:gd name="T116" fmla="*/ 118 w 184"/>
                <a:gd name="T117" fmla="*/ 189 h 229"/>
                <a:gd name="T118" fmla="*/ 110 w 184"/>
                <a:gd name="T119" fmla="*/ 191 h 229"/>
                <a:gd name="T120" fmla="*/ 102 w 184"/>
                <a:gd name="T121" fmla="*/ 192 h 229"/>
                <a:gd name="T122" fmla="*/ 44 w 184"/>
                <a:gd name="T123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4" h="229">
                  <a:moveTo>
                    <a:pt x="44" y="0"/>
                  </a:moveTo>
                  <a:lnTo>
                    <a:pt x="0" y="0"/>
                  </a:lnTo>
                  <a:lnTo>
                    <a:pt x="0" y="229"/>
                  </a:lnTo>
                  <a:lnTo>
                    <a:pt x="105" y="229"/>
                  </a:lnTo>
                  <a:lnTo>
                    <a:pt x="105" y="229"/>
                  </a:lnTo>
                  <a:lnTo>
                    <a:pt x="114" y="229"/>
                  </a:lnTo>
                  <a:lnTo>
                    <a:pt x="122" y="228"/>
                  </a:lnTo>
                  <a:lnTo>
                    <a:pt x="129" y="226"/>
                  </a:lnTo>
                  <a:lnTo>
                    <a:pt x="137" y="224"/>
                  </a:lnTo>
                  <a:lnTo>
                    <a:pt x="144" y="222"/>
                  </a:lnTo>
                  <a:lnTo>
                    <a:pt x="150" y="218"/>
                  </a:lnTo>
                  <a:lnTo>
                    <a:pt x="156" y="214"/>
                  </a:lnTo>
                  <a:lnTo>
                    <a:pt x="162" y="210"/>
                  </a:lnTo>
                  <a:lnTo>
                    <a:pt x="167" y="205"/>
                  </a:lnTo>
                  <a:lnTo>
                    <a:pt x="171" y="200"/>
                  </a:lnTo>
                  <a:lnTo>
                    <a:pt x="175" y="193"/>
                  </a:lnTo>
                  <a:lnTo>
                    <a:pt x="178" y="187"/>
                  </a:lnTo>
                  <a:lnTo>
                    <a:pt x="180" y="180"/>
                  </a:lnTo>
                  <a:lnTo>
                    <a:pt x="182" y="172"/>
                  </a:lnTo>
                  <a:lnTo>
                    <a:pt x="183" y="163"/>
                  </a:lnTo>
                  <a:lnTo>
                    <a:pt x="184" y="154"/>
                  </a:lnTo>
                  <a:lnTo>
                    <a:pt x="184" y="154"/>
                  </a:lnTo>
                  <a:lnTo>
                    <a:pt x="183" y="146"/>
                  </a:lnTo>
                  <a:lnTo>
                    <a:pt x="182" y="137"/>
                  </a:lnTo>
                  <a:lnTo>
                    <a:pt x="180" y="130"/>
                  </a:lnTo>
                  <a:lnTo>
                    <a:pt x="178" y="122"/>
                  </a:lnTo>
                  <a:lnTo>
                    <a:pt x="175" y="116"/>
                  </a:lnTo>
                  <a:lnTo>
                    <a:pt x="171" y="110"/>
                  </a:lnTo>
                  <a:lnTo>
                    <a:pt x="167" y="104"/>
                  </a:lnTo>
                  <a:lnTo>
                    <a:pt x="162" y="99"/>
                  </a:lnTo>
                  <a:lnTo>
                    <a:pt x="157" y="95"/>
                  </a:lnTo>
                  <a:lnTo>
                    <a:pt x="151" y="91"/>
                  </a:lnTo>
                  <a:lnTo>
                    <a:pt x="145" y="88"/>
                  </a:lnTo>
                  <a:lnTo>
                    <a:pt x="138" y="85"/>
                  </a:lnTo>
                  <a:lnTo>
                    <a:pt x="131" y="83"/>
                  </a:lnTo>
                  <a:lnTo>
                    <a:pt x="123" y="82"/>
                  </a:lnTo>
                  <a:lnTo>
                    <a:pt x="116" y="81"/>
                  </a:lnTo>
                  <a:lnTo>
                    <a:pt x="108" y="81"/>
                  </a:lnTo>
                  <a:lnTo>
                    <a:pt x="44" y="81"/>
                  </a:lnTo>
                  <a:lnTo>
                    <a:pt x="44" y="0"/>
                  </a:lnTo>
                  <a:close/>
                  <a:moveTo>
                    <a:pt x="44" y="192"/>
                  </a:moveTo>
                  <a:lnTo>
                    <a:pt x="44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10" y="118"/>
                  </a:lnTo>
                  <a:lnTo>
                    <a:pt x="117" y="120"/>
                  </a:lnTo>
                  <a:lnTo>
                    <a:pt x="123" y="123"/>
                  </a:lnTo>
                  <a:lnTo>
                    <a:pt x="129" y="127"/>
                  </a:lnTo>
                  <a:lnTo>
                    <a:pt x="133" y="133"/>
                  </a:lnTo>
                  <a:lnTo>
                    <a:pt x="136" y="139"/>
                  </a:lnTo>
                  <a:lnTo>
                    <a:pt x="138" y="146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8" y="163"/>
                  </a:lnTo>
                  <a:lnTo>
                    <a:pt x="136" y="170"/>
                  </a:lnTo>
                  <a:lnTo>
                    <a:pt x="133" y="177"/>
                  </a:lnTo>
                  <a:lnTo>
                    <a:pt x="129" y="182"/>
                  </a:lnTo>
                  <a:lnTo>
                    <a:pt x="124" y="186"/>
                  </a:lnTo>
                  <a:lnTo>
                    <a:pt x="118" y="189"/>
                  </a:lnTo>
                  <a:lnTo>
                    <a:pt x="110" y="191"/>
                  </a:lnTo>
                  <a:lnTo>
                    <a:pt x="102" y="192"/>
                  </a:lnTo>
                  <a:lnTo>
                    <a:pt x="44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9" name="Freeform 98"/>
            <p:cNvSpPr>
              <a:spLocks noEditPoints="1"/>
            </p:cNvSpPr>
            <p:nvPr userDrawn="1"/>
          </p:nvSpPr>
          <p:spPr bwMode="auto">
            <a:xfrm>
              <a:off x="1330325" y="6153151"/>
              <a:ext cx="73025" cy="92075"/>
            </a:xfrm>
            <a:custGeom>
              <a:avLst/>
              <a:gdLst>
                <a:gd name="T0" fmla="*/ 0 w 185"/>
                <a:gd name="T1" fmla="*/ 229 h 229"/>
                <a:gd name="T2" fmla="*/ 106 w 185"/>
                <a:gd name="T3" fmla="*/ 229 h 229"/>
                <a:gd name="T4" fmla="*/ 132 w 185"/>
                <a:gd name="T5" fmla="*/ 227 h 229"/>
                <a:gd name="T6" fmla="*/ 147 w 185"/>
                <a:gd name="T7" fmla="*/ 222 h 229"/>
                <a:gd name="T8" fmla="*/ 159 w 185"/>
                <a:gd name="T9" fmla="*/ 215 h 229"/>
                <a:gd name="T10" fmla="*/ 169 w 185"/>
                <a:gd name="T11" fmla="*/ 207 h 229"/>
                <a:gd name="T12" fmla="*/ 177 w 185"/>
                <a:gd name="T13" fmla="*/ 196 h 229"/>
                <a:gd name="T14" fmla="*/ 182 w 185"/>
                <a:gd name="T15" fmla="*/ 182 h 229"/>
                <a:gd name="T16" fmla="*/ 184 w 185"/>
                <a:gd name="T17" fmla="*/ 167 h 229"/>
                <a:gd name="T18" fmla="*/ 185 w 185"/>
                <a:gd name="T19" fmla="*/ 159 h 229"/>
                <a:gd name="T20" fmla="*/ 181 w 185"/>
                <a:gd name="T21" fmla="*/ 138 h 229"/>
                <a:gd name="T22" fmla="*/ 173 w 185"/>
                <a:gd name="T23" fmla="*/ 122 h 229"/>
                <a:gd name="T24" fmla="*/ 161 w 185"/>
                <a:gd name="T25" fmla="*/ 112 h 229"/>
                <a:gd name="T26" fmla="*/ 148 w 185"/>
                <a:gd name="T27" fmla="*/ 106 h 229"/>
                <a:gd name="T28" fmla="*/ 154 w 185"/>
                <a:gd name="T29" fmla="*/ 102 h 229"/>
                <a:gd name="T30" fmla="*/ 165 w 185"/>
                <a:gd name="T31" fmla="*/ 94 h 229"/>
                <a:gd name="T32" fmla="*/ 173 w 185"/>
                <a:gd name="T33" fmla="*/ 82 h 229"/>
                <a:gd name="T34" fmla="*/ 177 w 185"/>
                <a:gd name="T35" fmla="*/ 68 h 229"/>
                <a:gd name="T36" fmla="*/ 178 w 185"/>
                <a:gd name="T37" fmla="*/ 60 h 229"/>
                <a:gd name="T38" fmla="*/ 176 w 185"/>
                <a:gd name="T39" fmla="*/ 46 h 229"/>
                <a:gd name="T40" fmla="*/ 173 w 185"/>
                <a:gd name="T41" fmla="*/ 34 h 229"/>
                <a:gd name="T42" fmla="*/ 167 w 185"/>
                <a:gd name="T43" fmla="*/ 24 h 229"/>
                <a:gd name="T44" fmla="*/ 160 w 185"/>
                <a:gd name="T45" fmla="*/ 15 h 229"/>
                <a:gd name="T46" fmla="*/ 150 w 185"/>
                <a:gd name="T47" fmla="*/ 9 h 229"/>
                <a:gd name="T48" fmla="*/ 126 w 185"/>
                <a:gd name="T49" fmla="*/ 1 h 229"/>
                <a:gd name="T50" fmla="*/ 0 w 185"/>
                <a:gd name="T51" fmla="*/ 0 h 229"/>
                <a:gd name="T52" fmla="*/ 45 w 185"/>
                <a:gd name="T53" fmla="*/ 37 h 229"/>
                <a:gd name="T54" fmla="*/ 104 w 185"/>
                <a:gd name="T55" fmla="*/ 37 h 229"/>
                <a:gd name="T56" fmla="*/ 117 w 185"/>
                <a:gd name="T57" fmla="*/ 39 h 229"/>
                <a:gd name="T58" fmla="*/ 126 w 185"/>
                <a:gd name="T59" fmla="*/ 45 h 229"/>
                <a:gd name="T60" fmla="*/ 131 w 185"/>
                <a:gd name="T61" fmla="*/ 53 h 229"/>
                <a:gd name="T62" fmla="*/ 133 w 185"/>
                <a:gd name="T63" fmla="*/ 64 h 229"/>
                <a:gd name="T64" fmla="*/ 132 w 185"/>
                <a:gd name="T65" fmla="*/ 69 h 229"/>
                <a:gd name="T66" fmla="*/ 129 w 185"/>
                <a:gd name="T67" fmla="*/ 78 h 229"/>
                <a:gd name="T68" fmla="*/ 122 w 185"/>
                <a:gd name="T69" fmla="*/ 85 h 229"/>
                <a:gd name="T70" fmla="*/ 111 w 185"/>
                <a:gd name="T71" fmla="*/ 89 h 229"/>
                <a:gd name="T72" fmla="*/ 45 w 185"/>
                <a:gd name="T73" fmla="*/ 90 h 229"/>
                <a:gd name="T74" fmla="*/ 45 w 185"/>
                <a:gd name="T75" fmla="*/ 127 h 229"/>
                <a:gd name="T76" fmla="*/ 105 w 185"/>
                <a:gd name="T77" fmla="*/ 127 h 229"/>
                <a:gd name="T78" fmla="*/ 120 w 185"/>
                <a:gd name="T79" fmla="*/ 129 h 229"/>
                <a:gd name="T80" fmla="*/ 131 w 185"/>
                <a:gd name="T81" fmla="*/ 136 h 229"/>
                <a:gd name="T82" fmla="*/ 137 w 185"/>
                <a:gd name="T83" fmla="*/ 146 h 229"/>
                <a:gd name="T84" fmla="*/ 140 w 185"/>
                <a:gd name="T85" fmla="*/ 160 h 229"/>
                <a:gd name="T86" fmla="*/ 139 w 185"/>
                <a:gd name="T87" fmla="*/ 167 h 229"/>
                <a:gd name="T88" fmla="*/ 135 w 185"/>
                <a:gd name="T89" fmla="*/ 178 h 229"/>
                <a:gd name="T90" fmla="*/ 127 w 185"/>
                <a:gd name="T91" fmla="*/ 187 h 229"/>
                <a:gd name="T92" fmla="*/ 113 w 185"/>
                <a:gd name="T93" fmla="*/ 191 h 229"/>
                <a:gd name="T94" fmla="*/ 45 w 185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24" y="228"/>
                  </a:lnTo>
                  <a:lnTo>
                    <a:pt x="132" y="227"/>
                  </a:lnTo>
                  <a:lnTo>
                    <a:pt x="140" y="225"/>
                  </a:lnTo>
                  <a:lnTo>
                    <a:pt x="147" y="222"/>
                  </a:lnTo>
                  <a:lnTo>
                    <a:pt x="153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7" y="196"/>
                  </a:lnTo>
                  <a:lnTo>
                    <a:pt x="179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8" y="129"/>
                  </a:lnTo>
                  <a:lnTo>
                    <a:pt x="173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4" y="108"/>
                  </a:lnTo>
                  <a:lnTo>
                    <a:pt x="148" y="106"/>
                  </a:lnTo>
                  <a:lnTo>
                    <a:pt x="148" y="106"/>
                  </a:lnTo>
                  <a:lnTo>
                    <a:pt x="154" y="102"/>
                  </a:lnTo>
                  <a:lnTo>
                    <a:pt x="159" y="98"/>
                  </a:lnTo>
                  <a:lnTo>
                    <a:pt x="165" y="94"/>
                  </a:lnTo>
                  <a:lnTo>
                    <a:pt x="169" y="88"/>
                  </a:lnTo>
                  <a:lnTo>
                    <a:pt x="173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7" y="53"/>
                  </a:lnTo>
                  <a:lnTo>
                    <a:pt x="176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0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60" y="15"/>
                  </a:lnTo>
                  <a:lnTo>
                    <a:pt x="155" y="12"/>
                  </a:lnTo>
                  <a:lnTo>
                    <a:pt x="150" y="9"/>
                  </a:lnTo>
                  <a:lnTo>
                    <a:pt x="139" y="4"/>
                  </a:lnTo>
                  <a:lnTo>
                    <a:pt x="126" y="1"/>
                  </a:lnTo>
                  <a:lnTo>
                    <a:pt x="112" y="0"/>
                  </a:lnTo>
                  <a:lnTo>
                    <a:pt x="0" y="0"/>
                  </a:lnTo>
                  <a:close/>
                  <a:moveTo>
                    <a:pt x="45" y="90"/>
                  </a:moveTo>
                  <a:lnTo>
                    <a:pt x="45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2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6" y="45"/>
                  </a:lnTo>
                  <a:lnTo>
                    <a:pt x="129" y="49"/>
                  </a:lnTo>
                  <a:lnTo>
                    <a:pt x="131" y="53"/>
                  </a:lnTo>
                  <a:lnTo>
                    <a:pt x="132" y="58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9"/>
                  </a:lnTo>
                  <a:lnTo>
                    <a:pt x="131" y="74"/>
                  </a:lnTo>
                  <a:lnTo>
                    <a:pt x="129" y="78"/>
                  </a:lnTo>
                  <a:lnTo>
                    <a:pt x="126" y="82"/>
                  </a:lnTo>
                  <a:lnTo>
                    <a:pt x="122" y="85"/>
                  </a:lnTo>
                  <a:lnTo>
                    <a:pt x="117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5" y="90"/>
                  </a:lnTo>
                  <a:close/>
                  <a:moveTo>
                    <a:pt x="45" y="192"/>
                  </a:moveTo>
                  <a:lnTo>
                    <a:pt x="45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13" y="128"/>
                  </a:lnTo>
                  <a:lnTo>
                    <a:pt x="120" y="129"/>
                  </a:lnTo>
                  <a:lnTo>
                    <a:pt x="126" y="132"/>
                  </a:lnTo>
                  <a:lnTo>
                    <a:pt x="131" y="136"/>
                  </a:lnTo>
                  <a:lnTo>
                    <a:pt x="135" y="141"/>
                  </a:lnTo>
                  <a:lnTo>
                    <a:pt x="137" y="146"/>
                  </a:lnTo>
                  <a:lnTo>
                    <a:pt x="139" y="153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9" y="167"/>
                  </a:lnTo>
                  <a:lnTo>
                    <a:pt x="138" y="173"/>
                  </a:lnTo>
                  <a:lnTo>
                    <a:pt x="135" y="178"/>
                  </a:lnTo>
                  <a:lnTo>
                    <a:pt x="132" y="183"/>
                  </a:lnTo>
                  <a:lnTo>
                    <a:pt x="127" y="187"/>
                  </a:lnTo>
                  <a:lnTo>
                    <a:pt x="121" y="190"/>
                  </a:lnTo>
                  <a:lnTo>
                    <a:pt x="113" y="191"/>
                  </a:lnTo>
                  <a:lnTo>
                    <a:pt x="104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0" name="Freeform 99"/>
            <p:cNvSpPr>
              <a:spLocks noEditPoints="1"/>
            </p:cNvSpPr>
            <p:nvPr userDrawn="1"/>
          </p:nvSpPr>
          <p:spPr bwMode="auto">
            <a:xfrm>
              <a:off x="1416050" y="6151563"/>
              <a:ext cx="80963" cy="95250"/>
            </a:xfrm>
            <a:custGeom>
              <a:avLst/>
              <a:gdLst>
                <a:gd name="T0" fmla="*/ 203 w 204"/>
                <a:gd name="T1" fmla="*/ 105 h 239"/>
                <a:gd name="T2" fmla="*/ 196 w 204"/>
                <a:gd name="T3" fmla="*/ 70 h 239"/>
                <a:gd name="T4" fmla="*/ 181 w 204"/>
                <a:gd name="T5" fmla="*/ 41 h 239"/>
                <a:gd name="T6" fmla="*/ 160 w 204"/>
                <a:gd name="T7" fmla="*/ 19 h 239"/>
                <a:gd name="T8" fmla="*/ 133 w 204"/>
                <a:gd name="T9" fmla="*/ 5 h 239"/>
                <a:gd name="T10" fmla="*/ 102 w 204"/>
                <a:gd name="T11" fmla="*/ 0 h 239"/>
                <a:gd name="T12" fmla="*/ 81 w 204"/>
                <a:gd name="T13" fmla="*/ 2 h 239"/>
                <a:gd name="T14" fmla="*/ 53 w 204"/>
                <a:gd name="T15" fmla="*/ 13 h 239"/>
                <a:gd name="T16" fmla="*/ 29 w 204"/>
                <a:gd name="T17" fmla="*/ 32 h 239"/>
                <a:gd name="T18" fmla="*/ 12 w 204"/>
                <a:gd name="T19" fmla="*/ 59 h 239"/>
                <a:gd name="T20" fmla="*/ 2 w 204"/>
                <a:gd name="T21" fmla="*/ 93 h 239"/>
                <a:gd name="T22" fmla="*/ 0 w 204"/>
                <a:gd name="T23" fmla="*/ 120 h 239"/>
                <a:gd name="T24" fmla="*/ 4 w 204"/>
                <a:gd name="T25" fmla="*/ 157 h 239"/>
                <a:gd name="T26" fmla="*/ 16 w 204"/>
                <a:gd name="T27" fmla="*/ 189 h 239"/>
                <a:gd name="T28" fmla="*/ 36 w 204"/>
                <a:gd name="T29" fmla="*/ 214 h 239"/>
                <a:gd name="T30" fmla="*/ 60 w 204"/>
                <a:gd name="T31" fmla="*/ 230 h 239"/>
                <a:gd name="T32" fmla="*/ 90 w 204"/>
                <a:gd name="T33" fmla="*/ 238 h 239"/>
                <a:gd name="T34" fmla="*/ 111 w 204"/>
                <a:gd name="T35" fmla="*/ 238 h 239"/>
                <a:gd name="T36" fmla="*/ 141 w 204"/>
                <a:gd name="T37" fmla="*/ 231 h 239"/>
                <a:gd name="T38" fmla="*/ 167 w 204"/>
                <a:gd name="T39" fmla="*/ 214 h 239"/>
                <a:gd name="T40" fmla="*/ 187 w 204"/>
                <a:gd name="T41" fmla="*/ 190 h 239"/>
                <a:gd name="T42" fmla="*/ 199 w 204"/>
                <a:gd name="T43" fmla="*/ 158 h 239"/>
                <a:gd name="T44" fmla="*/ 204 w 204"/>
                <a:gd name="T45" fmla="*/ 119 h 239"/>
                <a:gd name="T46" fmla="*/ 158 w 204"/>
                <a:gd name="T47" fmla="*/ 120 h 239"/>
                <a:gd name="T48" fmla="*/ 150 w 204"/>
                <a:gd name="T49" fmla="*/ 162 h 239"/>
                <a:gd name="T50" fmla="*/ 135 w 204"/>
                <a:gd name="T51" fmla="*/ 183 h 239"/>
                <a:gd name="T52" fmla="*/ 120 w 204"/>
                <a:gd name="T53" fmla="*/ 193 h 239"/>
                <a:gd name="T54" fmla="*/ 102 w 204"/>
                <a:gd name="T55" fmla="*/ 196 h 239"/>
                <a:gd name="T56" fmla="*/ 90 w 204"/>
                <a:gd name="T57" fmla="*/ 195 h 239"/>
                <a:gd name="T58" fmla="*/ 74 w 204"/>
                <a:gd name="T59" fmla="*/ 188 h 239"/>
                <a:gd name="T60" fmla="*/ 61 w 204"/>
                <a:gd name="T61" fmla="*/ 176 h 239"/>
                <a:gd name="T62" fmla="*/ 52 w 204"/>
                <a:gd name="T63" fmla="*/ 159 h 239"/>
                <a:gd name="T64" fmla="*/ 45 w 204"/>
                <a:gd name="T65" fmla="*/ 119 h 239"/>
                <a:gd name="T66" fmla="*/ 49 w 204"/>
                <a:gd name="T67" fmla="*/ 88 h 239"/>
                <a:gd name="T68" fmla="*/ 60 w 204"/>
                <a:gd name="T69" fmla="*/ 64 h 239"/>
                <a:gd name="T70" fmla="*/ 72 w 204"/>
                <a:gd name="T71" fmla="*/ 51 h 239"/>
                <a:gd name="T72" fmla="*/ 88 w 204"/>
                <a:gd name="T73" fmla="*/ 44 h 239"/>
                <a:gd name="T74" fmla="*/ 100 w 204"/>
                <a:gd name="T75" fmla="*/ 43 h 239"/>
                <a:gd name="T76" fmla="*/ 119 w 204"/>
                <a:gd name="T77" fmla="*/ 46 h 239"/>
                <a:gd name="T78" fmla="*/ 134 w 204"/>
                <a:gd name="T79" fmla="*/ 55 h 239"/>
                <a:gd name="T80" fmla="*/ 146 w 204"/>
                <a:gd name="T81" fmla="*/ 69 h 239"/>
                <a:gd name="T82" fmla="*/ 154 w 204"/>
                <a:gd name="T83" fmla="*/ 88 h 239"/>
                <a:gd name="T84" fmla="*/ 158 w 204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4" h="239">
                  <a:moveTo>
                    <a:pt x="204" y="119"/>
                  </a:moveTo>
                  <a:lnTo>
                    <a:pt x="204" y="119"/>
                  </a:lnTo>
                  <a:lnTo>
                    <a:pt x="203" y="105"/>
                  </a:lnTo>
                  <a:lnTo>
                    <a:pt x="202" y="93"/>
                  </a:lnTo>
                  <a:lnTo>
                    <a:pt x="199" y="81"/>
                  </a:lnTo>
                  <a:lnTo>
                    <a:pt x="196" y="70"/>
                  </a:lnTo>
                  <a:lnTo>
                    <a:pt x="192" y="59"/>
                  </a:lnTo>
                  <a:lnTo>
                    <a:pt x="187" y="50"/>
                  </a:lnTo>
                  <a:lnTo>
                    <a:pt x="181" y="41"/>
                  </a:lnTo>
                  <a:lnTo>
                    <a:pt x="175" y="33"/>
                  </a:lnTo>
                  <a:lnTo>
                    <a:pt x="168" y="25"/>
                  </a:lnTo>
                  <a:lnTo>
                    <a:pt x="160" y="19"/>
                  </a:lnTo>
                  <a:lnTo>
                    <a:pt x="151" y="13"/>
                  </a:lnTo>
                  <a:lnTo>
                    <a:pt x="142" y="9"/>
                  </a:lnTo>
                  <a:lnTo>
                    <a:pt x="133" y="5"/>
                  </a:lnTo>
                  <a:lnTo>
                    <a:pt x="123" y="3"/>
                  </a:lnTo>
                  <a:lnTo>
                    <a:pt x="113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1" y="1"/>
                  </a:lnTo>
                  <a:lnTo>
                    <a:pt x="81" y="2"/>
                  </a:lnTo>
                  <a:lnTo>
                    <a:pt x="71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5"/>
                  </a:lnTo>
                  <a:lnTo>
                    <a:pt x="4" y="157"/>
                  </a:lnTo>
                  <a:lnTo>
                    <a:pt x="7" y="169"/>
                  </a:lnTo>
                  <a:lnTo>
                    <a:pt x="12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2" y="226"/>
                  </a:lnTo>
                  <a:lnTo>
                    <a:pt x="60" y="230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1" y="238"/>
                  </a:lnTo>
                  <a:lnTo>
                    <a:pt x="122" y="237"/>
                  </a:lnTo>
                  <a:lnTo>
                    <a:pt x="132" y="234"/>
                  </a:lnTo>
                  <a:lnTo>
                    <a:pt x="141" y="231"/>
                  </a:lnTo>
                  <a:lnTo>
                    <a:pt x="151" y="226"/>
                  </a:lnTo>
                  <a:lnTo>
                    <a:pt x="159" y="221"/>
                  </a:lnTo>
                  <a:lnTo>
                    <a:pt x="167" y="214"/>
                  </a:lnTo>
                  <a:lnTo>
                    <a:pt x="174" y="207"/>
                  </a:lnTo>
                  <a:lnTo>
                    <a:pt x="181" y="199"/>
                  </a:lnTo>
                  <a:lnTo>
                    <a:pt x="187" y="190"/>
                  </a:lnTo>
                  <a:lnTo>
                    <a:pt x="192" y="180"/>
                  </a:lnTo>
                  <a:lnTo>
                    <a:pt x="196" y="169"/>
                  </a:lnTo>
                  <a:lnTo>
                    <a:pt x="199" y="158"/>
                  </a:lnTo>
                  <a:lnTo>
                    <a:pt x="202" y="145"/>
                  </a:lnTo>
                  <a:lnTo>
                    <a:pt x="203" y="132"/>
                  </a:lnTo>
                  <a:lnTo>
                    <a:pt x="204" y="119"/>
                  </a:lnTo>
                  <a:lnTo>
                    <a:pt x="204" y="119"/>
                  </a:lnTo>
                  <a:close/>
                  <a:moveTo>
                    <a:pt x="158" y="120"/>
                  </a:moveTo>
                  <a:lnTo>
                    <a:pt x="158" y="120"/>
                  </a:lnTo>
                  <a:lnTo>
                    <a:pt x="157" y="135"/>
                  </a:lnTo>
                  <a:lnTo>
                    <a:pt x="154" y="149"/>
                  </a:lnTo>
                  <a:lnTo>
                    <a:pt x="150" y="162"/>
                  </a:lnTo>
                  <a:lnTo>
                    <a:pt x="143" y="174"/>
                  </a:lnTo>
                  <a:lnTo>
                    <a:pt x="139" y="179"/>
                  </a:lnTo>
                  <a:lnTo>
                    <a:pt x="135" y="183"/>
                  </a:lnTo>
                  <a:lnTo>
                    <a:pt x="130" y="187"/>
                  </a:lnTo>
                  <a:lnTo>
                    <a:pt x="125" y="190"/>
                  </a:lnTo>
                  <a:lnTo>
                    <a:pt x="120" y="193"/>
                  </a:lnTo>
                  <a:lnTo>
                    <a:pt x="114" y="195"/>
                  </a:lnTo>
                  <a:lnTo>
                    <a:pt x="108" y="196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96" y="196"/>
                  </a:lnTo>
                  <a:lnTo>
                    <a:pt x="90" y="195"/>
                  </a:lnTo>
                  <a:lnTo>
                    <a:pt x="84" y="193"/>
                  </a:lnTo>
                  <a:lnTo>
                    <a:pt x="79" y="191"/>
                  </a:lnTo>
                  <a:lnTo>
                    <a:pt x="74" y="188"/>
                  </a:lnTo>
                  <a:lnTo>
                    <a:pt x="69" y="185"/>
                  </a:lnTo>
                  <a:lnTo>
                    <a:pt x="65" y="181"/>
                  </a:lnTo>
                  <a:lnTo>
                    <a:pt x="61" y="176"/>
                  </a:lnTo>
                  <a:lnTo>
                    <a:pt x="57" y="171"/>
                  </a:lnTo>
                  <a:lnTo>
                    <a:pt x="54" y="165"/>
                  </a:lnTo>
                  <a:lnTo>
                    <a:pt x="52" y="159"/>
                  </a:lnTo>
                  <a:lnTo>
                    <a:pt x="49" y="152"/>
                  </a:lnTo>
                  <a:lnTo>
                    <a:pt x="46" y="136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8"/>
                  </a:lnTo>
                  <a:lnTo>
                    <a:pt x="54" y="75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8" y="44"/>
                  </a:lnTo>
                  <a:lnTo>
                    <a:pt x="94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7" y="43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4" y="49"/>
                  </a:lnTo>
                  <a:lnTo>
                    <a:pt x="130" y="51"/>
                  </a:lnTo>
                  <a:lnTo>
                    <a:pt x="134" y="55"/>
                  </a:lnTo>
                  <a:lnTo>
                    <a:pt x="139" y="59"/>
                  </a:lnTo>
                  <a:lnTo>
                    <a:pt x="143" y="64"/>
                  </a:lnTo>
                  <a:lnTo>
                    <a:pt x="146" y="69"/>
                  </a:lnTo>
                  <a:lnTo>
                    <a:pt x="150" y="75"/>
                  </a:lnTo>
                  <a:lnTo>
                    <a:pt x="152" y="81"/>
                  </a:lnTo>
                  <a:lnTo>
                    <a:pt x="154" y="88"/>
                  </a:lnTo>
                  <a:lnTo>
                    <a:pt x="157" y="103"/>
                  </a:lnTo>
                  <a:lnTo>
                    <a:pt x="158" y="120"/>
                  </a:lnTo>
                  <a:lnTo>
                    <a:pt x="158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1" name="Freeform 100"/>
            <p:cNvSpPr>
              <a:spLocks/>
            </p:cNvSpPr>
            <p:nvPr userDrawn="1"/>
          </p:nvSpPr>
          <p:spPr bwMode="auto">
            <a:xfrm>
              <a:off x="1516063" y="6153151"/>
              <a:ext cx="73025" cy="92075"/>
            </a:xfrm>
            <a:custGeom>
              <a:avLst/>
              <a:gdLst>
                <a:gd name="T0" fmla="*/ 0 w 185"/>
                <a:gd name="T1" fmla="*/ 0 h 229"/>
                <a:gd name="T2" fmla="*/ 0 w 185"/>
                <a:gd name="T3" fmla="*/ 229 h 229"/>
                <a:gd name="T4" fmla="*/ 45 w 185"/>
                <a:gd name="T5" fmla="*/ 229 h 229"/>
                <a:gd name="T6" fmla="*/ 45 w 185"/>
                <a:gd name="T7" fmla="*/ 39 h 229"/>
                <a:gd name="T8" fmla="*/ 140 w 185"/>
                <a:gd name="T9" fmla="*/ 39 h 229"/>
                <a:gd name="T10" fmla="*/ 140 w 185"/>
                <a:gd name="T11" fmla="*/ 229 h 229"/>
                <a:gd name="T12" fmla="*/ 185 w 185"/>
                <a:gd name="T13" fmla="*/ 229 h 229"/>
                <a:gd name="T14" fmla="*/ 185 w 185"/>
                <a:gd name="T15" fmla="*/ 0 h 229"/>
                <a:gd name="T16" fmla="*/ 0 w 185"/>
                <a:gd name="T17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45" y="229"/>
                  </a:lnTo>
                  <a:lnTo>
                    <a:pt x="45" y="39"/>
                  </a:lnTo>
                  <a:lnTo>
                    <a:pt x="140" y="39"/>
                  </a:lnTo>
                  <a:lnTo>
                    <a:pt x="140" y="229"/>
                  </a:lnTo>
                  <a:lnTo>
                    <a:pt x="185" y="229"/>
                  </a:lnTo>
                  <a:lnTo>
                    <a:pt x="1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2" name="Freeform 101"/>
            <p:cNvSpPr>
              <a:spLocks noEditPoints="1"/>
            </p:cNvSpPr>
            <p:nvPr userDrawn="1"/>
          </p:nvSpPr>
          <p:spPr bwMode="auto">
            <a:xfrm>
              <a:off x="1611313" y="6151563"/>
              <a:ext cx="76200" cy="127000"/>
            </a:xfrm>
            <a:custGeom>
              <a:avLst/>
              <a:gdLst>
                <a:gd name="T0" fmla="*/ 192 w 192"/>
                <a:gd name="T1" fmla="*/ 123 h 319"/>
                <a:gd name="T2" fmla="*/ 191 w 192"/>
                <a:gd name="T3" fmla="*/ 93 h 319"/>
                <a:gd name="T4" fmla="*/ 186 w 192"/>
                <a:gd name="T5" fmla="*/ 67 h 319"/>
                <a:gd name="T6" fmla="*/ 178 w 192"/>
                <a:gd name="T7" fmla="*/ 46 h 319"/>
                <a:gd name="T8" fmla="*/ 167 w 192"/>
                <a:gd name="T9" fmla="*/ 29 h 319"/>
                <a:gd name="T10" fmla="*/ 154 w 192"/>
                <a:gd name="T11" fmla="*/ 16 h 319"/>
                <a:gd name="T12" fmla="*/ 139 w 192"/>
                <a:gd name="T13" fmla="*/ 7 h 319"/>
                <a:gd name="T14" fmla="*/ 122 w 192"/>
                <a:gd name="T15" fmla="*/ 2 h 319"/>
                <a:gd name="T16" fmla="*/ 104 w 192"/>
                <a:gd name="T17" fmla="*/ 0 h 319"/>
                <a:gd name="T18" fmla="*/ 96 w 192"/>
                <a:gd name="T19" fmla="*/ 1 h 319"/>
                <a:gd name="T20" fmla="*/ 79 w 192"/>
                <a:gd name="T21" fmla="*/ 5 h 319"/>
                <a:gd name="T22" fmla="*/ 64 w 192"/>
                <a:gd name="T23" fmla="*/ 12 h 319"/>
                <a:gd name="T24" fmla="*/ 45 w 192"/>
                <a:gd name="T25" fmla="*/ 27 h 319"/>
                <a:gd name="T26" fmla="*/ 0 w 192"/>
                <a:gd name="T27" fmla="*/ 5 h 319"/>
                <a:gd name="T28" fmla="*/ 45 w 192"/>
                <a:gd name="T29" fmla="*/ 295 h 319"/>
                <a:gd name="T30" fmla="*/ 45 w 192"/>
                <a:gd name="T31" fmla="*/ 213 h 319"/>
                <a:gd name="T32" fmla="*/ 58 w 192"/>
                <a:gd name="T33" fmla="*/ 224 h 319"/>
                <a:gd name="T34" fmla="*/ 72 w 192"/>
                <a:gd name="T35" fmla="*/ 232 h 319"/>
                <a:gd name="T36" fmla="*/ 87 w 192"/>
                <a:gd name="T37" fmla="*/ 237 h 319"/>
                <a:gd name="T38" fmla="*/ 102 w 192"/>
                <a:gd name="T39" fmla="*/ 239 h 319"/>
                <a:gd name="T40" fmla="*/ 111 w 192"/>
                <a:gd name="T41" fmla="*/ 238 h 319"/>
                <a:gd name="T42" fmla="*/ 128 w 192"/>
                <a:gd name="T43" fmla="*/ 235 h 319"/>
                <a:gd name="T44" fmla="*/ 144 w 192"/>
                <a:gd name="T45" fmla="*/ 228 h 319"/>
                <a:gd name="T46" fmla="*/ 159 w 192"/>
                <a:gd name="T47" fmla="*/ 217 h 319"/>
                <a:gd name="T48" fmla="*/ 171 w 192"/>
                <a:gd name="T49" fmla="*/ 203 h 319"/>
                <a:gd name="T50" fmla="*/ 181 w 192"/>
                <a:gd name="T51" fmla="*/ 185 h 319"/>
                <a:gd name="T52" fmla="*/ 188 w 192"/>
                <a:gd name="T53" fmla="*/ 163 h 319"/>
                <a:gd name="T54" fmla="*/ 192 w 192"/>
                <a:gd name="T55" fmla="*/ 138 h 319"/>
                <a:gd name="T56" fmla="*/ 192 w 192"/>
                <a:gd name="T57" fmla="*/ 123 h 319"/>
                <a:gd name="T58" fmla="*/ 147 w 192"/>
                <a:gd name="T59" fmla="*/ 125 h 319"/>
                <a:gd name="T60" fmla="*/ 144 w 192"/>
                <a:gd name="T61" fmla="*/ 156 h 319"/>
                <a:gd name="T62" fmla="*/ 138 w 192"/>
                <a:gd name="T63" fmla="*/ 174 h 319"/>
                <a:gd name="T64" fmla="*/ 132 w 192"/>
                <a:gd name="T65" fmla="*/ 183 h 319"/>
                <a:gd name="T66" fmla="*/ 124 w 192"/>
                <a:gd name="T67" fmla="*/ 190 h 319"/>
                <a:gd name="T68" fmla="*/ 115 w 192"/>
                <a:gd name="T69" fmla="*/ 195 h 319"/>
                <a:gd name="T70" fmla="*/ 104 w 192"/>
                <a:gd name="T71" fmla="*/ 197 h 319"/>
                <a:gd name="T72" fmla="*/ 98 w 192"/>
                <a:gd name="T73" fmla="*/ 197 h 319"/>
                <a:gd name="T74" fmla="*/ 81 w 192"/>
                <a:gd name="T75" fmla="*/ 195 h 319"/>
                <a:gd name="T76" fmla="*/ 66 w 192"/>
                <a:gd name="T77" fmla="*/ 187 h 319"/>
                <a:gd name="T78" fmla="*/ 54 w 192"/>
                <a:gd name="T79" fmla="*/ 178 h 319"/>
                <a:gd name="T80" fmla="*/ 44 w 192"/>
                <a:gd name="T81" fmla="*/ 167 h 319"/>
                <a:gd name="T82" fmla="*/ 44 w 192"/>
                <a:gd name="T83" fmla="*/ 71 h 319"/>
                <a:gd name="T84" fmla="*/ 56 w 192"/>
                <a:gd name="T85" fmla="*/ 59 h 319"/>
                <a:gd name="T86" fmla="*/ 68 w 192"/>
                <a:gd name="T87" fmla="*/ 50 h 319"/>
                <a:gd name="T88" fmla="*/ 82 w 192"/>
                <a:gd name="T89" fmla="*/ 44 h 319"/>
                <a:gd name="T90" fmla="*/ 96 w 192"/>
                <a:gd name="T91" fmla="*/ 42 h 319"/>
                <a:gd name="T92" fmla="*/ 102 w 192"/>
                <a:gd name="T93" fmla="*/ 42 h 319"/>
                <a:gd name="T94" fmla="*/ 113 w 192"/>
                <a:gd name="T95" fmla="*/ 45 h 319"/>
                <a:gd name="T96" fmla="*/ 123 w 192"/>
                <a:gd name="T97" fmla="*/ 49 h 319"/>
                <a:gd name="T98" fmla="*/ 131 w 192"/>
                <a:gd name="T99" fmla="*/ 57 h 319"/>
                <a:gd name="T100" fmla="*/ 137 w 192"/>
                <a:gd name="T101" fmla="*/ 67 h 319"/>
                <a:gd name="T102" fmla="*/ 144 w 192"/>
                <a:gd name="T103" fmla="*/ 88 h 319"/>
                <a:gd name="T104" fmla="*/ 147 w 192"/>
                <a:gd name="T105" fmla="*/ 125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2" h="319">
                  <a:moveTo>
                    <a:pt x="192" y="123"/>
                  </a:moveTo>
                  <a:lnTo>
                    <a:pt x="192" y="123"/>
                  </a:lnTo>
                  <a:lnTo>
                    <a:pt x="192" y="107"/>
                  </a:lnTo>
                  <a:lnTo>
                    <a:pt x="191" y="93"/>
                  </a:lnTo>
                  <a:lnTo>
                    <a:pt x="188" y="79"/>
                  </a:lnTo>
                  <a:lnTo>
                    <a:pt x="186" y="67"/>
                  </a:lnTo>
                  <a:lnTo>
                    <a:pt x="182" y="56"/>
                  </a:lnTo>
                  <a:lnTo>
                    <a:pt x="178" y="46"/>
                  </a:lnTo>
                  <a:lnTo>
                    <a:pt x="172" y="37"/>
                  </a:lnTo>
                  <a:lnTo>
                    <a:pt x="167" y="29"/>
                  </a:lnTo>
                  <a:lnTo>
                    <a:pt x="161" y="22"/>
                  </a:lnTo>
                  <a:lnTo>
                    <a:pt x="154" y="16"/>
                  </a:lnTo>
                  <a:lnTo>
                    <a:pt x="147" y="11"/>
                  </a:lnTo>
                  <a:lnTo>
                    <a:pt x="139" y="7"/>
                  </a:lnTo>
                  <a:lnTo>
                    <a:pt x="131" y="4"/>
                  </a:lnTo>
                  <a:lnTo>
                    <a:pt x="122" y="2"/>
                  </a:lnTo>
                  <a:lnTo>
                    <a:pt x="113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6" y="1"/>
                  </a:lnTo>
                  <a:lnTo>
                    <a:pt x="87" y="2"/>
                  </a:lnTo>
                  <a:lnTo>
                    <a:pt x="79" y="5"/>
                  </a:lnTo>
                  <a:lnTo>
                    <a:pt x="72" y="8"/>
                  </a:lnTo>
                  <a:lnTo>
                    <a:pt x="64" y="12"/>
                  </a:lnTo>
                  <a:lnTo>
                    <a:pt x="58" y="16"/>
                  </a:lnTo>
                  <a:lnTo>
                    <a:pt x="45" y="27"/>
                  </a:lnTo>
                  <a:lnTo>
                    <a:pt x="45" y="5"/>
                  </a:lnTo>
                  <a:lnTo>
                    <a:pt x="0" y="5"/>
                  </a:lnTo>
                  <a:lnTo>
                    <a:pt x="0" y="319"/>
                  </a:lnTo>
                  <a:lnTo>
                    <a:pt x="45" y="295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51" y="219"/>
                  </a:lnTo>
                  <a:lnTo>
                    <a:pt x="58" y="224"/>
                  </a:lnTo>
                  <a:lnTo>
                    <a:pt x="65" y="229"/>
                  </a:lnTo>
                  <a:lnTo>
                    <a:pt x="72" y="232"/>
                  </a:lnTo>
                  <a:lnTo>
                    <a:pt x="79" y="235"/>
                  </a:lnTo>
                  <a:lnTo>
                    <a:pt x="87" y="237"/>
                  </a:lnTo>
                  <a:lnTo>
                    <a:pt x="95" y="238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11" y="238"/>
                  </a:lnTo>
                  <a:lnTo>
                    <a:pt x="120" y="237"/>
                  </a:lnTo>
                  <a:lnTo>
                    <a:pt x="128" y="235"/>
                  </a:lnTo>
                  <a:lnTo>
                    <a:pt x="136" y="232"/>
                  </a:lnTo>
                  <a:lnTo>
                    <a:pt x="144" y="228"/>
                  </a:lnTo>
                  <a:lnTo>
                    <a:pt x="152" y="223"/>
                  </a:lnTo>
                  <a:lnTo>
                    <a:pt x="159" y="217"/>
                  </a:lnTo>
                  <a:lnTo>
                    <a:pt x="165" y="211"/>
                  </a:lnTo>
                  <a:lnTo>
                    <a:pt x="171" y="203"/>
                  </a:lnTo>
                  <a:lnTo>
                    <a:pt x="176" y="194"/>
                  </a:lnTo>
                  <a:lnTo>
                    <a:pt x="181" y="185"/>
                  </a:lnTo>
                  <a:lnTo>
                    <a:pt x="185" y="174"/>
                  </a:lnTo>
                  <a:lnTo>
                    <a:pt x="188" y="163"/>
                  </a:lnTo>
                  <a:lnTo>
                    <a:pt x="190" y="151"/>
                  </a:lnTo>
                  <a:lnTo>
                    <a:pt x="192" y="138"/>
                  </a:lnTo>
                  <a:lnTo>
                    <a:pt x="192" y="123"/>
                  </a:lnTo>
                  <a:lnTo>
                    <a:pt x="192" y="123"/>
                  </a:lnTo>
                  <a:close/>
                  <a:moveTo>
                    <a:pt x="147" y="125"/>
                  </a:moveTo>
                  <a:lnTo>
                    <a:pt x="147" y="125"/>
                  </a:lnTo>
                  <a:lnTo>
                    <a:pt x="147" y="142"/>
                  </a:lnTo>
                  <a:lnTo>
                    <a:pt x="144" y="156"/>
                  </a:lnTo>
                  <a:lnTo>
                    <a:pt x="140" y="169"/>
                  </a:lnTo>
                  <a:lnTo>
                    <a:pt x="138" y="174"/>
                  </a:lnTo>
                  <a:lnTo>
                    <a:pt x="135" y="179"/>
                  </a:lnTo>
                  <a:lnTo>
                    <a:pt x="132" y="183"/>
                  </a:lnTo>
                  <a:lnTo>
                    <a:pt x="128" y="187"/>
                  </a:lnTo>
                  <a:lnTo>
                    <a:pt x="124" y="190"/>
                  </a:lnTo>
                  <a:lnTo>
                    <a:pt x="119" y="193"/>
                  </a:lnTo>
                  <a:lnTo>
                    <a:pt x="115" y="195"/>
                  </a:lnTo>
                  <a:lnTo>
                    <a:pt x="109" y="196"/>
                  </a:lnTo>
                  <a:lnTo>
                    <a:pt x="104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89" y="197"/>
                  </a:lnTo>
                  <a:lnTo>
                    <a:pt x="81" y="195"/>
                  </a:lnTo>
                  <a:lnTo>
                    <a:pt x="74" y="191"/>
                  </a:lnTo>
                  <a:lnTo>
                    <a:pt x="66" y="187"/>
                  </a:lnTo>
                  <a:lnTo>
                    <a:pt x="60" y="183"/>
                  </a:lnTo>
                  <a:lnTo>
                    <a:pt x="54" y="178"/>
                  </a:lnTo>
                  <a:lnTo>
                    <a:pt x="48" y="173"/>
                  </a:lnTo>
                  <a:lnTo>
                    <a:pt x="44" y="167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50" y="64"/>
                  </a:lnTo>
                  <a:lnTo>
                    <a:pt x="56" y="59"/>
                  </a:lnTo>
                  <a:lnTo>
                    <a:pt x="62" y="54"/>
                  </a:lnTo>
                  <a:lnTo>
                    <a:pt x="68" y="50"/>
                  </a:lnTo>
                  <a:lnTo>
                    <a:pt x="75" y="46"/>
                  </a:lnTo>
                  <a:lnTo>
                    <a:pt x="82" y="44"/>
                  </a:lnTo>
                  <a:lnTo>
                    <a:pt x="89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102" y="42"/>
                  </a:lnTo>
                  <a:lnTo>
                    <a:pt x="108" y="43"/>
                  </a:lnTo>
                  <a:lnTo>
                    <a:pt x="113" y="45"/>
                  </a:lnTo>
                  <a:lnTo>
                    <a:pt x="118" y="47"/>
                  </a:lnTo>
                  <a:lnTo>
                    <a:pt x="123" y="49"/>
                  </a:lnTo>
                  <a:lnTo>
                    <a:pt x="127" y="53"/>
                  </a:lnTo>
                  <a:lnTo>
                    <a:pt x="131" y="57"/>
                  </a:lnTo>
                  <a:lnTo>
                    <a:pt x="134" y="62"/>
                  </a:lnTo>
                  <a:lnTo>
                    <a:pt x="137" y="67"/>
                  </a:lnTo>
                  <a:lnTo>
                    <a:pt x="140" y="73"/>
                  </a:lnTo>
                  <a:lnTo>
                    <a:pt x="144" y="88"/>
                  </a:lnTo>
                  <a:lnTo>
                    <a:pt x="147" y="105"/>
                  </a:lnTo>
                  <a:lnTo>
                    <a:pt x="147" y="125"/>
                  </a:lnTo>
                  <a:lnTo>
                    <a:pt x="147" y="1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3" name="Freeform 102"/>
            <p:cNvSpPr>
              <a:spLocks noEditPoints="1"/>
            </p:cNvSpPr>
            <p:nvPr userDrawn="1"/>
          </p:nvSpPr>
          <p:spPr bwMode="auto">
            <a:xfrm>
              <a:off x="1701800" y="6151563"/>
              <a:ext cx="82550" cy="95250"/>
            </a:xfrm>
            <a:custGeom>
              <a:avLst/>
              <a:gdLst>
                <a:gd name="T0" fmla="*/ 205 w 206"/>
                <a:gd name="T1" fmla="*/ 105 h 239"/>
                <a:gd name="T2" fmla="*/ 198 w 206"/>
                <a:gd name="T3" fmla="*/ 70 h 239"/>
                <a:gd name="T4" fmla="*/ 183 w 206"/>
                <a:gd name="T5" fmla="*/ 41 h 239"/>
                <a:gd name="T6" fmla="*/ 161 w 206"/>
                <a:gd name="T7" fmla="*/ 19 h 239"/>
                <a:gd name="T8" fmla="*/ 135 w 206"/>
                <a:gd name="T9" fmla="*/ 5 h 239"/>
                <a:gd name="T10" fmla="*/ 103 w 206"/>
                <a:gd name="T11" fmla="*/ 0 h 239"/>
                <a:gd name="T12" fmla="*/ 82 w 206"/>
                <a:gd name="T13" fmla="*/ 2 h 239"/>
                <a:gd name="T14" fmla="*/ 53 w 206"/>
                <a:gd name="T15" fmla="*/ 13 h 239"/>
                <a:gd name="T16" fmla="*/ 30 w 206"/>
                <a:gd name="T17" fmla="*/ 32 h 239"/>
                <a:gd name="T18" fmla="*/ 13 w 206"/>
                <a:gd name="T19" fmla="*/ 59 h 239"/>
                <a:gd name="T20" fmla="*/ 2 w 206"/>
                <a:gd name="T21" fmla="*/ 93 h 239"/>
                <a:gd name="T22" fmla="*/ 0 w 206"/>
                <a:gd name="T23" fmla="*/ 120 h 239"/>
                <a:gd name="T24" fmla="*/ 5 w 206"/>
                <a:gd name="T25" fmla="*/ 157 h 239"/>
                <a:gd name="T26" fmla="*/ 17 w 206"/>
                <a:gd name="T27" fmla="*/ 189 h 239"/>
                <a:gd name="T28" fmla="*/ 36 w 206"/>
                <a:gd name="T29" fmla="*/ 214 h 239"/>
                <a:gd name="T30" fmla="*/ 61 w 206"/>
                <a:gd name="T31" fmla="*/ 230 h 239"/>
                <a:gd name="T32" fmla="*/ 91 w 206"/>
                <a:gd name="T33" fmla="*/ 238 h 239"/>
                <a:gd name="T34" fmla="*/ 113 w 206"/>
                <a:gd name="T35" fmla="*/ 238 h 239"/>
                <a:gd name="T36" fmla="*/ 143 w 206"/>
                <a:gd name="T37" fmla="*/ 231 h 239"/>
                <a:gd name="T38" fmla="*/ 169 w 206"/>
                <a:gd name="T39" fmla="*/ 214 h 239"/>
                <a:gd name="T40" fmla="*/ 188 w 206"/>
                <a:gd name="T41" fmla="*/ 190 h 239"/>
                <a:gd name="T42" fmla="*/ 201 w 206"/>
                <a:gd name="T43" fmla="*/ 158 h 239"/>
                <a:gd name="T44" fmla="*/ 206 w 206"/>
                <a:gd name="T45" fmla="*/ 119 h 239"/>
                <a:gd name="T46" fmla="*/ 160 w 206"/>
                <a:gd name="T47" fmla="*/ 120 h 239"/>
                <a:gd name="T48" fmla="*/ 151 w 206"/>
                <a:gd name="T49" fmla="*/ 162 h 239"/>
                <a:gd name="T50" fmla="*/ 137 w 206"/>
                <a:gd name="T51" fmla="*/ 183 h 239"/>
                <a:gd name="T52" fmla="*/ 122 w 206"/>
                <a:gd name="T53" fmla="*/ 193 h 239"/>
                <a:gd name="T54" fmla="*/ 104 w 206"/>
                <a:gd name="T55" fmla="*/ 196 h 239"/>
                <a:gd name="T56" fmla="*/ 91 w 206"/>
                <a:gd name="T57" fmla="*/ 195 h 239"/>
                <a:gd name="T58" fmla="*/ 75 w 206"/>
                <a:gd name="T59" fmla="*/ 188 h 239"/>
                <a:gd name="T60" fmla="*/ 62 w 206"/>
                <a:gd name="T61" fmla="*/ 176 h 239"/>
                <a:gd name="T62" fmla="*/ 52 w 206"/>
                <a:gd name="T63" fmla="*/ 159 h 239"/>
                <a:gd name="T64" fmla="*/ 46 w 206"/>
                <a:gd name="T65" fmla="*/ 119 h 239"/>
                <a:gd name="T66" fmla="*/ 50 w 206"/>
                <a:gd name="T67" fmla="*/ 88 h 239"/>
                <a:gd name="T68" fmla="*/ 61 w 206"/>
                <a:gd name="T69" fmla="*/ 64 h 239"/>
                <a:gd name="T70" fmla="*/ 73 w 206"/>
                <a:gd name="T71" fmla="*/ 51 h 239"/>
                <a:gd name="T72" fmla="*/ 89 w 206"/>
                <a:gd name="T73" fmla="*/ 44 h 239"/>
                <a:gd name="T74" fmla="*/ 101 w 206"/>
                <a:gd name="T75" fmla="*/ 43 h 239"/>
                <a:gd name="T76" fmla="*/ 121 w 206"/>
                <a:gd name="T77" fmla="*/ 46 h 239"/>
                <a:gd name="T78" fmla="*/ 136 w 206"/>
                <a:gd name="T79" fmla="*/ 55 h 239"/>
                <a:gd name="T80" fmla="*/ 148 w 206"/>
                <a:gd name="T81" fmla="*/ 69 h 239"/>
                <a:gd name="T82" fmla="*/ 156 w 206"/>
                <a:gd name="T83" fmla="*/ 88 h 239"/>
                <a:gd name="T84" fmla="*/ 160 w 206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6" h="239">
                  <a:moveTo>
                    <a:pt x="206" y="119"/>
                  </a:moveTo>
                  <a:lnTo>
                    <a:pt x="206" y="119"/>
                  </a:lnTo>
                  <a:lnTo>
                    <a:pt x="205" y="105"/>
                  </a:lnTo>
                  <a:lnTo>
                    <a:pt x="204" y="93"/>
                  </a:lnTo>
                  <a:lnTo>
                    <a:pt x="201" y="81"/>
                  </a:lnTo>
                  <a:lnTo>
                    <a:pt x="198" y="70"/>
                  </a:lnTo>
                  <a:lnTo>
                    <a:pt x="194" y="59"/>
                  </a:lnTo>
                  <a:lnTo>
                    <a:pt x="189" y="50"/>
                  </a:lnTo>
                  <a:lnTo>
                    <a:pt x="183" y="41"/>
                  </a:lnTo>
                  <a:lnTo>
                    <a:pt x="176" y="33"/>
                  </a:lnTo>
                  <a:lnTo>
                    <a:pt x="169" y="25"/>
                  </a:lnTo>
                  <a:lnTo>
                    <a:pt x="161" y="19"/>
                  </a:lnTo>
                  <a:lnTo>
                    <a:pt x="153" y="13"/>
                  </a:lnTo>
                  <a:lnTo>
                    <a:pt x="144" y="9"/>
                  </a:lnTo>
                  <a:lnTo>
                    <a:pt x="135" y="5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92" y="1"/>
                  </a:lnTo>
                  <a:lnTo>
                    <a:pt x="82" y="2"/>
                  </a:lnTo>
                  <a:lnTo>
                    <a:pt x="72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0" y="32"/>
                  </a:lnTo>
                  <a:lnTo>
                    <a:pt x="23" y="40"/>
                  </a:lnTo>
                  <a:lnTo>
                    <a:pt x="18" y="49"/>
                  </a:lnTo>
                  <a:lnTo>
                    <a:pt x="13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4" y="220"/>
                  </a:lnTo>
                  <a:lnTo>
                    <a:pt x="52" y="226"/>
                  </a:lnTo>
                  <a:lnTo>
                    <a:pt x="61" y="230"/>
                  </a:lnTo>
                  <a:lnTo>
                    <a:pt x="71" y="234"/>
                  </a:lnTo>
                  <a:lnTo>
                    <a:pt x="80" y="237"/>
                  </a:lnTo>
                  <a:lnTo>
                    <a:pt x="91" y="238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3" y="238"/>
                  </a:lnTo>
                  <a:lnTo>
                    <a:pt x="124" y="237"/>
                  </a:lnTo>
                  <a:lnTo>
                    <a:pt x="134" y="234"/>
                  </a:lnTo>
                  <a:lnTo>
                    <a:pt x="143" y="231"/>
                  </a:lnTo>
                  <a:lnTo>
                    <a:pt x="152" y="226"/>
                  </a:lnTo>
                  <a:lnTo>
                    <a:pt x="161" y="221"/>
                  </a:lnTo>
                  <a:lnTo>
                    <a:pt x="169" y="214"/>
                  </a:lnTo>
                  <a:lnTo>
                    <a:pt x="176" y="207"/>
                  </a:lnTo>
                  <a:lnTo>
                    <a:pt x="182" y="199"/>
                  </a:lnTo>
                  <a:lnTo>
                    <a:pt x="188" y="190"/>
                  </a:lnTo>
                  <a:lnTo>
                    <a:pt x="193" y="180"/>
                  </a:lnTo>
                  <a:lnTo>
                    <a:pt x="198" y="169"/>
                  </a:lnTo>
                  <a:lnTo>
                    <a:pt x="201" y="158"/>
                  </a:lnTo>
                  <a:lnTo>
                    <a:pt x="203" y="145"/>
                  </a:lnTo>
                  <a:lnTo>
                    <a:pt x="205" y="132"/>
                  </a:lnTo>
                  <a:lnTo>
                    <a:pt x="206" y="119"/>
                  </a:lnTo>
                  <a:lnTo>
                    <a:pt x="206" y="119"/>
                  </a:lnTo>
                  <a:close/>
                  <a:moveTo>
                    <a:pt x="160" y="120"/>
                  </a:moveTo>
                  <a:lnTo>
                    <a:pt x="160" y="120"/>
                  </a:lnTo>
                  <a:lnTo>
                    <a:pt x="159" y="135"/>
                  </a:lnTo>
                  <a:lnTo>
                    <a:pt x="156" y="149"/>
                  </a:lnTo>
                  <a:lnTo>
                    <a:pt x="151" y="162"/>
                  </a:lnTo>
                  <a:lnTo>
                    <a:pt x="145" y="174"/>
                  </a:lnTo>
                  <a:lnTo>
                    <a:pt x="141" y="179"/>
                  </a:lnTo>
                  <a:lnTo>
                    <a:pt x="137" y="183"/>
                  </a:lnTo>
                  <a:lnTo>
                    <a:pt x="132" y="187"/>
                  </a:lnTo>
                  <a:lnTo>
                    <a:pt x="127" y="190"/>
                  </a:lnTo>
                  <a:lnTo>
                    <a:pt x="122" y="193"/>
                  </a:lnTo>
                  <a:lnTo>
                    <a:pt x="116" y="195"/>
                  </a:lnTo>
                  <a:lnTo>
                    <a:pt x="110" y="196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97" y="196"/>
                  </a:lnTo>
                  <a:lnTo>
                    <a:pt x="91" y="195"/>
                  </a:lnTo>
                  <a:lnTo>
                    <a:pt x="85" y="193"/>
                  </a:lnTo>
                  <a:lnTo>
                    <a:pt x="80" y="191"/>
                  </a:lnTo>
                  <a:lnTo>
                    <a:pt x="75" y="188"/>
                  </a:lnTo>
                  <a:lnTo>
                    <a:pt x="70" y="185"/>
                  </a:lnTo>
                  <a:lnTo>
                    <a:pt x="66" y="181"/>
                  </a:lnTo>
                  <a:lnTo>
                    <a:pt x="62" y="176"/>
                  </a:lnTo>
                  <a:lnTo>
                    <a:pt x="58" y="171"/>
                  </a:lnTo>
                  <a:lnTo>
                    <a:pt x="55" y="165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7" y="102"/>
                  </a:lnTo>
                  <a:lnTo>
                    <a:pt x="50" y="88"/>
                  </a:lnTo>
                  <a:lnTo>
                    <a:pt x="54" y="75"/>
                  </a:lnTo>
                  <a:lnTo>
                    <a:pt x="57" y="69"/>
                  </a:lnTo>
                  <a:lnTo>
                    <a:pt x="61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3" y="51"/>
                  </a:lnTo>
                  <a:lnTo>
                    <a:pt x="78" y="48"/>
                  </a:lnTo>
                  <a:lnTo>
                    <a:pt x="83" y="46"/>
                  </a:lnTo>
                  <a:lnTo>
                    <a:pt x="89" y="44"/>
                  </a:lnTo>
                  <a:lnTo>
                    <a:pt x="95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8" y="43"/>
                  </a:lnTo>
                  <a:lnTo>
                    <a:pt x="115" y="44"/>
                  </a:lnTo>
                  <a:lnTo>
                    <a:pt x="121" y="46"/>
                  </a:lnTo>
                  <a:lnTo>
                    <a:pt x="126" y="49"/>
                  </a:lnTo>
                  <a:lnTo>
                    <a:pt x="131" y="51"/>
                  </a:lnTo>
                  <a:lnTo>
                    <a:pt x="136" y="55"/>
                  </a:lnTo>
                  <a:lnTo>
                    <a:pt x="141" y="59"/>
                  </a:lnTo>
                  <a:lnTo>
                    <a:pt x="145" y="64"/>
                  </a:lnTo>
                  <a:lnTo>
                    <a:pt x="148" y="69"/>
                  </a:lnTo>
                  <a:lnTo>
                    <a:pt x="151" y="75"/>
                  </a:lnTo>
                  <a:lnTo>
                    <a:pt x="154" y="81"/>
                  </a:lnTo>
                  <a:lnTo>
                    <a:pt x="156" y="88"/>
                  </a:lnTo>
                  <a:lnTo>
                    <a:pt x="159" y="103"/>
                  </a:lnTo>
                  <a:lnTo>
                    <a:pt x="160" y="120"/>
                  </a:lnTo>
                  <a:lnTo>
                    <a:pt x="160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4" name="Freeform 103"/>
            <p:cNvSpPr>
              <a:spLocks/>
            </p:cNvSpPr>
            <p:nvPr userDrawn="1"/>
          </p:nvSpPr>
          <p:spPr bwMode="auto">
            <a:xfrm>
              <a:off x="1798638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2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3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6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2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8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3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6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4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5" name="Freeform 104"/>
            <p:cNvSpPr>
              <a:spLocks noEditPoints="1"/>
            </p:cNvSpPr>
            <p:nvPr userDrawn="1"/>
          </p:nvSpPr>
          <p:spPr bwMode="auto">
            <a:xfrm>
              <a:off x="1882775" y="6121401"/>
              <a:ext cx="82550" cy="125413"/>
            </a:xfrm>
            <a:custGeom>
              <a:avLst/>
              <a:gdLst>
                <a:gd name="T0" fmla="*/ 211 w 211"/>
                <a:gd name="T1" fmla="*/ 81 h 315"/>
                <a:gd name="T2" fmla="*/ 209 w 211"/>
                <a:gd name="T3" fmla="*/ 62 h 315"/>
                <a:gd name="T4" fmla="*/ 204 w 211"/>
                <a:gd name="T5" fmla="*/ 46 h 315"/>
                <a:gd name="T6" fmla="*/ 195 w 211"/>
                <a:gd name="T7" fmla="*/ 32 h 315"/>
                <a:gd name="T8" fmla="*/ 182 w 211"/>
                <a:gd name="T9" fmla="*/ 21 h 315"/>
                <a:gd name="T10" fmla="*/ 167 w 211"/>
                <a:gd name="T11" fmla="*/ 12 h 315"/>
                <a:gd name="T12" fmla="*/ 149 w 211"/>
                <a:gd name="T13" fmla="*/ 5 h 315"/>
                <a:gd name="T14" fmla="*/ 128 w 211"/>
                <a:gd name="T15" fmla="*/ 1 h 315"/>
                <a:gd name="T16" fmla="*/ 106 w 211"/>
                <a:gd name="T17" fmla="*/ 0 h 315"/>
                <a:gd name="T18" fmla="*/ 89 w 211"/>
                <a:gd name="T19" fmla="*/ 1 h 315"/>
                <a:gd name="T20" fmla="*/ 59 w 211"/>
                <a:gd name="T21" fmla="*/ 8 h 315"/>
                <a:gd name="T22" fmla="*/ 32 w 211"/>
                <a:gd name="T23" fmla="*/ 20 h 315"/>
                <a:gd name="T24" fmla="*/ 9 w 211"/>
                <a:gd name="T25" fmla="*/ 36 h 315"/>
                <a:gd name="T26" fmla="*/ 29 w 211"/>
                <a:gd name="T27" fmla="*/ 79 h 315"/>
                <a:gd name="T28" fmla="*/ 38 w 211"/>
                <a:gd name="T29" fmla="*/ 71 h 315"/>
                <a:gd name="T30" fmla="*/ 56 w 211"/>
                <a:gd name="T31" fmla="*/ 58 h 315"/>
                <a:gd name="T32" fmla="*/ 74 w 211"/>
                <a:gd name="T33" fmla="*/ 50 h 315"/>
                <a:gd name="T34" fmla="*/ 94 w 211"/>
                <a:gd name="T35" fmla="*/ 46 h 315"/>
                <a:gd name="T36" fmla="*/ 105 w 211"/>
                <a:gd name="T37" fmla="*/ 45 h 315"/>
                <a:gd name="T38" fmla="*/ 130 w 211"/>
                <a:gd name="T39" fmla="*/ 48 h 315"/>
                <a:gd name="T40" fmla="*/ 149 w 211"/>
                <a:gd name="T41" fmla="*/ 55 h 315"/>
                <a:gd name="T42" fmla="*/ 161 w 211"/>
                <a:gd name="T43" fmla="*/ 67 h 315"/>
                <a:gd name="T44" fmla="*/ 165 w 211"/>
                <a:gd name="T45" fmla="*/ 84 h 315"/>
                <a:gd name="T46" fmla="*/ 164 w 211"/>
                <a:gd name="T47" fmla="*/ 91 h 315"/>
                <a:gd name="T48" fmla="*/ 160 w 211"/>
                <a:gd name="T49" fmla="*/ 103 h 315"/>
                <a:gd name="T50" fmla="*/ 152 w 211"/>
                <a:gd name="T51" fmla="*/ 113 h 315"/>
                <a:gd name="T52" fmla="*/ 131 w 211"/>
                <a:gd name="T53" fmla="*/ 127 h 315"/>
                <a:gd name="T54" fmla="*/ 115 w 211"/>
                <a:gd name="T55" fmla="*/ 137 h 315"/>
                <a:gd name="T56" fmla="*/ 92 w 211"/>
                <a:gd name="T57" fmla="*/ 155 h 315"/>
                <a:gd name="T58" fmla="*/ 84 w 211"/>
                <a:gd name="T59" fmla="*/ 165 h 315"/>
                <a:gd name="T60" fmla="*/ 79 w 211"/>
                <a:gd name="T61" fmla="*/ 177 h 315"/>
                <a:gd name="T62" fmla="*/ 74 w 211"/>
                <a:gd name="T63" fmla="*/ 204 h 315"/>
                <a:gd name="T64" fmla="*/ 121 w 211"/>
                <a:gd name="T65" fmla="*/ 222 h 315"/>
                <a:gd name="T66" fmla="*/ 121 w 211"/>
                <a:gd name="T67" fmla="*/ 211 h 315"/>
                <a:gd name="T68" fmla="*/ 124 w 211"/>
                <a:gd name="T69" fmla="*/ 193 h 315"/>
                <a:gd name="T70" fmla="*/ 131 w 211"/>
                <a:gd name="T71" fmla="*/ 180 h 315"/>
                <a:gd name="T72" fmla="*/ 145 w 211"/>
                <a:gd name="T73" fmla="*/ 168 h 315"/>
                <a:gd name="T74" fmla="*/ 155 w 211"/>
                <a:gd name="T75" fmla="*/ 163 h 315"/>
                <a:gd name="T76" fmla="*/ 179 w 211"/>
                <a:gd name="T77" fmla="*/ 147 h 315"/>
                <a:gd name="T78" fmla="*/ 197 w 211"/>
                <a:gd name="T79" fmla="*/ 130 h 315"/>
                <a:gd name="T80" fmla="*/ 208 w 211"/>
                <a:gd name="T81" fmla="*/ 109 h 315"/>
                <a:gd name="T82" fmla="*/ 211 w 211"/>
                <a:gd name="T83" fmla="*/ 81 h 315"/>
                <a:gd name="T84" fmla="*/ 130 w 211"/>
                <a:gd name="T85" fmla="*/ 282 h 315"/>
                <a:gd name="T86" fmla="*/ 129 w 211"/>
                <a:gd name="T87" fmla="*/ 276 h 315"/>
                <a:gd name="T88" fmla="*/ 124 w 211"/>
                <a:gd name="T89" fmla="*/ 264 h 315"/>
                <a:gd name="T90" fmla="*/ 115 w 211"/>
                <a:gd name="T91" fmla="*/ 255 h 315"/>
                <a:gd name="T92" fmla="*/ 104 w 211"/>
                <a:gd name="T93" fmla="*/ 250 h 315"/>
                <a:gd name="T94" fmla="*/ 97 w 211"/>
                <a:gd name="T95" fmla="*/ 249 h 315"/>
                <a:gd name="T96" fmla="*/ 85 w 211"/>
                <a:gd name="T97" fmla="*/ 252 h 315"/>
                <a:gd name="T98" fmla="*/ 74 w 211"/>
                <a:gd name="T99" fmla="*/ 259 h 315"/>
                <a:gd name="T100" fmla="*/ 67 w 211"/>
                <a:gd name="T101" fmla="*/ 269 h 315"/>
                <a:gd name="T102" fmla="*/ 65 w 211"/>
                <a:gd name="T103" fmla="*/ 282 h 315"/>
                <a:gd name="T104" fmla="*/ 65 w 211"/>
                <a:gd name="T105" fmla="*/ 289 h 315"/>
                <a:gd name="T106" fmla="*/ 70 w 211"/>
                <a:gd name="T107" fmla="*/ 301 h 315"/>
                <a:gd name="T108" fmla="*/ 79 w 211"/>
                <a:gd name="T109" fmla="*/ 309 h 315"/>
                <a:gd name="T110" fmla="*/ 91 w 211"/>
                <a:gd name="T111" fmla="*/ 314 h 315"/>
                <a:gd name="T112" fmla="*/ 97 w 211"/>
                <a:gd name="T113" fmla="*/ 315 h 315"/>
                <a:gd name="T114" fmla="*/ 110 w 211"/>
                <a:gd name="T115" fmla="*/ 312 h 315"/>
                <a:gd name="T116" fmla="*/ 120 w 211"/>
                <a:gd name="T117" fmla="*/ 305 h 315"/>
                <a:gd name="T118" fmla="*/ 127 w 211"/>
                <a:gd name="T119" fmla="*/ 295 h 315"/>
                <a:gd name="T120" fmla="*/ 130 w 211"/>
                <a:gd name="T121" fmla="*/ 28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1" h="315">
                  <a:moveTo>
                    <a:pt x="211" y="81"/>
                  </a:moveTo>
                  <a:lnTo>
                    <a:pt x="211" y="81"/>
                  </a:lnTo>
                  <a:lnTo>
                    <a:pt x="211" y="71"/>
                  </a:lnTo>
                  <a:lnTo>
                    <a:pt x="209" y="62"/>
                  </a:lnTo>
                  <a:lnTo>
                    <a:pt x="207" y="54"/>
                  </a:lnTo>
                  <a:lnTo>
                    <a:pt x="204" y="46"/>
                  </a:lnTo>
                  <a:lnTo>
                    <a:pt x="199" y="39"/>
                  </a:lnTo>
                  <a:lnTo>
                    <a:pt x="195" y="32"/>
                  </a:lnTo>
                  <a:lnTo>
                    <a:pt x="189" y="26"/>
                  </a:lnTo>
                  <a:lnTo>
                    <a:pt x="182" y="21"/>
                  </a:lnTo>
                  <a:lnTo>
                    <a:pt x="175" y="16"/>
                  </a:lnTo>
                  <a:lnTo>
                    <a:pt x="167" y="12"/>
                  </a:lnTo>
                  <a:lnTo>
                    <a:pt x="159" y="8"/>
                  </a:lnTo>
                  <a:lnTo>
                    <a:pt x="149" y="5"/>
                  </a:lnTo>
                  <a:lnTo>
                    <a:pt x="139" y="3"/>
                  </a:lnTo>
                  <a:lnTo>
                    <a:pt x="128" y="1"/>
                  </a:lnTo>
                  <a:lnTo>
                    <a:pt x="117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89" y="1"/>
                  </a:lnTo>
                  <a:lnTo>
                    <a:pt x="74" y="4"/>
                  </a:lnTo>
                  <a:lnTo>
                    <a:pt x="59" y="8"/>
                  </a:lnTo>
                  <a:lnTo>
                    <a:pt x="45" y="13"/>
                  </a:lnTo>
                  <a:lnTo>
                    <a:pt x="32" y="20"/>
                  </a:lnTo>
                  <a:lnTo>
                    <a:pt x="20" y="27"/>
                  </a:lnTo>
                  <a:lnTo>
                    <a:pt x="9" y="36"/>
                  </a:lnTo>
                  <a:lnTo>
                    <a:pt x="0" y="45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8" y="71"/>
                  </a:lnTo>
                  <a:lnTo>
                    <a:pt x="47" y="64"/>
                  </a:lnTo>
                  <a:lnTo>
                    <a:pt x="56" y="58"/>
                  </a:lnTo>
                  <a:lnTo>
                    <a:pt x="65" y="54"/>
                  </a:lnTo>
                  <a:lnTo>
                    <a:pt x="74" y="50"/>
                  </a:lnTo>
                  <a:lnTo>
                    <a:pt x="84" y="47"/>
                  </a:lnTo>
                  <a:lnTo>
                    <a:pt x="94" y="46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18" y="46"/>
                  </a:lnTo>
                  <a:lnTo>
                    <a:pt x="130" y="48"/>
                  </a:lnTo>
                  <a:lnTo>
                    <a:pt x="140" y="51"/>
                  </a:lnTo>
                  <a:lnTo>
                    <a:pt x="149" y="55"/>
                  </a:lnTo>
                  <a:lnTo>
                    <a:pt x="156" y="61"/>
                  </a:lnTo>
                  <a:lnTo>
                    <a:pt x="161" y="67"/>
                  </a:lnTo>
                  <a:lnTo>
                    <a:pt x="164" y="75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4" y="91"/>
                  </a:lnTo>
                  <a:lnTo>
                    <a:pt x="163" y="98"/>
                  </a:lnTo>
                  <a:lnTo>
                    <a:pt x="160" y="103"/>
                  </a:lnTo>
                  <a:lnTo>
                    <a:pt x="157" y="108"/>
                  </a:lnTo>
                  <a:lnTo>
                    <a:pt x="152" y="113"/>
                  </a:lnTo>
                  <a:lnTo>
                    <a:pt x="147" y="118"/>
                  </a:lnTo>
                  <a:lnTo>
                    <a:pt x="131" y="127"/>
                  </a:lnTo>
                  <a:lnTo>
                    <a:pt x="131" y="127"/>
                  </a:lnTo>
                  <a:lnTo>
                    <a:pt x="115" y="137"/>
                  </a:lnTo>
                  <a:lnTo>
                    <a:pt x="102" y="146"/>
                  </a:lnTo>
                  <a:lnTo>
                    <a:pt x="92" y="155"/>
                  </a:lnTo>
                  <a:lnTo>
                    <a:pt x="88" y="160"/>
                  </a:lnTo>
                  <a:lnTo>
                    <a:pt x="84" y="165"/>
                  </a:lnTo>
                  <a:lnTo>
                    <a:pt x="81" y="171"/>
                  </a:lnTo>
                  <a:lnTo>
                    <a:pt x="79" y="177"/>
                  </a:lnTo>
                  <a:lnTo>
                    <a:pt x="76" y="189"/>
                  </a:lnTo>
                  <a:lnTo>
                    <a:pt x="74" y="204"/>
                  </a:lnTo>
                  <a:lnTo>
                    <a:pt x="74" y="222"/>
                  </a:lnTo>
                  <a:lnTo>
                    <a:pt x="121" y="222"/>
                  </a:lnTo>
                  <a:lnTo>
                    <a:pt x="121" y="222"/>
                  </a:lnTo>
                  <a:lnTo>
                    <a:pt x="121" y="211"/>
                  </a:lnTo>
                  <a:lnTo>
                    <a:pt x="122" y="201"/>
                  </a:lnTo>
                  <a:lnTo>
                    <a:pt x="124" y="193"/>
                  </a:lnTo>
                  <a:lnTo>
                    <a:pt x="127" y="186"/>
                  </a:lnTo>
                  <a:lnTo>
                    <a:pt x="131" y="180"/>
                  </a:lnTo>
                  <a:lnTo>
                    <a:pt x="137" y="174"/>
                  </a:lnTo>
                  <a:lnTo>
                    <a:pt x="145" y="168"/>
                  </a:lnTo>
                  <a:lnTo>
                    <a:pt x="155" y="163"/>
                  </a:lnTo>
                  <a:lnTo>
                    <a:pt x="155" y="163"/>
                  </a:lnTo>
                  <a:lnTo>
                    <a:pt x="168" y="155"/>
                  </a:lnTo>
                  <a:lnTo>
                    <a:pt x="179" y="147"/>
                  </a:lnTo>
                  <a:lnTo>
                    <a:pt x="189" y="139"/>
                  </a:lnTo>
                  <a:lnTo>
                    <a:pt x="197" y="130"/>
                  </a:lnTo>
                  <a:lnTo>
                    <a:pt x="203" y="120"/>
                  </a:lnTo>
                  <a:lnTo>
                    <a:pt x="208" y="109"/>
                  </a:lnTo>
                  <a:lnTo>
                    <a:pt x="210" y="96"/>
                  </a:lnTo>
                  <a:lnTo>
                    <a:pt x="211" y="81"/>
                  </a:lnTo>
                  <a:lnTo>
                    <a:pt x="211" y="81"/>
                  </a:lnTo>
                  <a:close/>
                  <a:moveTo>
                    <a:pt x="130" y="282"/>
                  </a:moveTo>
                  <a:lnTo>
                    <a:pt x="130" y="282"/>
                  </a:lnTo>
                  <a:lnTo>
                    <a:pt x="129" y="276"/>
                  </a:lnTo>
                  <a:lnTo>
                    <a:pt x="127" y="269"/>
                  </a:lnTo>
                  <a:lnTo>
                    <a:pt x="124" y="264"/>
                  </a:lnTo>
                  <a:lnTo>
                    <a:pt x="120" y="259"/>
                  </a:lnTo>
                  <a:lnTo>
                    <a:pt x="115" y="255"/>
                  </a:lnTo>
                  <a:lnTo>
                    <a:pt x="110" y="252"/>
                  </a:lnTo>
                  <a:lnTo>
                    <a:pt x="104" y="250"/>
                  </a:lnTo>
                  <a:lnTo>
                    <a:pt x="97" y="249"/>
                  </a:lnTo>
                  <a:lnTo>
                    <a:pt x="97" y="249"/>
                  </a:lnTo>
                  <a:lnTo>
                    <a:pt x="91" y="250"/>
                  </a:lnTo>
                  <a:lnTo>
                    <a:pt x="85" y="252"/>
                  </a:lnTo>
                  <a:lnTo>
                    <a:pt x="79" y="255"/>
                  </a:lnTo>
                  <a:lnTo>
                    <a:pt x="74" y="259"/>
                  </a:lnTo>
                  <a:lnTo>
                    <a:pt x="70" y="264"/>
                  </a:lnTo>
                  <a:lnTo>
                    <a:pt x="67" y="269"/>
                  </a:lnTo>
                  <a:lnTo>
                    <a:pt x="65" y="276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65" y="289"/>
                  </a:lnTo>
                  <a:lnTo>
                    <a:pt x="67" y="295"/>
                  </a:lnTo>
                  <a:lnTo>
                    <a:pt x="70" y="301"/>
                  </a:lnTo>
                  <a:lnTo>
                    <a:pt x="74" y="305"/>
                  </a:lnTo>
                  <a:lnTo>
                    <a:pt x="79" y="309"/>
                  </a:lnTo>
                  <a:lnTo>
                    <a:pt x="85" y="312"/>
                  </a:lnTo>
                  <a:lnTo>
                    <a:pt x="91" y="314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104" y="314"/>
                  </a:lnTo>
                  <a:lnTo>
                    <a:pt x="110" y="312"/>
                  </a:lnTo>
                  <a:lnTo>
                    <a:pt x="115" y="309"/>
                  </a:lnTo>
                  <a:lnTo>
                    <a:pt x="120" y="305"/>
                  </a:lnTo>
                  <a:lnTo>
                    <a:pt x="124" y="301"/>
                  </a:lnTo>
                  <a:lnTo>
                    <a:pt x="127" y="295"/>
                  </a:lnTo>
                  <a:lnTo>
                    <a:pt x="129" y="289"/>
                  </a:lnTo>
                  <a:lnTo>
                    <a:pt x="130" y="282"/>
                  </a:lnTo>
                  <a:lnTo>
                    <a:pt x="130" y="2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6" name="Freeform 105"/>
            <p:cNvSpPr>
              <a:spLocks/>
            </p:cNvSpPr>
            <p:nvPr userDrawn="1"/>
          </p:nvSpPr>
          <p:spPr bwMode="auto">
            <a:xfrm>
              <a:off x="2019300" y="6122988"/>
              <a:ext cx="104775" cy="122238"/>
            </a:xfrm>
            <a:custGeom>
              <a:avLst/>
              <a:gdLst>
                <a:gd name="T0" fmla="*/ 120 w 264"/>
                <a:gd name="T1" fmla="*/ 305 h 305"/>
                <a:gd name="T2" fmla="*/ 264 w 264"/>
                <a:gd name="T3" fmla="*/ 0 h 305"/>
                <a:gd name="T4" fmla="*/ 212 w 264"/>
                <a:gd name="T5" fmla="*/ 0 h 305"/>
                <a:gd name="T6" fmla="*/ 170 w 264"/>
                <a:gd name="T7" fmla="*/ 98 h 305"/>
                <a:gd name="T8" fmla="*/ 170 w 264"/>
                <a:gd name="T9" fmla="*/ 98 h 305"/>
                <a:gd name="T10" fmla="*/ 154 w 264"/>
                <a:gd name="T11" fmla="*/ 136 h 305"/>
                <a:gd name="T12" fmla="*/ 141 w 264"/>
                <a:gd name="T13" fmla="*/ 167 h 305"/>
                <a:gd name="T14" fmla="*/ 141 w 264"/>
                <a:gd name="T15" fmla="*/ 167 h 305"/>
                <a:gd name="T16" fmla="*/ 126 w 264"/>
                <a:gd name="T17" fmla="*/ 135 h 305"/>
                <a:gd name="T18" fmla="*/ 107 w 264"/>
                <a:gd name="T19" fmla="*/ 97 h 305"/>
                <a:gd name="T20" fmla="*/ 57 w 264"/>
                <a:gd name="T21" fmla="*/ 0 h 305"/>
                <a:gd name="T22" fmla="*/ 0 w 264"/>
                <a:gd name="T23" fmla="*/ 0 h 305"/>
                <a:gd name="T24" fmla="*/ 115 w 264"/>
                <a:gd name="T25" fmla="*/ 213 h 305"/>
                <a:gd name="T26" fmla="*/ 69 w 264"/>
                <a:gd name="T27" fmla="*/ 305 h 305"/>
                <a:gd name="T28" fmla="*/ 120 w 264"/>
                <a:gd name="T29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305">
                  <a:moveTo>
                    <a:pt x="120" y="305"/>
                  </a:moveTo>
                  <a:lnTo>
                    <a:pt x="264" y="0"/>
                  </a:lnTo>
                  <a:lnTo>
                    <a:pt x="212" y="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54" y="136"/>
                  </a:lnTo>
                  <a:lnTo>
                    <a:pt x="141" y="167"/>
                  </a:lnTo>
                  <a:lnTo>
                    <a:pt x="141" y="167"/>
                  </a:lnTo>
                  <a:lnTo>
                    <a:pt x="126" y="135"/>
                  </a:lnTo>
                  <a:lnTo>
                    <a:pt x="107" y="97"/>
                  </a:lnTo>
                  <a:lnTo>
                    <a:pt x="57" y="0"/>
                  </a:lnTo>
                  <a:lnTo>
                    <a:pt x="0" y="0"/>
                  </a:lnTo>
                  <a:lnTo>
                    <a:pt x="115" y="213"/>
                  </a:lnTo>
                  <a:lnTo>
                    <a:pt x="69" y="305"/>
                  </a:lnTo>
                  <a:lnTo>
                    <a:pt x="120" y="3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7" name="Freeform 106"/>
            <p:cNvSpPr>
              <a:spLocks/>
            </p:cNvSpPr>
            <p:nvPr userDrawn="1"/>
          </p:nvSpPr>
          <p:spPr bwMode="auto">
            <a:xfrm>
              <a:off x="2182813" y="6153151"/>
              <a:ext cx="73025" cy="92075"/>
            </a:xfrm>
            <a:custGeom>
              <a:avLst/>
              <a:gdLst>
                <a:gd name="T0" fmla="*/ 139 w 184"/>
                <a:gd name="T1" fmla="*/ 0 h 229"/>
                <a:gd name="T2" fmla="*/ 139 w 184"/>
                <a:gd name="T3" fmla="*/ 88 h 229"/>
                <a:gd name="T4" fmla="*/ 45 w 184"/>
                <a:gd name="T5" fmla="*/ 88 h 229"/>
                <a:gd name="T6" fmla="*/ 45 w 184"/>
                <a:gd name="T7" fmla="*/ 0 h 229"/>
                <a:gd name="T8" fmla="*/ 0 w 184"/>
                <a:gd name="T9" fmla="*/ 0 h 229"/>
                <a:gd name="T10" fmla="*/ 0 w 184"/>
                <a:gd name="T11" fmla="*/ 229 h 229"/>
                <a:gd name="T12" fmla="*/ 45 w 184"/>
                <a:gd name="T13" fmla="*/ 229 h 229"/>
                <a:gd name="T14" fmla="*/ 45 w 184"/>
                <a:gd name="T15" fmla="*/ 127 h 229"/>
                <a:gd name="T16" fmla="*/ 139 w 184"/>
                <a:gd name="T17" fmla="*/ 127 h 229"/>
                <a:gd name="T18" fmla="*/ 139 w 184"/>
                <a:gd name="T19" fmla="*/ 229 h 229"/>
                <a:gd name="T20" fmla="*/ 184 w 184"/>
                <a:gd name="T21" fmla="*/ 229 h 229"/>
                <a:gd name="T22" fmla="*/ 184 w 184"/>
                <a:gd name="T23" fmla="*/ 0 h 229"/>
                <a:gd name="T24" fmla="*/ 139 w 184"/>
                <a:gd name="T25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29">
                  <a:moveTo>
                    <a:pt x="139" y="0"/>
                  </a:moveTo>
                  <a:lnTo>
                    <a:pt x="139" y="88"/>
                  </a:lnTo>
                  <a:lnTo>
                    <a:pt x="45" y="88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29"/>
                  </a:lnTo>
                  <a:lnTo>
                    <a:pt x="45" y="229"/>
                  </a:lnTo>
                  <a:lnTo>
                    <a:pt x="45" y="127"/>
                  </a:lnTo>
                  <a:lnTo>
                    <a:pt x="139" y="127"/>
                  </a:lnTo>
                  <a:lnTo>
                    <a:pt x="139" y="229"/>
                  </a:lnTo>
                  <a:lnTo>
                    <a:pt x="184" y="229"/>
                  </a:lnTo>
                  <a:lnTo>
                    <a:pt x="184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8" name="Freeform 107"/>
            <p:cNvSpPr>
              <a:spLocks noEditPoints="1"/>
            </p:cNvSpPr>
            <p:nvPr userDrawn="1"/>
          </p:nvSpPr>
          <p:spPr bwMode="auto">
            <a:xfrm>
              <a:off x="2274888" y="6151563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8 h 239"/>
                <a:gd name="T4" fmla="*/ 184 w 187"/>
                <a:gd name="T5" fmla="*/ 51 h 239"/>
                <a:gd name="T6" fmla="*/ 178 w 187"/>
                <a:gd name="T7" fmla="*/ 36 h 239"/>
                <a:gd name="T8" fmla="*/ 169 w 187"/>
                <a:gd name="T9" fmla="*/ 24 h 239"/>
                <a:gd name="T10" fmla="*/ 158 w 187"/>
                <a:gd name="T11" fmla="*/ 15 h 239"/>
                <a:gd name="T12" fmla="*/ 143 w 187"/>
                <a:gd name="T13" fmla="*/ 8 h 239"/>
                <a:gd name="T14" fmla="*/ 127 w 187"/>
                <a:gd name="T15" fmla="*/ 3 h 239"/>
                <a:gd name="T16" fmla="*/ 110 w 187"/>
                <a:gd name="T17" fmla="*/ 1 h 239"/>
                <a:gd name="T18" fmla="*/ 101 w 187"/>
                <a:gd name="T19" fmla="*/ 0 h 239"/>
                <a:gd name="T20" fmla="*/ 78 w 187"/>
                <a:gd name="T21" fmla="*/ 2 h 239"/>
                <a:gd name="T22" fmla="*/ 57 w 187"/>
                <a:gd name="T23" fmla="*/ 6 h 239"/>
                <a:gd name="T24" fmla="*/ 39 w 187"/>
                <a:gd name="T25" fmla="*/ 12 h 239"/>
                <a:gd name="T26" fmla="*/ 22 w 187"/>
                <a:gd name="T27" fmla="*/ 21 h 239"/>
                <a:gd name="T28" fmla="*/ 39 w 187"/>
                <a:gd name="T29" fmla="*/ 55 h 239"/>
                <a:gd name="T30" fmla="*/ 67 w 187"/>
                <a:gd name="T31" fmla="*/ 44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2 w 187"/>
                <a:gd name="T41" fmla="*/ 70 h 239"/>
                <a:gd name="T42" fmla="*/ 142 w 187"/>
                <a:gd name="T43" fmla="*/ 96 h 239"/>
                <a:gd name="T44" fmla="*/ 133 w 187"/>
                <a:gd name="T45" fmla="*/ 93 h 239"/>
                <a:gd name="T46" fmla="*/ 108 w 187"/>
                <a:gd name="T47" fmla="*/ 88 h 239"/>
                <a:gd name="T48" fmla="*/ 91 w 187"/>
                <a:gd name="T49" fmla="*/ 88 h 239"/>
                <a:gd name="T50" fmla="*/ 64 w 187"/>
                <a:gd name="T51" fmla="*/ 90 h 239"/>
                <a:gd name="T52" fmla="*/ 47 w 187"/>
                <a:gd name="T53" fmla="*/ 94 h 239"/>
                <a:gd name="T54" fmla="*/ 33 w 187"/>
                <a:gd name="T55" fmla="*/ 101 h 239"/>
                <a:gd name="T56" fmla="*/ 21 w 187"/>
                <a:gd name="T57" fmla="*/ 110 h 239"/>
                <a:gd name="T58" fmla="*/ 11 w 187"/>
                <a:gd name="T59" fmla="*/ 122 h 239"/>
                <a:gd name="T60" fmla="*/ 4 w 187"/>
                <a:gd name="T61" fmla="*/ 136 h 239"/>
                <a:gd name="T62" fmla="*/ 1 w 187"/>
                <a:gd name="T63" fmla="*/ 152 h 239"/>
                <a:gd name="T64" fmla="*/ 0 w 187"/>
                <a:gd name="T65" fmla="*/ 162 h 239"/>
                <a:gd name="T66" fmla="*/ 2 w 187"/>
                <a:gd name="T67" fmla="*/ 181 h 239"/>
                <a:gd name="T68" fmla="*/ 7 w 187"/>
                <a:gd name="T69" fmla="*/ 197 h 239"/>
                <a:gd name="T70" fmla="*/ 16 w 187"/>
                <a:gd name="T71" fmla="*/ 211 h 239"/>
                <a:gd name="T72" fmla="*/ 26 w 187"/>
                <a:gd name="T73" fmla="*/ 221 h 239"/>
                <a:gd name="T74" fmla="*/ 38 w 187"/>
                <a:gd name="T75" fmla="*/ 229 h 239"/>
                <a:gd name="T76" fmla="*/ 52 w 187"/>
                <a:gd name="T77" fmla="*/ 235 h 239"/>
                <a:gd name="T78" fmla="*/ 80 w 187"/>
                <a:gd name="T79" fmla="*/ 239 h 239"/>
                <a:gd name="T80" fmla="*/ 91 w 187"/>
                <a:gd name="T81" fmla="*/ 238 h 239"/>
                <a:gd name="T82" fmla="*/ 109 w 187"/>
                <a:gd name="T83" fmla="*/ 234 h 239"/>
                <a:gd name="T84" fmla="*/ 116 w 187"/>
                <a:gd name="T85" fmla="*/ 231 h 239"/>
                <a:gd name="T86" fmla="*/ 134 w 187"/>
                <a:gd name="T87" fmla="*/ 218 h 239"/>
                <a:gd name="T88" fmla="*/ 142 w 187"/>
                <a:gd name="T89" fmla="*/ 234 h 239"/>
                <a:gd name="T90" fmla="*/ 142 w 187"/>
                <a:gd name="T91" fmla="*/ 169 h 239"/>
                <a:gd name="T92" fmla="*/ 138 w 187"/>
                <a:gd name="T93" fmla="*/ 174 h 239"/>
                <a:gd name="T94" fmla="*/ 127 w 187"/>
                <a:gd name="T95" fmla="*/ 185 h 239"/>
                <a:gd name="T96" fmla="*/ 112 w 187"/>
                <a:gd name="T97" fmla="*/ 193 h 239"/>
                <a:gd name="T98" fmla="*/ 96 w 187"/>
                <a:gd name="T99" fmla="*/ 198 h 239"/>
                <a:gd name="T100" fmla="*/ 87 w 187"/>
                <a:gd name="T101" fmla="*/ 198 h 239"/>
                <a:gd name="T102" fmla="*/ 69 w 187"/>
                <a:gd name="T103" fmla="*/ 196 h 239"/>
                <a:gd name="T104" fmla="*/ 56 w 187"/>
                <a:gd name="T105" fmla="*/ 189 h 239"/>
                <a:gd name="T106" fmla="*/ 51 w 187"/>
                <a:gd name="T107" fmla="*/ 184 h 239"/>
                <a:gd name="T108" fmla="*/ 44 w 187"/>
                <a:gd name="T109" fmla="*/ 170 h 239"/>
                <a:gd name="T110" fmla="*/ 43 w 187"/>
                <a:gd name="T111" fmla="*/ 160 h 239"/>
                <a:gd name="T112" fmla="*/ 46 w 187"/>
                <a:gd name="T113" fmla="*/ 146 h 239"/>
                <a:gd name="T114" fmla="*/ 56 w 187"/>
                <a:gd name="T115" fmla="*/ 136 h 239"/>
                <a:gd name="T116" fmla="*/ 70 w 187"/>
                <a:gd name="T117" fmla="*/ 129 h 239"/>
                <a:gd name="T118" fmla="*/ 90 w 187"/>
                <a:gd name="T119" fmla="*/ 126 h 239"/>
                <a:gd name="T120" fmla="*/ 107 w 187"/>
                <a:gd name="T121" fmla="*/ 127 h 239"/>
                <a:gd name="T122" fmla="*/ 120 w 187"/>
                <a:gd name="T123" fmla="*/ 129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4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8"/>
                  </a:lnTo>
                  <a:lnTo>
                    <a:pt x="186" y="59"/>
                  </a:lnTo>
                  <a:lnTo>
                    <a:pt x="184" y="51"/>
                  </a:lnTo>
                  <a:lnTo>
                    <a:pt x="181" y="43"/>
                  </a:lnTo>
                  <a:lnTo>
                    <a:pt x="178" y="36"/>
                  </a:lnTo>
                  <a:lnTo>
                    <a:pt x="174" y="30"/>
                  </a:lnTo>
                  <a:lnTo>
                    <a:pt x="169" y="24"/>
                  </a:lnTo>
                  <a:lnTo>
                    <a:pt x="164" y="19"/>
                  </a:lnTo>
                  <a:lnTo>
                    <a:pt x="158" y="15"/>
                  </a:lnTo>
                  <a:lnTo>
                    <a:pt x="150" y="11"/>
                  </a:lnTo>
                  <a:lnTo>
                    <a:pt x="143" y="8"/>
                  </a:lnTo>
                  <a:lnTo>
                    <a:pt x="135" y="5"/>
                  </a:lnTo>
                  <a:lnTo>
                    <a:pt x="127" y="3"/>
                  </a:lnTo>
                  <a:lnTo>
                    <a:pt x="119" y="2"/>
                  </a:lnTo>
                  <a:lnTo>
                    <a:pt x="110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7" y="3"/>
                  </a:lnTo>
                  <a:lnTo>
                    <a:pt x="57" y="6"/>
                  </a:lnTo>
                  <a:lnTo>
                    <a:pt x="48" y="8"/>
                  </a:lnTo>
                  <a:lnTo>
                    <a:pt x="39" y="12"/>
                  </a:lnTo>
                  <a:lnTo>
                    <a:pt x="30" y="16"/>
                  </a:lnTo>
                  <a:lnTo>
                    <a:pt x="22" y="21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53" y="48"/>
                  </a:lnTo>
                  <a:lnTo>
                    <a:pt x="67" y="44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1" y="51"/>
                  </a:lnTo>
                  <a:lnTo>
                    <a:pt x="136" y="56"/>
                  </a:lnTo>
                  <a:lnTo>
                    <a:pt x="140" y="63"/>
                  </a:lnTo>
                  <a:lnTo>
                    <a:pt x="142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3"/>
                  </a:lnTo>
                  <a:lnTo>
                    <a:pt x="122" y="90"/>
                  </a:lnTo>
                  <a:lnTo>
                    <a:pt x="108" y="88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73" y="89"/>
                  </a:lnTo>
                  <a:lnTo>
                    <a:pt x="64" y="90"/>
                  </a:lnTo>
                  <a:lnTo>
                    <a:pt x="55" y="92"/>
                  </a:lnTo>
                  <a:lnTo>
                    <a:pt x="47" y="94"/>
                  </a:lnTo>
                  <a:lnTo>
                    <a:pt x="40" y="98"/>
                  </a:lnTo>
                  <a:lnTo>
                    <a:pt x="33" y="101"/>
                  </a:lnTo>
                  <a:lnTo>
                    <a:pt x="26" y="105"/>
                  </a:lnTo>
                  <a:lnTo>
                    <a:pt x="21" y="110"/>
                  </a:lnTo>
                  <a:lnTo>
                    <a:pt x="15" y="116"/>
                  </a:lnTo>
                  <a:lnTo>
                    <a:pt x="11" y="122"/>
                  </a:lnTo>
                  <a:lnTo>
                    <a:pt x="7" y="129"/>
                  </a:lnTo>
                  <a:lnTo>
                    <a:pt x="4" y="136"/>
                  </a:lnTo>
                  <a:lnTo>
                    <a:pt x="2" y="144"/>
                  </a:lnTo>
                  <a:lnTo>
                    <a:pt x="1" y="152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1" y="172"/>
                  </a:lnTo>
                  <a:lnTo>
                    <a:pt x="2" y="181"/>
                  </a:lnTo>
                  <a:lnTo>
                    <a:pt x="4" y="190"/>
                  </a:lnTo>
                  <a:lnTo>
                    <a:pt x="7" y="197"/>
                  </a:lnTo>
                  <a:lnTo>
                    <a:pt x="11" y="204"/>
                  </a:lnTo>
                  <a:lnTo>
                    <a:pt x="16" y="211"/>
                  </a:lnTo>
                  <a:lnTo>
                    <a:pt x="21" y="216"/>
                  </a:lnTo>
                  <a:lnTo>
                    <a:pt x="26" y="221"/>
                  </a:lnTo>
                  <a:lnTo>
                    <a:pt x="32" y="226"/>
                  </a:lnTo>
                  <a:lnTo>
                    <a:pt x="38" y="229"/>
                  </a:lnTo>
                  <a:lnTo>
                    <a:pt x="45" y="232"/>
                  </a:lnTo>
                  <a:lnTo>
                    <a:pt x="52" y="235"/>
                  </a:lnTo>
                  <a:lnTo>
                    <a:pt x="66" y="238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91" y="238"/>
                  </a:lnTo>
                  <a:lnTo>
                    <a:pt x="100" y="236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3"/>
                  </a:lnTo>
                  <a:lnTo>
                    <a:pt x="134" y="218"/>
                  </a:lnTo>
                  <a:lnTo>
                    <a:pt x="142" y="211"/>
                  </a:lnTo>
                  <a:lnTo>
                    <a:pt x="142" y="234"/>
                  </a:lnTo>
                  <a:lnTo>
                    <a:pt x="187" y="234"/>
                  </a:lnTo>
                  <a:close/>
                  <a:moveTo>
                    <a:pt x="142" y="169"/>
                  </a:moveTo>
                  <a:lnTo>
                    <a:pt x="142" y="169"/>
                  </a:lnTo>
                  <a:lnTo>
                    <a:pt x="138" y="174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89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6" y="198"/>
                  </a:lnTo>
                  <a:lnTo>
                    <a:pt x="87" y="198"/>
                  </a:lnTo>
                  <a:lnTo>
                    <a:pt x="87" y="198"/>
                  </a:lnTo>
                  <a:lnTo>
                    <a:pt x="77" y="198"/>
                  </a:lnTo>
                  <a:lnTo>
                    <a:pt x="69" y="196"/>
                  </a:lnTo>
                  <a:lnTo>
                    <a:pt x="62" y="193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1" y="184"/>
                  </a:lnTo>
                  <a:lnTo>
                    <a:pt x="47" y="178"/>
                  </a:lnTo>
                  <a:lnTo>
                    <a:pt x="44" y="170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4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6" y="136"/>
                  </a:lnTo>
                  <a:lnTo>
                    <a:pt x="62" y="132"/>
                  </a:lnTo>
                  <a:lnTo>
                    <a:pt x="70" y="129"/>
                  </a:lnTo>
                  <a:lnTo>
                    <a:pt x="80" y="127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7" y="127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31" y="132"/>
                  </a:lnTo>
                  <a:lnTo>
                    <a:pt x="142" y="136"/>
                  </a:lnTo>
                  <a:lnTo>
                    <a:pt x="142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9" name="Freeform 108"/>
            <p:cNvSpPr>
              <a:spLocks/>
            </p:cNvSpPr>
            <p:nvPr userDrawn="1"/>
          </p:nvSpPr>
          <p:spPr bwMode="auto">
            <a:xfrm>
              <a:off x="2366963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0" name="Freeform 109"/>
            <p:cNvSpPr>
              <a:spLocks noEditPoints="1"/>
            </p:cNvSpPr>
            <p:nvPr userDrawn="1"/>
          </p:nvSpPr>
          <p:spPr bwMode="auto">
            <a:xfrm>
              <a:off x="2497138" y="6151563"/>
              <a:ext cx="77788" cy="95250"/>
            </a:xfrm>
            <a:custGeom>
              <a:avLst/>
              <a:gdLst>
                <a:gd name="T0" fmla="*/ 198 w 198"/>
                <a:gd name="T1" fmla="*/ 115 h 239"/>
                <a:gd name="T2" fmla="*/ 197 w 198"/>
                <a:gd name="T3" fmla="*/ 92 h 239"/>
                <a:gd name="T4" fmla="*/ 192 w 198"/>
                <a:gd name="T5" fmla="*/ 71 h 239"/>
                <a:gd name="T6" fmla="*/ 185 w 198"/>
                <a:gd name="T7" fmla="*/ 52 h 239"/>
                <a:gd name="T8" fmla="*/ 174 w 198"/>
                <a:gd name="T9" fmla="*/ 34 h 239"/>
                <a:gd name="T10" fmla="*/ 161 w 198"/>
                <a:gd name="T11" fmla="*/ 20 h 239"/>
                <a:gd name="T12" fmla="*/ 144 w 198"/>
                <a:gd name="T13" fmla="*/ 10 h 239"/>
                <a:gd name="T14" fmla="*/ 125 w 198"/>
                <a:gd name="T15" fmla="*/ 3 h 239"/>
                <a:gd name="T16" fmla="*/ 102 w 198"/>
                <a:gd name="T17" fmla="*/ 0 h 239"/>
                <a:gd name="T18" fmla="*/ 90 w 198"/>
                <a:gd name="T19" fmla="*/ 1 h 239"/>
                <a:gd name="T20" fmla="*/ 69 w 198"/>
                <a:gd name="T21" fmla="*/ 5 h 239"/>
                <a:gd name="T22" fmla="*/ 51 w 198"/>
                <a:gd name="T23" fmla="*/ 12 h 239"/>
                <a:gd name="T24" fmla="*/ 35 w 198"/>
                <a:gd name="T25" fmla="*/ 24 h 239"/>
                <a:gd name="T26" fmla="*/ 22 w 198"/>
                <a:gd name="T27" fmla="*/ 39 h 239"/>
                <a:gd name="T28" fmla="*/ 12 w 198"/>
                <a:gd name="T29" fmla="*/ 58 h 239"/>
                <a:gd name="T30" fmla="*/ 5 w 198"/>
                <a:gd name="T31" fmla="*/ 80 h 239"/>
                <a:gd name="T32" fmla="*/ 1 w 198"/>
                <a:gd name="T33" fmla="*/ 106 h 239"/>
                <a:gd name="T34" fmla="*/ 0 w 198"/>
                <a:gd name="T35" fmla="*/ 120 h 239"/>
                <a:gd name="T36" fmla="*/ 3 w 198"/>
                <a:gd name="T37" fmla="*/ 148 h 239"/>
                <a:gd name="T38" fmla="*/ 9 w 198"/>
                <a:gd name="T39" fmla="*/ 172 h 239"/>
                <a:gd name="T40" fmla="*/ 19 w 198"/>
                <a:gd name="T41" fmla="*/ 193 h 239"/>
                <a:gd name="T42" fmla="*/ 31 w 198"/>
                <a:gd name="T43" fmla="*/ 209 h 239"/>
                <a:gd name="T44" fmla="*/ 37 w 198"/>
                <a:gd name="T45" fmla="*/ 215 h 239"/>
                <a:gd name="T46" fmla="*/ 51 w 198"/>
                <a:gd name="T47" fmla="*/ 226 h 239"/>
                <a:gd name="T48" fmla="*/ 68 w 198"/>
                <a:gd name="T49" fmla="*/ 234 h 239"/>
                <a:gd name="T50" fmla="*/ 88 w 198"/>
                <a:gd name="T51" fmla="*/ 238 h 239"/>
                <a:gd name="T52" fmla="*/ 100 w 198"/>
                <a:gd name="T53" fmla="*/ 239 h 239"/>
                <a:gd name="T54" fmla="*/ 126 w 198"/>
                <a:gd name="T55" fmla="*/ 237 h 239"/>
                <a:gd name="T56" fmla="*/ 146 w 198"/>
                <a:gd name="T57" fmla="*/ 231 h 239"/>
                <a:gd name="T58" fmla="*/ 155 w 198"/>
                <a:gd name="T59" fmla="*/ 227 h 239"/>
                <a:gd name="T60" fmla="*/ 171 w 198"/>
                <a:gd name="T61" fmla="*/ 216 h 239"/>
                <a:gd name="T62" fmla="*/ 153 w 198"/>
                <a:gd name="T63" fmla="*/ 180 h 239"/>
                <a:gd name="T64" fmla="*/ 141 w 198"/>
                <a:gd name="T65" fmla="*/ 188 h 239"/>
                <a:gd name="T66" fmla="*/ 130 w 198"/>
                <a:gd name="T67" fmla="*/ 193 h 239"/>
                <a:gd name="T68" fmla="*/ 117 w 198"/>
                <a:gd name="T69" fmla="*/ 197 h 239"/>
                <a:gd name="T70" fmla="*/ 103 w 198"/>
                <a:gd name="T71" fmla="*/ 198 h 239"/>
                <a:gd name="T72" fmla="*/ 93 w 198"/>
                <a:gd name="T73" fmla="*/ 197 h 239"/>
                <a:gd name="T74" fmla="*/ 73 w 198"/>
                <a:gd name="T75" fmla="*/ 190 h 239"/>
                <a:gd name="T76" fmla="*/ 58 w 198"/>
                <a:gd name="T77" fmla="*/ 175 h 239"/>
                <a:gd name="T78" fmla="*/ 47 w 198"/>
                <a:gd name="T79" fmla="*/ 151 h 239"/>
                <a:gd name="T80" fmla="*/ 197 w 198"/>
                <a:gd name="T81" fmla="*/ 136 h 239"/>
                <a:gd name="T82" fmla="*/ 198 w 198"/>
                <a:gd name="T83" fmla="*/ 127 h 239"/>
                <a:gd name="T84" fmla="*/ 198 w 198"/>
                <a:gd name="T85" fmla="*/ 115 h 239"/>
                <a:gd name="T86" fmla="*/ 45 w 198"/>
                <a:gd name="T87" fmla="*/ 98 h 239"/>
                <a:gd name="T88" fmla="*/ 51 w 198"/>
                <a:gd name="T89" fmla="*/ 74 h 239"/>
                <a:gd name="T90" fmla="*/ 61 w 198"/>
                <a:gd name="T91" fmla="*/ 56 h 239"/>
                <a:gd name="T92" fmla="*/ 77 w 198"/>
                <a:gd name="T93" fmla="*/ 45 h 239"/>
                <a:gd name="T94" fmla="*/ 99 w 198"/>
                <a:gd name="T95" fmla="*/ 41 h 239"/>
                <a:gd name="T96" fmla="*/ 105 w 198"/>
                <a:gd name="T97" fmla="*/ 41 h 239"/>
                <a:gd name="T98" fmla="*/ 117 w 198"/>
                <a:gd name="T99" fmla="*/ 44 h 239"/>
                <a:gd name="T100" fmla="*/ 127 w 198"/>
                <a:gd name="T101" fmla="*/ 48 h 239"/>
                <a:gd name="T102" fmla="*/ 139 w 198"/>
                <a:gd name="T103" fmla="*/ 58 h 239"/>
                <a:gd name="T104" fmla="*/ 149 w 198"/>
                <a:gd name="T105" fmla="*/ 76 h 239"/>
                <a:gd name="T106" fmla="*/ 153 w 198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8" h="239">
                  <a:moveTo>
                    <a:pt x="198" y="115"/>
                  </a:moveTo>
                  <a:lnTo>
                    <a:pt x="198" y="115"/>
                  </a:lnTo>
                  <a:lnTo>
                    <a:pt x="198" y="104"/>
                  </a:lnTo>
                  <a:lnTo>
                    <a:pt x="197" y="92"/>
                  </a:lnTo>
                  <a:lnTo>
                    <a:pt x="195" y="81"/>
                  </a:lnTo>
                  <a:lnTo>
                    <a:pt x="192" y="71"/>
                  </a:lnTo>
                  <a:lnTo>
                    <a:pt x="189" y="61"/>
                  </a:lnTo>
                  <a:lnTo>
                    <a:pt x="185" y="52"/>
                  </a:lnTo>
                  <a:lnTo>
                    <a:pt x="180" y="43"/>
                  </a:lnTo>
                  <a:lnTo>
                    <a:pt x="174" y="34"/>
                  </a:lnTo>
                  <a:lnTo>
                    <a:pt x="168" y="27"/>
                  </a:lnTo>
                  <a:lnTo>
                    <a:pt x="161" y="20"/>
                  </a:lnTo>
                  <a:lnTo>
                    <a:pt x="153" y="14"/>
                  </a:lnTo>
                  <a:lnTo>
                    <a:pt x="144" y="10"/>
                  </a:lnTo>
                  <a:lnTo>
                    <a:pt x="135" y="6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69" y="5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2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8"/>
                  </a:lnTo>
                  <a:lnTo>
                    <a:pt x="5" y="80"/>
                  </a:lnTo>
                  <a:lnTo>
                    <a:pt x="2" y="92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4"/>
                  </a:lnTo>
                  <a:lnTo>
                    <a:pt x="3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4" y="183"/>
                  </a:lnTo>
                  <a:lnTo>
                    <a:pt x="19" y="193"/>
                  </a:lnTo>
                  <a:lnTo>
                    <a:pt x="25" y="201"/>
                  </a:lnTo>
                  <a:lnTo>
                    <a:pt x="31" y="209"/>
                  </a:lnTo>
                  <a:lnTo>
                    <a:pt x="31" y="209"/>
                  </a:lnTo>
                  <a:lnTo>
                    <a:pt x="37" y="215"/>
                  </a:lnTo>
                  <a:lnTo>
                    <a:pt x="44" y="220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6"/>
                  </a:lnTo>
                  <a:lnTo>
                    <a:pt x="88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4" y="238"/>
                  </a:lnTo>
                  <a:lnTo>
                    <a:pt x="126" y="237"/>
                  </a:lnTo>
                  <a:lnTo>
                    <a:pt x="137" y="234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5" y="227"/>
                  </a:lnTo>
                  <a:lnTo>
                    <a:pt x="163" y="222"/>
                  </a:lnTo>
                  <a:lnTo>
                    <a:pt x="171" y="216"/>
                  </a:lnTo>
                  <a:lnTo>
                    <a:pt x="179" y="209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41" y="188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24" y="195"/>
                  </a:lnTo>
                  <a:lnTo>
                    <a:pt x="117" y="197"/>
                  </a:lnTo>
                  <a:lnTo>
                    <a:pt x="110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93" y="197"/>
                  </a:lnTo>
                  <a:lnTo>
                    <a:pt x="82" y="195"/>
                  </a:lnTo>
                  <a:lnTo>
                    <a:pt x="73" y="190"/>
                  </a:lnTo>
                  <a:lnTo>
                    <a:pt x="65" y="183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7" y="151"/>
                  </a:lnTo>
                  <a:lnTo>
                    <a:pt x="45" y="136"/>
                  </a:lnTo>
                  <a:lnTo>
                    <a:pt x="197" y="136"/>
                  </a:lnTo>
                  <a:lnTo>
                    <a:pt x="197" y="136"/>
                  </a:lnTo>
                  <a:lnTo>
                    <a:pt x="198" y="127"/>
                  </a:lnTo>
                  <a:lnTo>
                    <a:pt x="198" y="115"/>
                  </a:lnTo>
                  <a:lnTo>
                    <a:pt x="198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1" y="74"/>
                  </a:lnTo>
                  <a:lnTo>
                    <a:pt x="56" y="64"/>
                  </a:lnTo>
                  <a:lnTo>
                    <a:pt x="61" y="56"/>
                  </a:lnTo>
                  <a:lnTo>
                    <a:pt x="69" y="49"/>
                  </a:lnTo>
                  <a:lnTo>
                    <a:pt x="77" y="45"/>
                  </a:lnTo>
                  <a:lnTo>
                    <a:pt x="87" y="42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105" y="41"/>
                  </a:lnTo>
                  <a:lnTo>
                    <a:pt x="112" y="42"/>
                  </a:lnTo>
                  <a:lnTo>
                    <a:pt x="117" y="44"/>
                  </a:lnTo>
                  <a:lnTo>
                    <a:pt x="122" y="45"/>
                  </a:lnTo>
                  <a:lnTo>
                    <a:pt x="127" y="48"/>
                  </a:lnTo>
                  <a:lnTo>
                    <a:pt x="132" y="51"/>
                  </a:lnTo>
                  <a:lnTo>
                    <a:pt x="139" y="58"/>
                  </a:lnTo>
                  <a:lnTo>
                    <a:pt x="144" y="66"/>
                  </a:lnTo>
                  <a:lnTo>
                    <a:pt x="149" y="76"/>
                  </a:lnTo>
                  <a:lnTo>
                    <a:pt x="151" y="87"/>
                  </a:lnTo>
                  <a:lnTo>
                    <a:pt x="153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1" name="Freeform 110"/>
            <p:cNvSpPr>
              <a:spLocks/>
            </p:cNvSpPr>
            <p:nvPr userDrawn="1"/>
          </p:nvSpPr>
          <p:spPr bwMode="auto">
            <a:xfrm>
              <a:off x="2590800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2" name="Freeform 111"/>
            <p:cNvSpPr>
              <a:spLocks/>
            </p:cNvSpPr>
            <p:nvPr userDrawn="1"/>
          </p:nvSpPr>
          <p:spPr bwMode="auto">
            <a:xfrm>
              <a:off x="2671763" y="6153151"/>
              <a:ext cx="73025" cy="92075"/>
            </a:xfrm>
            <a:custGeom>
              <a:avLst/>
              <a:gdLst>
                <a:gd name="T0" fmla="*/ 185 w 185"/>
                <a:gd name="T1" fmla="*/ 39 h 229"/>
                <a:gd name="T2" fmla="*/ 185 w 185"/>
                <a:gd name="T3" fmla="*/ 0 h 229"/>
                <a:gd name="T4" fmla="*/ 0 w 185"/>
                <a:gd name="T5" fmla="*/ 0 h 229"/>
                <a:gd name="T6" fmla="*/ 0 w 185"/>
                <a:gd name="T7" fmla="*/ 39 h 229"/>
                <a:gd name="T8" fmla="*/ 69 w 185"/>
                <a:gd name="T9" fmla="*/ 39 h 229"/>
                <a:gd name="T10" fmla="*/ 69 w 185"/>
                <a:gd name="T11" fmla="*/ 229 h 229"/>
                <a:gd name="T12" fmla="*/ 114 w 185"/>
                <a:gd name="T13" fmla="*/ 229 h 229"/>
                <a:gd name="T14" fmla="*/ 114 w 185"/>
                <a:gd name="T15" fmla="*/ 39 h 229"/>
                <a:gd name="T16" fmla="*/ 185 w 185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185" y="39"/>
                  </a:moveTo>
                  <a:lnTo>
                    <a:pt x="185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9" y="39"/>
                  </a:lnTo>
                  <a:lnTo>
                    <a:pt x="69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5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3" name="Freeform 112"/>
            <p:cNvSpPr>
              <a:spLocks noEditPoints="1"/>
            </p:cNvSpPr>
            <p:nvPr userDrawn="1"/>
          </p:nvSpPr>
          <p:spPr bwMode="auto">
            <a:xfrm>
              <a:off x="2757488" y="6153151"/>
              <a:ext cx="74613" cy="92075"/>
            </a:xfrm>
            <a:custGeom>
              <a:avLst/>
              <a:gdLst>
                <a:gd name="T0" fmla="*/ 45 w 184"/>
                <a:gd name="T1" fmla="*/ 0 h 229"/>
                <a:gd name="T2" fmla="*/ 0 w 184"/>
                <a:gd name="T3" fmla="*/ 0 h 229"/>
                <a:gd name="T4" fmla="*/ 0 w 184"/>
                <a:gd name="T5" fmla="*/ 229 h 229"/>
                <a:gd name="T6" fmla="*/ 106 w 184"/>
                <a:gd name="T7" fmla="*/ 229 h 229"/>
                <a:gd name="T8" fmla="*/ 106 w 184"/>
                <a:gd name="T9" fmla="*/ 229 h 229"/>
                <a:gd name="T10" fmla="*/ 114 w 184"/>
                <a:gd name="T11" fmla="*/ 229 h 229"/>
                <a:gd name="T12" fmla="*/ 122 w 184"/>
                <a:gd name="T13" fmla="*/ 228 h 229"/>
                <a:gd name="T14" fmla="*/ 130 w 184"/>
                <a:gd name="T15" fmla="*/ 226 h 229"/>
                <a:gd name="T16" fmla="*/ 137 w 184"/>
                <a:gd name="T17" fmla="*/ 224 h 229"/>
                <a:gd name="T18" fmla="*/ 144 w 184"/>
                <a:gd name="T19" fmla="*/ 222 h 229"/>
                <a:gd name="T20" fmla="*/ 151 w 184"/>
                <a:gd name="T21" fmla="*/ 218 h 229"/>
                <a:gd name="T22" fmla="*/ 157 w 184"/>
                <a:gd name="T23" fmla="*/ 214 h 229"/>
                <a:gd name="T24" fmla="*/ 162 w 184"/>
                <a:gd name="T25" fmla="*/ 210 h 229"/>
                <a:gd name="T26" fmla="*/ 167 w 184"/>
                <a:gd name="T27" fmla="*/ 205 h 229"/>
                <a:gd name="T28" fmla="*/ 172 w 184"/>
                <a:gd name="T29" fmla="*/ 200 h 229"/>
                <a:gd name="T30" fmla="*/ 175 w 184"/>
                <a:gd name="T31" fmla="*/ 193 h 229"/>
                <a:gd name="T32" fmla="*/ 178 w 184"/>
                <a:gd name="T33" fmla="*/ 187 h 229"/>
                <a:gd name="T34" fmla="*/ 181 w 184"/>
                <a:gd name="T35" fmla="*/ 180 h 229"/>
                <a:gd name="T36" fmla="*/ 183 w 184"/>
                <a:gd name="T37" fmla="*/ 172 h 229"/>
                <a:gd name="T38" fmla="*/ 184 w 184"/>
                <a:gd name="T39" fmla="*/ 163 h 229"/>
                <a:gd name="T40" fmla="*/ 184 w 184"/>
                <a:gd name="T41" fmla="*/ 154 h 229"/>
                <a:gd name="T42" fmla="*/ 184 w 184"/>
                <a:gd name="T43" fmla="*/ 154 h 229"/>
                <a:gd name="T44" fmla="*/ 184 w 184"/>
                <a:gd name="T45" fmla="*/ 146 h 229"/>
                <a:gd name="T46" fmla="*/ 183 w 184"/>
                <a:gd name="T47" fmla="*/ 137 h 229"/>
                <a:gd name="T48" fmla="*/ 181 w 184"/>
                <a:gd name="T49" fmla="*/ 130 h 229"/>
                <a:gd name="T50" fmla="*/ 178 w 184"/>
                <a:gd name="T51" fmla="*/ 122 h 229"/>
                <a:gd name="T52" fmla="*/ 175 w 184"/>
                <a:gd name="T53" fmla="*/ 116 h 229"/>
                <a:gd name="T54" fmla="*/ 172 w 184"/>
                <a:gd name="T55" fmla="*/ 110 h 229"/>
                <a:gd name="T56" fmla="*/ 167 w 184"/>
                <a:gd name="T57" fmla="*/ 104 h 229"/>
                <a:gd name="T58" fmla="*/ 163 w 184"/>
                <a:gd name="T59" fmla="*/ 99 h 229"/>
                <a:gd name="T60" fmla="*/ 157 w 184"/>
                <a:gd name="T61" fmla="*/ 95 h 229"/>
                <a:gd name="T62" fmla="*/ 151 w 184"/>
                <a:gd name="T63" fmla="*/ 91 h 229"/>
                <a:gd name="T64" fmla="*/ 145 w 184"/>
                <a:gd name="T65" fmla="*/ 88 h 229"/>
                <a:gd name="T66" fmla="*/ 139 w 184"/>
                <a:gd name="T67" fmla="*/ 85 h 229"/>
                <a:gd name="T68" fmla="*/ 132 w 184"/>
                <a:gd name="T69" fmla="*/ 83 h 229"/>
                <a:gd name="T70" fmla="*/ 124 w 184"/>
                <a:gd name="T71" fmla="*/ 82 h 229"/>
                <a:gd name="T72" fmla="*/ 116 w 184"/>
                <a:gd name="T73" fmla="*/ 81 h 229"/>
                <a:gd name="T74" fmla="*/ 108 w 184"/>
                <a:gd name="T75" fmla="*/ 81 h 229"/>
                <a:gd name="T76" fmla="*/ 45 w 184"/>
                <a:gd name="T77" fmla="*/ 81 h 229"/>
                <a:gd name="T78" fmla="*/ 45 w 184"/>
                <a:gd name="T79" fmla="*/ 0 h 229"/>
                <a:gd name="T80" fmla="*/ 45 w 184"/>
                <a:gd name="T81" fmla="*/ 192 h 229"/>
                <a:gd name="T82" fmla="*/ 45 w 184"/>
                <a:gd name="T83" fmla="*/ 118 h 229"/>
                <a:gd name="T84" fmla="*/ 102 w 184"/>
                <a:gd name="T85" fmla="*/ 118 h 229"/>
                <a:gd name="T86" fmla="*/ 102 w 184"/>
                <a:gd name="T87" fmla="*/ 118 h 229"/>
                <a:gd name="T88" fmla="*/ 110 w 184"/>
                <a:gd name="T89" fmla="*/ 118 h 229"/>
                <a:gd name="T90" fmla="*/ 118 w 184"/>
                <a:gd name="T91" fmla="*/ 120 h 229"/>
                <a:gd name="T92" fmla="*/ 124 w 184"/>
                <a:gd name="T93" fmla="*/ 123 h 229"/>
                <a:gd name="T94" fmla="*/ 129 w 184"/>
                <a:gd name="T95" fmla="*/ 127 h 229"/>
                <a:gd name="T96" fmla="*/ 134 w 184"/>
                <a:gd name="T97" fmla="*/ 133 h 229"/>
                <a:gd name="T98" fmla="*/ 137 w 184"/>
                <a:gd name="T99" fmla="*/ 139 h 229"/>
                <a:gd name="T100" fmla="*/ 139 w 184"/>
                <a:gd name="T101" fmla="*/ 146 h 229"/>
                <a:gd name="T102" fmla="*/ 139 w 184"/>
                <a:gd name="T103" fmla="*/ 155 h 229"/>
                <a:gd name="T104" fmla="*/ 139 w 184"/>
                <a:gd name="T105" fmla="*/ 155 h 229"/>
                <a:gd name="T106" fmla="*/ 139 w 184"/>
                <a:gd name="T107" fmla="*/ 163 h 229"/>
                <a:gd name="T108" fmla="*/ 137 w 184"/>
                <a:gd name="T109" fmla="*/ 170 h 229"/>
                <a:gd name="T110" fmla="*/ 134 w 184"/>
                <a:gd name="T111" fmla="*/ 177 h 229"/>
                <a:gd name="T112" fmla="*/ 130 w 184"/>
                <a:gd name="T113" fmla="*/ 182 h 229"/>
                <a:gd name="T114" fmla="*/ 125 w 184"/>
                <a:gd name="T115" fmla="*/ 186 h 229"/>
                <a:gd name="T116" fmla="*/ 119 w 184"/>
                <a:gd name="T117" fmla="*/ 189 h 229"/>
                <a:gd name="T118" fmla="*/ 111 w 184"/>
                <a:gd name="T119" fmla="*/ 191 h 229"/>
                <a:gd name="T120" fmla="*/ 102 w 184"/>
                <a:gd name="T121" fmla="*/ 192 h 229"/>
                <a:gd name="T122" fmla="*/ 45 w 184"/>
                <a:gd name="T123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4" h="229">
                  <a:moveTo>
                    <a:pt x="45" y="0"/>
                  </a:moveTo>
                  <a:lnTo>
                    <a:pt x="0" y="0"/>
                  </a:ln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14" y="229"/>
                  </a:lnTo>
                  <a:lnTo>
                    <a:pt x="122" y="228"/>
                  </a:lnTo>
                  <a:lnTo>
                    <a:pt x="130" y="226"/>
                  </a:lnTo>
                  <a:lnTo>
                    <a:pt x="137" y="224"/>
                  </a:lnTo>
                  <a:lnTo>
                    <a:pt x="144" y="222"/>
                  </a:lnTo>
                  <a:lnTo>
                    <a:pt x="151" y="218"/>
                  </a:lnTo>
                  <a:lnTo>
                    <a:pt x="157" y="214"/>
                  </a:lnTo>
                  <a:lnTo>
                    <a:pt x="162" y="210"/>
                  </a:lnTo>
                  <a:lnTo>
                    <a:pt x="167" y="205"/>
                  </a:lnTo>
                  <a:lnTo>
                    <a:pt x="172" y="200"/>
                  </a:lnTo>
                  <a:lnTo>
                    <a:pt x="175" y="193"/>
                  </a:lnTo>
                  <a:lnTo>
                    <a:pt x="178" y="187"/>
                  </a:lnTo>
                  <a:lnTo>
                    <a:pt x="181" y="180"/>
                  </a:lnTo>
                  <a:lnTo>
                    <a:pt x="183" y="172"/>
                  </a:lnTo>
                  <a:lnTo>
                    <a:pt x="184" y="163"/>
                  </a:lnTo>
                  <a:lnTo>
                    <a:pt x="184" y="154"/>
                  </a:lnTo>
                  <a:lnTo>
                    <a:pt x="184" y="154"/>
                  </a:lnTo>
                  <a:lnTo>
                    <a:pt x="184" y="146"/>
                  </a:lnTo>
                  <a:lnTo>
                    <a:pt x="183" y="137"/>
                  </a:lnTo>
                  <a:lnTo>
                    <a:pt x="181" y="130"/>
                  </a:lnTo>
                  <a:lnTo>
                    <a:pt x="178" y="122"/>
                  </a:lnTo>
                  <a:lnTo>
                    <a:pt x="175" y="116"/>
                  </a:lnTo>
                  <a:lnTo>
                    <a:pt x="172" y="110"/>
                  </a:lnTo>
                  <a:lnTo>
                    <a:pt x="167" y="104"/>
                  </a:lnTo>
                  <a:lnTo>
                    <a:pt x="163" y="99"/>
                  </a:lnTo>
                  <a:lnTo>
                    <a:pt x="157" y="95"/>
                  </a:lnTo>
                  <a:lnTo>
                    <a:pt x="151" y="91"/>
                  </a:lnTo>
                  <a:lnTo>
                    <a:pt x="145" y="88"/>
                  </a:lnTo>
                  <a:lnTo>
                    <a:pt x="139" y="85"/>
                  </a:lnTo>
                  <a:lnTo>
                    <a:pt x="132" y="83"/>
                  </a:lnTo>
                  <a:lnTo>
                    <a:pt x="124" y="82"/>
                  </a:lnTo>
                  <a:lnTo>
                    <a:pt x="116" y="81"/>
                  </a:lnTo>
                  <a:lnTo>
                    <a:pt x="108" y="81"/>
                  </a:lnTo>
                  <a:lnTo>
                    <a:pt x="45" y="81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10" y="118"/>
                  </a:lnTo>
                  <a:lnTo>
                    <a:pt x="118" y="120"/>
                  </a:lnTo>
                  <a:lnTo>
                    <a:pt x="124" y="123"/>
                  </a:lnTo>
                  <a:lnTo>
                    <a:pt x="129" y="127"/>
                  </a:lnTo>
                  <a:lnTo>
                    <a:pt x="134" y="133"/>
                  </a:lnTo>
                  <a:lnTo>
                    <a:pt x="137" y="139"/>
                  </a:lnTo>
                  <a:lnTo>
                    <a:pt x="139" y="146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9" y="163"/>
                  </a:lnTo>
                  <a:lnTo>
                    <a:pt x="137" y="170"/>
                  </a:lnTo>
                  <a:lnTo>
                    <a:pt x="134" y="177"/>
                  </a:lnTo>
                  <a:lnTo>
                    <a:pt x="130" y="182"/>
                  </a:lnTo>
                  <a:lnTo>
                    <a:pt x="125" y="186"/>
                  </a:lnTo>
                  <a:lnTo>
                    <a:pt x="119" y="189"/>
                  </a:lnTo>
                  <a:lnTo>
                    <a:pt x="111" y="191"/>
                  </a:lnTo>
                  <a:lnTo>
                    <a:pt x="102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4" name="Freeform 113"/>
            <p:cNvSpPr>
              <a:spLocks noEditPoints="1"/>
            </p:cNvSpPr>
            <p:nvPr userDrawn="1"/>
          </p:nvSpPr>
          <p:spPr bwMode="auto">
            <a:xfrm>
              <a:off x="2889250" y="6151563"/>
              <a:ext cx="80963" cy="95250"/>
            </a:xfrm>
            <a:custGeom>
              <a:avLst/>
              <a:gdLst>
                <a:gd name="T0" fmla="*/ 205 w 205"/>
                <a:gd name="T1" fmla="*/ 105 h 239"/>
                <a:gd name="T2" fmla="*/ 198 w 205"/>
                <a:gd name="T3" fmla="*/ 70 h 239"/>
                <a:gd name="T4" fmla="*/ 183 w 205"/>
                <a:gd name="T5" fmla="*/ 41 h 239"/>
                <a:gd name="T6" fmla="*/ 161 w 205"/>
                <a:gd name="T7" fmla="*/ 19 h 239"/>
                <a:gd name="T8" fmla="*/ 135 w 205"/>
                <a:gd name="T9" fmla="*/ 5 h 239"/>
                <a:gd name="T10" fmla="*/ 103 w 205"/>
                <a:gd name="T11" fmla="*/ 0 h 239"/>
                <a:gd name="T12" fmla="*/ 81 w 205"/>
                <a:gd name="T13" fmla="*/ 2 h 239"/>
                <a:gd name="T14" fmla="*/ 53 w 205"/>
                <a:gd name="T15" fmla="*/ 13 h 239"/>
                <a:gd name="T16" fmla="*/ 30 w 205"/>
                <a:gd name="T17" fmla="*/ 32 h 239"/>
                <a:gd name="T18" fmla="*/ 12 w 205"/>
                <a:gd name="T19" fmla="*/ 59 h 239"/>
                <a:gd name="T20" fmla="*/ 2 w 205"/>
                <a:gd name="T21" fmla="*/ 93 h 239"/>
                <a:gd name="T22" fmla="*/ 0 w 205"/>
                <a:gd name="T23" fmla="*/ 120 h 239"/>
                <a:gd name="T24" fmla="*/ 5 w 205"/>
                <a:gd name="T25" fmla="*/ 157 h 239"/>
                <a:gd name="T26" fmla="*/ 17 w 205"/>
                <a:gd name="T27" fmla="*/ 189 h 239"/>
                <a:gd name="T28" fmla="*/ 36 w 205"/>
                <a:gd name="T29" fmla="*/ 214 h 239"/>
                <a:gd name="T30" fmla="*/ 61 w 205"/>
                <a:gd name="T31" fmla="*/ 230 h 239"/>
                <a:gd name="T32" fmla="*/ 90 w 205"/>
                <a:gd name="T33" fmla="*/ 238 h 239"/>
                <a:gd name="T34" fmla="*/ 113 w 205"/>
                <a:gd name="T35" fmla="*/ 238 h 239"/>
                <a:gd name="T36" fmla="*/ 143 w 205"/>
                <a:gd name="T37" fmla="*/ 231 h 239"/>
                <a:gd name="T38" fmla="*/ 169 w 205"/>
                <a:gd name="T39" fmla="*/ 214 h 239"/>
                <a:gd name="T40" fmla="*/ 188 w 205"/>
                <a:gd name="T41" fmla="*/ 190 h 239"/>
                <a:gd name="T42" fmla="*/ 201 w 205"/>
                <a:gd name="T43" fmla="*/ 158 h 239"/>
                <a:gd name="T44" fmla="*/ 205 w 205"/>
                <a:gd name="T45" fmla="*/ 119 h 239"/>
                <a:gd name="T46" fmla="*/ 160 w 205"/>
                <a:gd name="T47" fmla="*/ 120 h 239"/>
                <a:gd name="T48" fmla="*/ 151 w 205"/>
                <a:gd name="T49" fmla="*/ 162 h 239"/>
                <a:gd name="T50" fmla="*/ 137 w 205"/>
                <a:gd name="T51" fmla="*/ 183 h 239"/>
                <a:gd name="T52" fmla="*/ 122 w 205"/>
                <a:gd name="T53" fmla="*/ 193 h 239"/>
                <a:gd name="T54" fmla="*/ 104 w 205"/>
                <a:gd name="T55" fmla="*/ 196 h 239"/>
                <a:gd name="T56" fmla="*/ 91 w 205"/>
                <a:gd name="T57" fmla="*/ 195 h 239"/>
                <a:gd name="T58" fmla="*/ 75 w 205"/>
                <a:gd name="T59" fmla="*/ 188 h 239"/>
                <a:gd name="T60" fmla="*/ 62 w 205"/>
                <a:gd name="T61" fmla="*/ 176 h 239"/>
                <a:gd name="T62" fmla="*/ 52 w 205"/>
                <a:gd name="T63" fmla="*/ 159 h 239"/>
                <a:gd name="T64" fmla="*/ 46 w 205"/>
                <a:gd name="T65" fmla="*/ 119 h 239"/>
                <a:gd name="T66" fmla="*/ 50 w 205"/>
                <a:gd name="T67" fmla="*/ 88 h 239"/>
                <a:gd name="T68" fmla="*/ 60 w 205"/>
                <a:gd name="T69" fmla="*/ 64 h 239"/>
                <a:gd name="T70" fmla="*/ 73 w 205"/>
                <a:gd name="T71" fmla="*/ 51 h 239"/>
                <a:gd name="T72" fmla="*/ 89 w 205"/>
                <a:gd name="T73" fmla="*/ 44 h 239"/>
                <a:gd name="T74" fmla="*/ 101 w 205"/>
                <a:gd name="T75" fmla="*/ 43 h 239"/>
                <a:gd name="T76" fmla="*/ 120 w 205"/>
                <a:gd name="T77" fmla="*/ 46 h 239"/>
                <a:gd name="T78" fmla="*/ 136 w 205"/>
                <a:gd name="T79" fmla="*/ 55 h 239"/>
                <a:gd name="T80" fmla="*/ 148 w 205"/>
                <a:gd name="T81" fmla="*/ 69 h 239"/>
                <a:gd name="T82" fmla="*/ 156 w 205"/>
                <a:gd name="T83" fmla="*/ 88 h 239"/>
                <a:gd name="T84" fmla="*/ 160 w 205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5" h="239">
                  <a:moveTo>
                    <a:pt x="205" y="119"/>
                  </a:moveTo>
                  <a:lnTo>
                    <a:pt x="205" y="119"/>
                  </a:lnTo>
                  <a:lnTo>
                    <a:pt x="205" y="105"/>
                  </a:lnTo>
                  <a:lnTo>
                    <a:pt x="203" y="93"/>
                  </a:lnTo>
                  <a:lnTo>
                    <a:pt x="201" y="81"/>
                  </a:lnTo>
                  <a:lnTo>
                    <a:pt x="198" y="70"/>
                  </a:lnTo>
                  <a:lnTo>
                    <a:pt x="194" y="59"/>
                  </a:lnTo>
                  <a:lnTo>
                    <a:pt x="189" y="50"/>
                  </a:lnTo>
                  <a:lnTo>
                    <a:pt x="183" y="41"/>
                  </a:lnTo>
                  <a:lnTo>
                    <a:pt x="176" y="33"/>
                  </a:lnTo>
                  <a:lnTo>
                    <a:pt x="169" y="25"/>
                  </a:lnTo>
                  <a:lnTo>
                    <a:pt x="161" y="19"/>
                  </a:lnTo>
                  <a:lnTo>
                    <a:pt x="153" y="13"/>
                  </a:lnTo>
                  <a:lnTo>
                    <a:pt x="144" y="9"/>
                  </a:lnTo>
                  <a:lnTo>
                    <a:pt x="135" y="5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92" y="1"/>
                  </a:lnTo>
                  <a:lnTo>
                    <a:pt x="81" y="2"/>
                  </a:lnTo>
                  <a:lnTo>
                    <a:pt x="72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0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4" y="220"/>
                  </a:lnTo>
                  <a:lnTo>
                    <a:pt x="52" y="226"/>
                  </a:lnTo>
                  <a:lnTo>
                    <a:pt x="61" y="230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8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3" y="238"/>
                  </a:lnTo>
                  <a:lnTo>
                    <a:pt x="123" y="237"/>
                  </a:lnTo>
                  <a:lnTo>
                    <a:pt x="133" y="234"/>
                  </a:lnTo>
                  <a:lnTo>
                    <a:pt x="143" y="231"/>
                  </a:lnTo>
                  <a:lnTo>
                    <a:pt x="152" y="226"/>
                  </a:lnTo>
                  <a:lnTo>
                    <a:pt x="161" y="221"/>
                  </a:lnTo>
                  <a:lnTo>
                    <a:pt x="169" y="214"/>
                  </a:lnTo>
                  <a:lnTo>
                    <a:pt x="176" y="207"/>
                  </a:lnTo>
                  <a:lnTo>
                    <a:pt x="182" y="199"/>
                  </a:lnTo>
                  <a:lnTo>
                    <a:pt x="188" y="190"/>
                  </a:lnTo>
                  <a:lnTo>
                    <a:pt x="193" y="180"/>
                  </a:lnTo>
                  <a:lnTo>
                    <a:pt x="198" y="169"/>
                  </a:lnTo>
                  <a:lnTo>
                    <a:pt x="201" y="158"/>
                  </a:lnTo>
                  <a:lnTo>
                    <a:pt x="203" y="145"/>
                  </a:lnTo>
                  <a:lnTo>
                    <a:pt x="205" y="132"/>
                  </a:lnTo>
                  <a:lnTo>
                    <a:pt x="205" y="119"/>
                  </a:lnTo>
                  <a:lnTo>
                    <a:pt x="205" y="119"/>
                  </a:lnTo>
                  <a:close/>
                  <a:moveTo>
                    <a:pt x="160" y="120"/>
                  </a:moveTo>
                  <a:lnTo>
                    <a:pt x="160" y="120"/>
                  </a:lnTo>
                  <a:lnTo>
                    <a:pt x="159" y="135"/>
                  </a:lnTo>
                  <a:lnTo>
                    <a:pt x="156" y="149"/>
                  </a:lnTo>
                  <a:lnTo>
                    <a:pt x="151" y="162"/>
                  </a:lnTo>
                  <a:lnTo>
                    <a:pt x="145" y="174"/>
                  </a:lnTo>
                  <a:lnTo>
                    <a:pt x="141" y="179"/>
                  </a:lnTo>
                  <a:lnTo>
                    <a:pt x="137" y="183"/>
                  </a:lnTo>
                  <a:lnTo>
                    <a:pt x="132" y="187"/>
                  </a:lnTo>
                  <a:lnTo>
                    <a:pt x="127" y="190"/>
                  </a:lnTo>
                  <a:lnTo>
                    <a:pt x="122" y="193"/>
                  </a:lnTo>
                  <a:lnTo>
                    <a:pt x="116" y="195"/>
                  </a:lnTo>
                  <a:lnTo>
                    <a:pt x="110" y="196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97" y="196"/>
                  </a:lnTo>
                  <a:lnTo>
                    <a:pt x="91" y="195"/>
                  </a:lnTo>
                  <a:lnTo>
                    <a:pt x="85" y="193"/>
                  </a:lnTo>
                  <a:lnTo>
                    <a:pt x="80" y="191"/>
                  </a:lnTo>
                  <a:lnTo>
                    <a:pt x="75" y="188"/>
                  </a:lnTo>
                  <a:lnTo>
                    <a:pt x="70" y="185"/>
                  </a:lnTo>
                  <a:lnTo>
                    <a:pt x="65" y="181"/>
                  </a:lnTo>
                  <a:lnTo>
                    <a:pt x="62" y="176"/>
                  </a:lnTo>
                  <a:lnTo>
                    <a:pt x="58" y="171"/>
                  </a:lnTo>
                  <a:lnTo>
                    <a:pt x="55" y="165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7" y="102"/>
                  </a:lnTo>
                  <a:lnTo>
                    <a:pt x="50" y="88"/>
                  </a:lnTo>
                  <a:lnTo>
                    <a:pt x="54" y="75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3" y="51"/>
                  </a:lnTo>
                  <a:lnTo>
                    <a:pt x="78" y="48"/>
                  </a:lnTo>
                  <a:lnTo>
                    <a:pt x="83" y="46"/>
                  </a:lnTo>
                  <a:lnTo>
                    <a:pt x="89" y="44"/>
                  </a:lnTo>
                  <a:lnTo>
                    <a:pt x="94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8" y="43"/>
                  </a:lnTo>
                  <a:lnTo>
                    <a:pt x="115" y="44"/>
                  </a:lnTo>
                  <a:lnTo>
                    <a:pt x="120" y="46"/>
                  </a:lnTo>
                  <a:lnTo>
                    <a:pt x="126" y="49"/>
                  </a:lnTo>
                  <a:lnTo>
                    <a:pt x="131" y="51"/>
                  </a:lnTo>
                  <a:lnTo>
                    <a:pt x="136" y="55"/>
                  </a:lnTo>
                  <a:lnTo>
                    <a:pt x="140" y="59"/>
                  </a:lnTo>
                  <a:lnTo>
                    <a:pt x="144" y="64"/>
                  </a:lnTo>
                  <a:lnTo>
                    <a:pt x="148" y="69"/>
                  </a:lnTo>
                  <a:lnTo>
                    <a:pt x="151" y="75"/>
                  </a:lnTo>
                  <a:lnTo>
                    <a:pt x="154" y="81"/>
                  </a:lnTo>
                  <a:lnTo>
                    <a:pt x="156" y="88"/>
                  </a:lnTo>
                  <a:lnTo>
                    <a:pt x="159" y="103"/>
                  </a:lnTo>
                  <a:lnTo>
                    <a:pt x="160" y="120"/>
                  </a:lnTo>
                  <a:lnTo>
                    <a:pt x="160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5" name="Freeform 114"/>
            <p:cNvSpPr>
              <a:spLocks/>
            </p:cNvSpPr>
            <p:nvPr userDrawn="1"/>
          </p:nvSpPr>
          <p:spPr bwMode="auto">
            <a:xfrm>
              <a:off x="2979738" y="6153151"/>
              <a:ext cx="73025" cy="92075"/>
            </a:xfrm>
            <a:custGeom>
              <a:avLst/>
              <a:gdLst>
                <a:gd name="T0" fmla="*/ 184 w 184"/>
                <a:gd name="T1" fmla="*/ 39 h 229"/>
                <a:gd name="T2" fmla="*/ 184 w 184"/>
                <a:gd name="T3" fmla="*/ 0 h 229"/>
                <a:gd name="T4" fmla="*/ 0 w 184"/>
                <a:gd name="T5" fmla="*/ 0 h 229"/>
                <a:gd name="T6" fmla="*/ 0 w 184"/>
                <a:gd name="T7" fmla="*/ 39 h 229"/>
                <a:gd name="T8" fmla="*/ 69 w 184"/>
                <a:gd name="T9" fmla="*/ 39 h 229"/>
                <a:gd name="T10" fmla="*/ 69 w 184"/>
                <a:gd name="T11" fmla="*/ 229 h 229"/>
                <a:gd name="T12" fmla="*/ 114 w 184"/>
                <a:gd name="T13" fmla="*/ 229 h 229"/>
                <a:gd name="T14" fmla="*/ 114 w 184"/>
                <a:gd name="T15" fmla="*/ 39 h 229"/>
                <a:gd name="T16" fmla="*/ 184 w 184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229">
                  <a:moveTo>
                    <a:pt x="184" y="39"/>
                  </a:moveTo>
                  <a:lnTo>
                    <a:pt x="184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9" y="39"/>
                  </a:lnTo>
                  <a:lnTo>
                    <a:pt x="69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6" name="Freeform 115"/>
            <p:cNvSpPr>
              <a:spLocks noEditPoints="1"/>
            </p:cNvSpPr>
            <p:nvPr userDrawn="1"/>
          </p:nvSpPr>
          <p:spPr bwMode="auto">
            <a:xfrm>
              <a:off x="3065463" y="6153151"/>
              <a:ext cx="73025" cy="92075"/>
            </a:xfrm>
            <a:custGeom>
              <a:avLst/>
              <a:gdLst>
                <a:gd name="T0" fmla="*/ 0 w 185"/>
                <a:gd name="T1" fmla="*/ 229 h 229"/>
                <a:gd name="T2" fmla="*/ 105 w 185"/>
                <a:gd name="T3" fmla="*/ 229 h 229"/>
                <a:gd name="T4" fmla="*/ 131 w 185"/>
                <a:gd name="T5" fmla="*/ 227 h 229"/>
                <a:gd name="T6" fmla="*/ 146 w 185"/>
                <a:gd name="T7" fmla="*/ 222 h 229"/>
                <a:gd name="T8" fmla="*/ 159 w 185"/>
                <a:gd name="T9" fmla="*/ 215 h 229"/>
                <a:gd name="T10" fmla="*/ 169 w 185"/>
                <a:gd name="T11" fmla="*/ 207 h 229"/>
                <a:gd name="T12" fmla="*/ 177 w 185"/>
                <a:gd name="T13" fmla="*/ 196 h 229"/>
                <a:gd name="T14" fmla="*/ 182 w 185"/>
                <a:gd name="T15" fmla="*/ 182 h 229"/>
                <a:gd name="T16" fmla="*/ 184 w 185"/>
                <a:gd name="T17" fmla="*/ 167 h 229"/>
                <a:gd name="T18" fmla="*/ 185 w 185"/>
                <a:gd name="T19" fmla="*/ 159 h 229"/>
                <a:gd name="T20" fmla="*/ 181 w 185"/>
                <a:gd name="T21" fmla="*/ 138 h 229"/>
                <a:gd name="T22" fmla="*/ 173 w 185"/>
                <a:gd name="T23" fmla="*/ 122 h 229"/>
                <a:gd name="T24" fmla="*/ 161 w 185"/>
                <a:gd name="T25" fmla="*/ 112 h 229"/>
                <a:gd name="T26" fmla="*/ 147 w 185"/>
                <a:gd name="T27" fmla="*/ 106 h 229"/>
                <a:gd name="T28" fmla="*/ 153 w 185"/>
                <a:gd name="T29" fmla="*/ 102 h 229"/>
                <a:gd name="T30" fmla="*/ 165 w 185"/>
                <a:gd name="T31" fmla="*/ 94 h 229"/>
                <a:gd name="T32" fmla="*/ 173 w 185"/>
                <a:gd name="T33" fmla="*/ 82 h 229"/>
                <a:gd name="T34" fmla="*/ 177 w 185"/>
                <a:gd name="T35" fmla="*/ 68 h 229"/>
                <a:gd name="T36" fmla="*/ 178 w 185"/>
                <a:gd name="T37" fmla="*/ 60 h 229"/>
                <a:gd name="T38" fmla="*/ 177 w 185"/>
                <a:gd name="T39" fmla="*/ 46 h 229"/>
                <a:gd name="T40" fmla="*/ 173 w 185"/>
                <a:gd name="T41" fmla="*/ 34 h 229"/>
                <a:gd name="T42" fmla="*/ 167 w 185"/>
                <a:gd name="T43" fmla="*/ 24 h 229"/>
                <a:gd name="T44" fmla="*/ 160 w 185"/>
                <a:gd name="T45" fmla="*/ 15 h 229"/>
                <a:gd name="T46" fmla="*/ 149 w 185"/>
                <a:gd name="T47" fmla="*/ 9 h 229"/>
                <a:gd name="T48" fmla="*/ 125 w 185"/>
                <a:gd name="T49" fmla="*/ 1 h 229"/>
                <a:gd name="T50" fmla="*/ 0 w 185"/>
                <a:gd name="T51" fmla="*/ 0 h 229"/>
                <a:gd name="T52" fmla="*/ 44 w 185"/>
                <a:gd name="T53" fmla="*/ 37 h 229"/>
                <a:gd name="T54" fmla="*/ 104 w 185"/>
                <a:gd name="T55" fmla="*/ 37 h 229"/>
                <a:gd name="T56" fmla="*/ 117 w 185"/>
                <a:gd name="T57" fmla="*/ 39 h 229"/>
                <a:gd name="T58" fmla="*/ 125 w 185"/>
                <a:gd name="T59" fmla="*/ 45 h 229"/>
                <a:gd name="T60" fmla="*/ 130 w 185"/>
                <a:gd name="T61" fmla="*/ 53 h 229"/>
                <a:gd name="T62" fmla="*/ 132 w 185"/>
                <a:gd name="T63" fmla="*/ 64 h 229"/>
                <a:gd name="T64" fmla="*/ 131 w 185"/>
                <a:gd name="T65" fmla="*/ 69 h 229"/>
                <a:gd name="T66" fmla="*/ 128 w 185"/>
                <a:gd name="T67" fmla="*/ 78 h 229"/>
                <a:gd name="T68" fmla="*/ 121 w 185"/>
                <a:gd name="T69" fmla="*/ 85 h 229"/>
                <a:gd name="T70" fmla="*/ 111 w 185"/>
                <a:gd name="T71" fmla="*/ 89 h 229"/>
                <a:gd name="T72" fmla="*/ 44 w 185"/>
                <a:gd name="T73" fmla="*/ 90 h 229"/>
                <a:gd name="T74" fmla="*/ 44 w 185"/>
                <a:gd name="T75" fmla="*/ 127 h 229"/>
                <a:gd name="T76" fmla="*/ 104 w 185"/>
                <a:gd name="T77" fmla="*/ 127 h 229"/>
                <a:gd name="T78" fmla="*/ 119 w 185"/>
                <a:gd name="T79" fmla="*/ 129 h 229"/>
                <a:gd name="T80" fmla="*/ 130 w 185"/>
                <a:gd name="T81" fmla="*/ 136 h 229"/>
                <a:gd name="T82" fmla="*/ 137 w 185"/>
                <a:gd name="T83" fmla="*/ 146 h 229"/>
                <a:gd name="T84" fmla="*/ 139 w 185"/>
                <a:gd name="T85" fmla="*/ 160 h 229"/>
                <a:gd name="T86" fmla="*/ 138 w 185"/>
                <a:gd name="T87" fmla="*/ 167 h 229"/>
                <a:gd name="T88" fmla="*/ 134 w 185"/>
                <a:gd name="T89" fmla="*/ 178 h 229"/>
                <a:gd name="T90" fmla="*/ 126 w 185"/>
                <a:gd name="T91" fmla="*/ 187 h 229"/>
                <a:gd name="T92" fmla="*/ 112 w 185"/>
                <a:gd name="T93" fmla="*/ 191 h 229"/>
                <a:gd name="T94" fmla="*/ 44 w 185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105" y="229"/>
                  </a:lnTo>
                  <a:lnTo>
                    <a:pt x="105" y="229"/>
                  </a:lnTo>
                  <a:lnTo>
                    <a:pt x="123" y="228"/>
                  </a:lnTo>
                  <a:lnTo>
                    <a:pt x="131" y="227"/>
                  </a:lnTo>
                  <a:lnTo>
                    <a:pt x="139" y="225"/>
                  </a:lnTo>
                  <a:lnTo>
                    <a:pt x="146" y="222"/>
                  </a:lnTo>
                  <a:lnTo>
                    <a:pt x="152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7" y="196"/>
                  </a:lnTo>
                  <a:lnTo>
                    <a:pt x="180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8" y="129"/>
                  </a:lnTo>
                  <a:lnTo>
                    <a:pt x="173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3" y="108"/>
                  </a:lnTo>
                  <a:lnTo>
                    <a:pt x="147" y="106"/>
                  </a:lnTo>
                  <a:lnTo>
                    <a:pt x="147" y="106"/>
                  </a:lnTo>
                  <a:lnTo>
                    <a:pt x="153" y="102"/>
                  </a:lnTo>
                  <a:lnTo>
                    <a:pt x="160" y="98"/>
                  </a:lnTo>
                  <a:lnTo>
                    <a:pt x="165" y="94"/>
                  </a:lnTo>
                  <a:lnTo>
                    <a:pt x="169" y="88"/>
                  </a:lnTo>
                  <a:lnTo>
                    <a:pt x="173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7" y="53"/>
                  </a:lnTo>
                  <a:lnTo>
                    <a:pt x="177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1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60" y="15"/>
                  </a:lnTo>
                  <a:lnTo>
                    <a:pt x="154" y="12"/>
                  </a:lnTo>
                  <a:lnTo>
                    <a:pt x="149" y="9"/>
                  </a:lnTo>
                  <a:lnTo>
                    <a:pt x="138" y="4"/>
                  </a:lnTo>
                  <a:lnTo>
                    <a:pt x="125" y="1"/>
                  </a:lnTo>
                  <a:lnTo>
                    <a:pt x="111" y="0"/>
                  </a:lnTo>
                  <a:lnTo>
                    <a:pt x="0" y="0"/>
                  </a:lnTo>
                  <a:close/>
                  <a:moveTo>
                    <a:pt x="44" y="90"/>
                  </a:moveTo>
                  <a:lnTo>
                    <a:pt x="4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1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5" y="45"/>
                  </a:lnTo>
                  <a:lnTo>
                    <a:pt x="128" y="49"/>
                  </a:lnTo>
                  <a:lnTo>
                    <a:pt x="130" y="53"/>
                  </a:lnTo>
                  <a:lnTo>
                    <a:pt x="132" y="58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1" y="69"/>
                  </a:lnTo>
                  <a:lnTo>
                    <a:pt x="130" y="74"/>
                  </a:lnTo>
                  <a:lnTo>
                    <a:pt x="128" y="78"/>
                  </a:lnTo>
                  <a:lnTo>
                    <a:pt x="125" y="82"/>
                  </a:lnTo>
                  <a:lnTo>
                    <a:pt x="121" y="85"/>
                  </a:lnTo>
                  <a:lnTo>
                    <a:pt x="116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4" y="90"/>
                  </a:lnTo>
                  <a:close/>
                  <a:moveTo>
                    <a:pt x="44" y="192"/>
                  </a:moveTo>
                  <a:lnTo>
                    <a:pt x="44" y="127"/>
                  </a:lnTo>
                  <a:lnTo>
                    <a:pt x="104" y="127"/>
                  </a:lnTo>
                  <a:lnTo>
                    <a:pt x="104" y="127"/>
                  </a:lnTo>
                  <a:lnTo>
                    <a:pt x="112" y="128"/>
                  </a:lnTo>
                  <a:lnTo>
                    <a:pt x="119" y="129"/>
                  </a:lnTo>
                  <a:lnTo>
                    <a:pt x="125" y="132"/>
                  </a:lnTo>
                  <a:lnTo>
                    <a:pt x="130" y="136"/>
                  </a:lnTo>
                  <a:lnTo>
                    <a:pt x="134" y="141"/>
                  </a:lnTo>
                  <a:lnTo>
                    <a:pt x="137" y="146"/>
                  </a:lnTo>
                  <a:lnTo>
                    <a:pt x="138" y="153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38" y="167"/>
                  </a:lnTo>
                  <a:lnTo>
                    <a:pt x="137" y="173"/>
                  </a:lnTo>
                  <a:lnTo>
                    <a:pt x="134" y="178"/>
                  </a:lnTo>
                  <a:lnTo>
                    <a:pt x="131" y="183"/>
                  </a:lnTo>
                  <a:lnTo>
                    <a:pt x="126" y="187"/>
                  </a:lnTo>
                  <a:lnTo>
                    <a:pt x="120" y="190"/>
                  </a:lnTo>
                  <a:lnTo>
                    <a:pt x="112" y="191"/>
                  </a:lnTo>
                  <a:lnTo>
                    <a:pt x="103" y="192"/>
                  </a:lnTo>
                  <a:lnTo>
                    <a:pt x="44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7" name="Freeform 116"/>
            <p:cNvSpPr>
              <a:spLocks noEditPoints="1"/>
            </p:cNvSpPr>
            <p:nvPr userDrawn="1"/>
          </p:nvSpPr>
          <p:spPr bwMode="auto">
            <a:xfrm>
              <a:off x="3151188" y="6151563"/>
              <a:ext cx="79375" cy="95250"/>
            </a:xfrm>
            <a:custGeom>
              <a:avLst/>
              <a:gdLst>
                <a:gd name="T0" fmla="*/ 197 w 197"/>
                <a:gd name="T1" fmla="*/ 115 h 239"/>
                <a:gd name="T2" fmla="*/ 195 w 197"/>
                <a:gd name="T3" fmla="*/ 92 h 239"/>
                <a:gd name="T4" fmla="*/ 191 w 197"/>
                <a:gd name="T5" fmla="*/ 71 h 239"/>
                <a:gd name="T6" fmla="*/ 183 w 197"/>
                <a:gd name="T7" fmla="*/ 52 h 239"/>
                <a:gd name="T8" fmla="*/ 173 w 197"/>
                <a:gd name="T9" fmla="*/ 34 h 239"/>
                <a:gd name="T10" fmla="*/ 159 w 197"/>
                <a:gd name="T11" fmla="*/ 20 h 239"/>
                <a:gd name="T12" fmla="*/ 143 w 197"/>
                <a:gd name="T13" fmla="*/ 10 h 239"/>
                <a:gd name="T14" fmla="*/ 123 w 197"/>
                <a:gd name="T15" fmla="*/ 3 h 239"/>
                <a:gd name="T16" fmla="*/ 100 w 197"/>
                <a:gd name="T17" fmla="*/ 0 h 239"/>
                <a:gd name="T18" fmla="*/ 89 w 197"/>
                <a:gd name="T19" fmla="*/ 1 h 239"/>
                <a:gd name="T20" fmla="*/ 69 w 197"/>
                <a:gd name="T21" fmla="*/ 5 h 239"/>
                <a:gd name="T22" fmla="*/ 51 w 197"/>
                <a:gd name="T23" fmla="*/ 12 h 239"/>
                <a:gd name="T24" fmla="*/ 35 w 197"/>
                <a:gd name="T25" fmla="*/ 24 h 239"/>
                <a:gd name="T26" fmla="*/ 22 w 197"/>
                <a:gd name="T27" fmla="*/ 39 h 239"/>
                <a:gd name="T28" fmla="*/ 11 w 197"/>
                <a:gd name="T29" fmla="*/ 58 h 239"/>
                <a:gd name="T30" fmla="*/ 4 w 197"/>
                <a:gd name="T31" fmla="*/ 80 h 239"/>
                <a:gd name="T32" fmla="*/ 0 w 197"/>
                <a:gd name="T33" fmla="*/ 106 h 239"/>
                <a:gd name="T34" fmla="*/ 0 w 197"/>
                <a:gd name="T35" fmla="*/ 120 h 239"/>
                <a:gd name="T36" fmla="*/ 2 w 197"/>
                <a:gd name="T37" fmla="*/ 148 h 239"/>
                <a:gd name="T38" fmla="*/ 9 w 197"/>
                <a:gd name="T39" fmla="*/ 172 h 239"/>
                <a:gd name="T40" fmla="*/ 18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8 h 239"/>
                <a:gd name="T52" fmla="*/ 99 w 197"/>
                <a:gd name="T53" fmla="*/ 239 h 239"/>
                <a:gd name="T54" fmla="*/ 124 w 197"/>
                <a:gd name="T55" fmla="*/ 237 h 239"/>
                <a:gd name="T56" fmla="*/ 145 w 197"/>
                <a:gd name="T57" fmla="*/ 231 h 239"/>
                <a:gd name="T58" fmla="*/ 153 w 197"/>
                <a:gd name="T59" fmla="*/ 227 h 239"/>
                <a:gd name="T60" fmla="*/ 170 w 197"/>
                <a:gd name="T61" fmla="*/ 216 h 239"/>
                <a:gd name="T62" fmla="*/ 151 w 197"/>
                <a:gd name="T63" fmla="*/ 180 h 239"/>
                <a:gd name="T64" fmla="*/ 139 w 197"/>
                <a:gd name="T65" fmla="*/ 188 h 239"/>
                <a:gd name="T66" fmla="*/ 128 w 197"/>
                <a:gd name="T67" fmla="*/ 193 h 239"/>
                <a:gd name="T68" fmla="*/ 116 w 197"/>
                <a:gd name="T69" fmla="*/ 197 h 239"/>
                <a:gd name="T70" fmla="*/ 101 w 197"/>
                <a:gd name="T71" fmla="*/ 198 h 239"/>
                <a:gd name="T72" fmla="*/ 91 w 197"/>
                <a:gd name="T73" fmla="*/ 197 h 239"/>
                <a:gd name="T74" fmla="*/ 72 w 197"/>
                <a:gd name="T75" fmla="*/ 190 h 239"/>
                <a:gd name="T76" fmla="*/ 57 w 197"/>
                <a:gd name="T77" fmla="*/ 175 h 239"/>
                <a:gd name="T78" fmla="*/ 47 w 197"/>
                <a:gd name="T79" fmla="*/ 151 h 239"/>
                <a:gd name="T80" fmla="*/ 195 w 197"/>
                <a:gd name="T81" fmla="*/ 136 h 239"/>
                <a:gd name="T82" fmla="*/ 196 w 197"/>
                <a:gd name="T83" fmla="*/ 127 h 239"/>
                <a:gd name="T84" fmla="*/ 197 w 197"/>
                <a:gd name="T85" fmla="*/ 115 h 239"/>
                <a:gd name="T86" fmla="*/ 45 w 197"/>
                <a:gd name="T87" fmla="*/ 98 h 239"/>
                <a:gd name="T88" fmla="*/ 50 w 197"/>
                <a:gd name="T89" fmla="*/ 74 h 239"/>
                <a:gd name="T90" fmla="*/ 61 w 197"/>
                <a:gd name="T91" fmla="*/ 56 h 239"/>
                <a:gd name="T92" fmla="*/ 76 w 197"/>
                <a:gd name="T93" fmla="*/ 45 h 239"/>
                <a:gd name="T94" fmla="*/ 97 w 197"/>
                <a:gd name="T95" fmla="*/ 41 h 239"/>
                <a:gd name="T96" fmla="*/ 104 w 197"/>
                <a:gd name="T97" fmla="*/ 41 h 239"/>
                <a:gd name="T98" fmla="*/ 116 w 197"/>
                <a:gd name="T99" fmla="*/ 44 h 239"/>
                <a:gd name="T100" fmla="*/ 126 w 197"/>
                <a:gd name="T101" fmla="*/ 48 h 239"/>
                <a:gd name="T102" fmla="*/ 137 w 197"/>
                <a:gd name="T103" fmla="*/ 58 h 239"/>
                <a:gd name="T104" fmla="*/ 147 w 197"/>
                <a:gd name="T105" fmla="*/ 76 h 239"/>
                <a:gd name="T106" fmla="*/ 151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5"/>
                  </a:moveTo>
                  <a:lnTo>
                    <a:pt x="197" y="115"/>
                  </a:lnTo>
                  <a:lnTo>
                    <a:pt x="196" y="104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1"/>
                  </a:lnTo>
                  <a:lnTo>
                    <a:pt x="187" y="61"/>
                  </a:lnTo>
                  <a:lnTo>
                    <a:pt x="183" y="52"/>
                  </a:lnTo>
                  <a:lnTo>
                    <a:pt x="178" y="43"/>
                  </a:lnTo>
                  <a:lnTo>
                    <a:pt x="173" y="34"/>
                  </a:lnTo>
                  <a:lnTo>
                    <a:pt x="166" y="27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10"/>
                  </a:lnTo>
                  <a:lnTo>
                    <a:pt x="133" y="6"/>
                  </a:lnTo>
                  <a:lnTo>
                    <a:pt x="123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1"/>
                  </a:lnTo>
                  <a:lnTo>
                    <a:pt x="79" y="2"/>
                  </a:lnTo>
                  <a:lnTo>
                    <a:pt x="69" y="5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2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2" y="39"/>
                  </a:lnTo>
                  <a:lnTo>
                    <a:pt x="16" y="48"/>
                  </a:lnTo>
                  <a:lnTo>
                    <a:pt x="11" y="58"/>
                  </a:lnTo>
                  <a:lnTo>
                    <a:pt x="7" y="68"/>
                  </a:lnTo>
                  <a:lnTo>
                    <a:pt x="4" y="80"/>
                  </a:lnTo>
                  <a:lnTo>
                    <a:pt x="2" y="92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4"/>
                  </a:lnTo>
                  <a:lnTo>
                    <a:pt x="2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3" y="183"/>
                  </a:lnTo>
                  <a:lnTo>
                    <a:pt x="18" y="193"/>
                  </a:lnTo>
                  <a:lnTo>
                    <a:pt x="24" y="201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6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8"/>
                  </a:lnTo>
                  <a:lnTo>
                    <a:pt x="124" y="237"/>
                  </a:lnTo>
                  <a:lnTo>
                    <a:pt x="135" y="234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2" y="222"/>
                  </a:lnTo>
                  <a:lnTo>
                    <a:pt x="170" y="216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2" y="195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1" y="198"/>
                  </a:lnTo>
                  <a:lnTo>
                    <a:pt x="101" y="198"/>
                  </a:lnTo>
                  <a:lnTo>
                    <a:pt x="91" y="197"/>
                  </a:lnTo>
                  <a:lnTo>
                    <a:pt x="81" y="195"/>
                  </a:lnTo>
                  <a:lnTo>
                    <a:pt x="72" y="190"/>
                  </a:lnTo>
                  <a:lnTo>
                    <a:pt x="64" y="183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6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6" y="127"/>
                  </a:lnTo>
                  <a:lnTo>
                    <a:pt x="197" y="115"/>
                  </a:lnTo>
                  <a:lnTo>
                    <a:pt x="197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4"/>
                  </a:lnTo>
                  <a:lnTo>
                    <a:pt x="55" y="64"/>
                  </a:lnTo>
                  <a:lnTo>
                    <a:pt x="61" y="56"/>
                  </a:lnTo>
                  <a:lnTo>
                    <a:pt x="68" y="49"/>
                  </a:lnTo>
                  <a:lnTo>
                    <a:pt x="76" y="45"/>
                  </a:lnTo>
                  <a:lnTo>
                    <a:pt x="86" y="42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4"/>
                  </a:lnTo>
                  <a:lnTo>
                    <a:pt x="121" y="45"/>
                  </a:lnTo>
                  <a:lnTo>
                    <a:pt x="126" y="48"/>
                  </a:lnTo>
                  <a:lnTo>
                    <a:pt x="130" y="51"/>
                  </a:lnTo>
                  <a:lnTo>
                    <a:pt x="137" y="58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7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8" name="Freeform 117"/>
            <p:cNvSpPr>
              <a:spLocks/>
            </p:cNvSpPr>
            <p:nvPr userDrawn="1"/>
          </p:nvSpPr>
          <p:spPr bwMode="auto">
            <a:xfrm>
              <a:off x="3238500" y="6153151"/>
              <a:ext cx="73025" cy="92075"/>
            </a:xfrm>
            <a:custGeom>
              <a:avLst/>
              <a:gdLst>
                <a:gd name="T0" fmla="*/ 184 w 184"/>
                <a:gd name="T1" fmla="*/ 39 h 229"/>
                <a:gd name="T2" fmla="*/ 184 w 184"/>
                <a:gd name="T3" fmla="*/ 0 h 229"/>
                <a:gd name="T4" fmla="*/ 0 w 184"/>
                <a:gd name="T5" fmla="*/ 0 h 229"/>
                <a:gd name="T6" fmla="*/ 0 w 184"/>
                <a:gd name="T7" fmla="*/ 39 h 229"/>
                <a:gd name="T8" fmla="*/ 70 w 184"/>
                <a:gd name="T9" fmla="*/ 39 h 229"/>
                <a:gd name="T10" fmla="*/ 70 w 184"/>
                <a:gd name="T11" fmla="*/ 229 h 229"/>
                <a:gd name="T12" fmla="*/ 114 w 184"/>
                <a:gd name="T13" fmla="*/ 229 h 229"/>
                <a:gd name="T14" fmla="*/ 114 w 184"/>
                <a:gd name="T15" fmla="*/ 39 h 229"/>
                <a:gd name="T16" fmla="*/ 184 w 184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229">
                  <a:moveTo>
                    <a:pt x="184" y="39"/>
                  </a:moveTo>
                  <a:lnTo>
                    <a:pt x="184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9" name="Freeform 118"/>
            <p:cNvSpPr>
              <a:spLocks/>
            </p:cNvSpPr>
            <p:nvPr userDrawn="1"/>
          </p:nvSpPr>
          <p:spPr bwMode="auto">
            <a:xfrm>
              <a:off x="3325813" y="6219826"/>
              <a:ext cx="26988" cy="26988"/>
            </a:xfrm>
            <a:custGeom>
              <a:avLst/>
              <a:gdLst>
                <a:gd name="T0" fmla="*/ 69 w 69"/>
                <a:gd name="T1" fmla="*/ 34 h 69"/>
                <a:gd name="T2" fmla="*/ 69 w 69"/>
                <a:gd name="T3" fmla="*/ 34 h 69"/>
                <a:gd name="T4" fmla="*/ 69 w 69"/>
                <a:gd name="T5" fmla="*/ 27 h 69"/>
                <a:gd name="T6" fmla="*/ 67 w 69"/>
                <a:gd name="T7" fmla="*/ 21 h 69"/>
                <a:gd name="T8" fmla="*/ 63 w 69"/>
                <a:gd name="T9" fmla="*/ 15 h 69"/>
                <a:gd name="T10" fmla="*/ 59 w 69"/>
                <a:gd name="T11" fmla="*/ 10 h 69"/>
                <a:gd name="T12" fmla="*/ 54 w 69"/>
                <a:gd name="T13" fmla="*/ 5 h 69"/>
                <a:gd name="T14" fmla="*/ 48 w 69"/>
                <a:gd name="T15" fmla="*/ 2 h 69"/>
                <a:gd name="T16" fmla="*/ 42 w 69"/>
                <a:gd name="T17" fmla="*/ 0 h 69"/>
                <a:gd name="T18" fmla="*/ 35 w 69"/>
                <a:gd name="T19" fmla="*/ 0 h 69"/>
                <a:gd name="T20" fmla="*/ 35 w 69"/>
                <a:gd name="T21" fmla="*/ 0 h 69"/>
                <a:gd name="T22" fmla="*/ 28 w 69"/>
                <a:gd name="T23" fmla="*/ 0 h 69"/>
                <a:gd name="T24" fmla="*/ 21 w 69"/>
                <a:gd name="T25" fmla="*/ 2 h 69"/>
                <a:gd name="T26" fmla="*/ 15 w 69"/>
                <a:gd name="T27" fmla="*/ 5 h 69"/>
                <a:gd name="T28" fmla="*/ 10 w 69"/>
                <a:gd name="T29" fmla="*/ 10 h 69"/>
                <a:gd name="T30" fmla="*/ 6 w 69"/>
                <a:gd name="T31" fmla="*/ 15 h 69"/>
                <a:gd name="T32" fmla="*/ 3 w 69"/>
                <a:gd name="T33" fmla="*/ 21 h 69"/>
                <a:gd name="T34" fmla="*/ 1 w 69"/>
                <a:gd name="T35" fmla="*/ 27 h 69"/>
                <a:gd name="T36" fmla="*/ 0 w 69"/>
                <a:gd name="T37" fmla="*/ 34 h 69"/>
                <a:gd name="T38" fmla="*/ 0 w 69"/>
                <a:gd name="T39" fmla="*/ 34 h 69"/>
                <a:gd name="T40" fmla="*/ 1 w 69"/>
                <a:gd name="T41" fmla="*/ 42 h 69"/>
                <a:gd name="T42" fmla="*/ 3 w 69"/>
                <a:gd name="T43" fmla="*/ 48 h 69"/>
                <a:gd name="T44" fmla="*/ 6 w 69"/>
                <a:gd name="T45" fmla="*/ 54 h 69"/>
                <a:gd name="T46" fmla="*/ 10 w 69"/>
                <a:gd name="T47" fmla="*/ 59 h 69"/>
                <a:gd name="T48" fmla="*/ 15 w 69"/>
                <a:gd name="T49" fmla="*/ 63 h 69"/>
                <a:gd name="T50" fmla="*/ 21 w 69"/>
                <a:gd name="T51" fmla="*/ 66 h 69"/>
                <a:gd name="T52" fmla="*/ 28 w 69"/>
                <a:gd name="T53" fmla="*/ 68 h 69"/>
                <a:gd name="T54" fmla="*/ 35 w 69"/>
                <a:gd name="T55" fmla="*/ 69 h 69"/>
                <a:gd name="T56" fmla="*/ 35 w 69"/>
                <a:gd name="T57" fmla="*/ 69 h 69"/>
                <a:gd name="T58" fmla="*/ 42 w 69"/>
                <a:gd name="T59" fmla="*/ 68 h 69"/>
                <a:gd name="T60" fmla="*/ 48 w 69"/>
                <a:gd name="T61" fmla="*/ 66 h 69"/>
                <a:gd name="T62" fmla="*/ 54 w 69"/>
                <a:gd name="T63" fmla="*/ 63 h 69"/>
                <a:gd name="T64" fmla="*/ 59 w 69"/>
                <a:gd name="T65" fmla="*/ 59 h 69"/>
                <a:gd name="T66" fmla="*/ 63 w 69"/>
                <a:gd name="T67" fmla="*/ 54 h 69"/>
                <a:gd name="T68" fmla="*/ 67 w 69"/>
                <a:gd name="T69" fmla="*/ 48 h 69"/>
                <a:gd name="T70" fmla="*/ 69 w 69"/>
                <a:gd name="T71" fmla="*/ 42 h 69"/>
                <a:gd name="T72" fmla="*/ 69 w 69"/>
                <a:gd name="T73" fmla="*/ 34 h 69"/>
                <a:gd name="T74" fmla="*/ 69 w 69"/>
                <a:gd name="T75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9" h="69">
                  <a:moveTo>
                    <a:pt x="69" y="34"/>
                  </a:moveTo>
                  <a:lnTo>
                    <a:pt x="69" y="34"/>
                  </a:lnTo>
                  <a:lnTo>
                    <a:pt x="69" y="27"/>
                  </a:lnTo>
                  <a:lnTo>
                    <a:pt x="67" y="21"/>
                  </a:lnTo>
                  <a:lnTo>
                    <a:pt x="63" y="15"/>
                  </a:lnTo>
                  <a:lnTo>
                    <a:pt x="59" y="10"/>
                  </a:lnTo>
                  <a:lnTo>
                    <a:pt x="54" y="5"/>
                  </a:lnTo>
                  <a:lnTo>
                    <a:pt x="48" y="2"/>
                  </a:lnTo>
                  <a:lnTo>
                    <a:pt x="42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21" y="2"/>
                  </a:lnTo>
                  <a:lnTo>
                    <a:pt x="15" y="5"/>
                  </a:lnTo>
                  <a:lnTo>
                    <a:pt x="10" y="10"/>
                  </a:lnTo>
                  <a:lnTo>
                    <a:pt x="6" y="15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42"/>
                  </a:lnTo>
                  <a:lnTo>
                    <a:pt x="3" y="48"/>
                  </a:lnTo>
                  <a:lnTo>
                    <a:pt x="6" y="54"/>
                  </a:lnTo>
                  <a:lnTo>
                    <a:pt x="10" y="59"/>
                  </a:lnTo>
                  <a:lnTo>
                    <a:pt x="15" y="63"/>
                  </a:lnTo>
                  <a:lnTo>
                    <a:pt x="21" y="66"/>
                  </a:lnTo>
                  <a:lnTo>
                    <a:pt x="28" y="68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42" y="68"/>
                  </a:lnTo>
                  <a:lnTo>
                    <a:pt x="48" y="66"/>
                  </a:lnTo>
                  <a:lnTo>
                    <a:pt x="54" y="63"/>
                  </a:lnTo>
                  <a:lnTo>
                    <a:pt x="59" y="59"/>
                  </a:lnTo>
                  <a:lnTo>
                    <a:pt x="63" y="54"/>
                  </a:lnTo>
                  <a:lnTo>
                    <a:pt x="67" y="48"/>
                  </a:lnTo>
                  <a:lnTo>
                    <a:pt x="69" y="42"/>
                  </a:lnTo>
                  <a:lnTo>
                    <a:pt x="69" y="34"/>
                  </a:lnTo>
                  <a:lnTo>
                    <a:pt x="69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0" name="Freeform 119"/>
            <p:cNvSpPr>
              <a:spLocks noEditPoints="1"/>
            </p:cNvSpPr>
            <p:nvPr userDrawn="1"/>
          </p:nvSpPr>
          <p:spPr bwMode="auto">
            <a:xfrm>
              <a:off x="473075" y="6334126"/>
              <a:ext cx="90488" cy="122238"/>
            </a:xfrm>
            <a:custGeom>
              <a:avLst/>
              <a:gdLst>
                <a:gd name="T0" fmla="*/ 227 w 227"/>
                <a:gd name="T1" fmla="*/ 96 h 307"/>
                <a:gd name="T2" fmla="*/ 225 w 227"/>
                <a:gd name="T3" fmla="*/ 74 h 307"/>
                <a:gd name="T4" fmla="*/ 219 w 227"/>
                <a:gd name="T5" fmla="*/ 54 h 307"/>
                <a:gd name="T6" fmla="*/ 210 w 227"/>
                <a:gd name="T7" fmla="*/ 38 h 307"/>
                <a:gd name="T8" fmla="*/ 198 w 227"/>
                <a:gd name="T9" fmla="*/ 24 h 307"/>
                <a:gd name="T10" fmla="*/ 183 w 227"/>
                <a:gd name="T11" fmla="*/ 14 h 307"/>
                <a:gd name="T12" fmla="*/ 167 w 227"/>
                <a:gd name="T13" fmla="*/ 6 h 307"/>
                <a:gd name="T14" fmla="*/ 148 w 227"/>
                <a:gd name="T15" fmla="*/ 2 h 307"/>
                <a:gd name="T16" fmla="*/ 128 w 227"/>
                <a:gd name="T17" fmla="*/ 0 h 307"/>
                <a:gd name="T18" fmla="*/ 0 w 227"/>
                <a:gd name="T19" fmla="*/ 307 h 307"/>
                <a:gd name="T20" fmla="*/ 45 w 227"/>
                <a:gd name="T21" fmla="*/ 192 h 307"/>
                <a:gd name="T22" fmla="*/ 125 w 227"/>
                <a:gd name="T23" fmla="*/ 192 h 307"/>
                <a:gd name="T24" fmla="*/ 146 w 227"/>
                <a:gd name="T25" fmla="*/ 190 h 307"/>
                <a:gd name="T26" fmla="*/ 165 w 227"/>
                <a:gd name="T27" fmla="*/ 186 h 307"/>
                <a:gd name="T28" fmla="*/ 183 w 227"/>
                <a:gd name="T29" fmla="*/ 178 h 307"/>
                <a:gd name="T30" fmla="*/ 197 w 227"/>
                <a:gd name="T31" fmla="*/ 167 h 307"/>
                <a:gd name="T32" fmla="*/ 210 w 227"/>
                <a:gd name="T33" fmla="*/ 154 h 307"/>
                <a:gd name="T34" fmla="*/ 219 w 227"/>
                <a:gd name="T35" fmla="*/ 137 h 307"/>
                <a:gd name="T36" fmla="*/ 225 w 227"/>
                <a:gd name="T37" fmla="*/ 118 h 307"/>
                <a:gd name="T38" fmla="*/ 227 w 227"/>
                <a:gd name="T39" fmla="*/ 96 h 307"/>
                <a:gd name="T40" fmla="*/ 179 w 227"/>
                <a:gd name="T41" fmla="*/ 96 h 307"/>
                <a:gd name="T42" fmla="*/ 178 w 227"/>
                <a:gd name="T43" fmla="*/ 108 h 307"/>
                <a:gd name="T44" fmla="*/ 172 w 227"/>
                <a:gd name="T45" fmla="*/ 127 h 307"/>
                <a:gd name="T46" fmla="*/ 159 w 227"/>
                <a:gd name="T47" fmla="*/ 141 h 307"/>
                <a:gd name="T48" fmla="*/ 139 w 227"/>
                <a:gd name="T49" fmla="*/ 148 h 307"/>
                <a:gd name="T50" fmla="*/ 45 w 227"/>
                <a:gd name="T51" fmla="*/ 149 h 307"/>
                <a:gd name="T52" fmla="*/ 127 w 227"/>
                <a:gd name="T53" fmla="*/ 43 h 307"/>
                <a:gd name="T54" fmla="*/ 138 w 227"/>
                <a:gd name="T55" fmla="*/ 44 h 307"/>
                <a:gd name="T56" fmla="*/ 157 w 227"/>
                <a:gd name="T57" fmla="*/ 51 h 307"/>
                <a:gd name="T58" fmla="*/ 171 w 227"/>
                <a:gd name="T59" fmla="*/ 65 h 307"/>
                <a:gd name="T60" fmla="*/ 178 w 227"/>
                <a:gd name="T61" fmla="*/ 84 h 307"/>
                <a:gd name="T62" fmla="*/ 179 w 227"/>
                <a:gd name="T63" fmla="*/ 9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7" h="307">
                  <a:moveTo>
                    <a:pt x="227" y="96"/>
                  </a:moveTo>
                  <a:lnTo>
                    <a:pt x="227" y="96"/>
                  </a:lnTo>
                  <a:lnTo>
                    <a:pt x="226" y="84"/>
                  </a:lnTo>
                  <a:lnTo>
                    <a:pt x="225" y="74"/>
                  </a:lnTo>
                  <a:lnTo>
                    <a:pt x="222" y="64"/>
                  </a:lnTo>
                  <a:lnTo>
                    <a:pt x="219" y="54"/>
                  </a:lnTo>
                  <a:lnTo>
                    <a:pt x="215" y="46"/>
                  </a:lnTo>
                  <a:lnTo>
                    <a:pt x="210" y="38"/>
                  </a:lnTo>
                  <a:lnTo>
                    <a:pt x="204" y="31"/>
                  </a:lnTo>
                  <a:lnTo>
                    <a:pt x="198" y="24"/>
                  </a:lnTo>
                  <a:lnTo>
                    <a:pt x="191" y="19"/>
                  </a:lnTo>
                  <a:lnTo>
                    <a:pt x="183" y="14"/>
                  </a:lnTo>
                  <a:lnTo>
                    <a:pt x="175" y="10"/>
                  </a:lnTo>
                  <a:lnTo>
                    <a:pt x="167" y="6"/>
                  </a:lnTo>
                  <a:lnTo>
                    <a:pt x="158" y="4"/>
                  </a:lnTo>
                  <a:lnTo>
                    <a:pt x="148" y="2"/>
                  </a:lnTo>
                  <a:lnTo>
                    <a:pt x="138" y="1"/>
                  </a:lnTo>
                  <a:lnTo>
                    <a:pt x="128" y="0"/>
                  </a:lnTo>
                  <a:lnTo>
                    <a:pt x="0" y="0"/>
                  </a:lnTo>
                  <a:lnTo>
                    <a:pt x="0" y="307"/>
                  </a:lnTo>
                  <a:lnTo>
                    <a:pt x="45" y="307"/>
                  </a:lnTo>
                  <a:lnTo>
                    <a:pt x="45" y="192"/>
                  </a:lnTo>
                  <a:lnTo>
                    <a:pt x="125" y="192"/>
                  </a:lnTo>
                  <a:lnTo>
                    <a:pt x="125" y="192"/>
                  </a:lnTo>
                  <a:lnTo>
                    <a:pt x="135" y="191"/>
                  </a:lnTo>
                  <a:lnTo>
                    <a:pt x="146" y="190"/>
                  </a:lnTo>
                  <a:lnTo>
                    <a:pt x="156" y="188"/>
                  </a:lnTo>
                  <a:lnTo>
                    <a:pt x="165" y="186"/>
                  </a:lnTo>
                  <a:lnTo>
                    <a:pt x="174" y="182"/>
                  </a:lnTo>
                  <a:lnTo>
                    <a:pt x="183" y="178"/>
                  </a:lnTo>
                  <a:lnTo>
                    <a:pt x="190" y="173"/>
                  </a:lnTo>
                  <a:lnTo>
                    <a:pt x="197" y="167"/>
                  </a:lnTo>
                  <a:lnTo>
                    <a:pt x="204" y="161"/>
                  </a:lnTo>
                  <a:lnTo>
                    <a:pt x="210" y="154"/>
                  </a:lnTo>
                  <a:lnTo>
                    <a:pt x="215" y="146"/>
                  </a:lnTo>
                  <a:lnTo>
                    <a:pt x="219" y="137"/>
                  </a:lnTo>
                  <a:lnTo>
                    <a:pt x="222" y="128"/>
                  </a:lnTo>
                  <a:lnTo>
                    <a:pt x="225" y="118"/>
                  </a:lnTo>
                  <a:lnTo>
                    <a:pt x="226" y="107"/>
                  </a:lnTo>
                  <a:lnTo>
                    <a:pt x="227" y="96"/>
                  </a:lnTo>
                  <a:lnTo>
                    <a:pt x="227" y="96"/>
                  </a:lnTo>
                  <a:close/>
                  <a:moveTo>
                    <a:pt x="179" y="96"/>
                  </a:moveTo>
                  <a:lnTo>
                    <a:pt x="179" y="96"/>
                  </a:lnTo>
                  <a:lnTo>
                    <a:pt x="178" y="108"/>
                  </a:lnTo>
                  <a:lnTo>
                    <a:pt x="176" y="118"/>
                  </a:lnTo>
                  <a:lnTo>
                    <a:pt x="172" y="127"/>
                  </a:lnTo>
                  <a:lnTo>
                    <a:pt x="166" y="135"/>
                  </a:lnTo>
                  <a:lnTo>
                    <a:pt x="159" y="141"/>
                  </a:lnTo>
                  <a:lnTo>
                    <a:pt x="150" y="145"/>
                  </a:lnTo>
                  <a:lnTo>
                    <a:pt x="139" y="148"/>
                  </a:lnTo>
                  <a:lnTo>
                    <a:pt x="127" y="149"/>
                  </a:lnTo>
                  <a:lnTo>
                    <a:pt x="45" y="149"/>
                  </a:lnTo>
                  <a:lnTo>
                    <a:pt x="45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38" y="44"/>
                  </a:lnTo>
                  <a:lnTo>
                    <a:pt x="148" y="47"/>
                  </a:lnTo>
                  <a:lnTo>
                    <a:pt x="157" y="51"/>
                  </a:lnTo>
                  <a:lnTo>
                    <a:pt x="165" y="57"/>
                  </a:lnTo>
                  <a:lnTo>
                    <a:pt x="171" y="65"/>
                  </a:lnTo>
                  <a:lnTo>
                    <a:pt x="175" y="73"/>
                  </a:lnTo>
                  <a:lnTo>
                    <a:pt x="178" y="84"/>
                  </a:lnTo>
                  <a:lnTo>
                    <a:pt x="179" y="96"/>
                  </a:lnTo>
                  <a:lnTo>
                    <a:pt x="179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1" name="Freeform 120"/>
            <p:cNvSpPr>
              <a:spLocks noEditPoints="1"/>
            </p:cNvSpPr>
            <p:nvPr userDrawn="1"/>
          </p:nvSpPr>
          <p:spPr bwMode="auto">
            <a:xfrm>
              <a:off x="576263" y="6362701"/>
              <a:ext cx="77788" cy="95250"/>
            </a:xfrm>
            <a:custGeom>
              <a:avLst/>
              <a:gdLst>
                <a:gd name="T0" fmla="*/ 196 w 196"/>
                <a:gd name="T1" fmla="*/ 114 h 239"/>
                <a:gd name="T2" fmla="*/ 195 w 196"/>
                <a:gd name="T3" fmla="*/ 92 h 239"/>
                <a:gd name="T4" fmla="*/ 191 w 196"/>
                <a:gd name="T5" fmla="*/ 70 h 239"/>
                <a:gd name="T6" fmla="*/ 183 w 196"/>
                <a:gd name="T7" fmla="*/ 51 h 239"/>
                <a:gd name="T8" fmla="*/ 173 w 196"/>
                <a:gd name="T9" fmla="*/ 34 h 239"/>
                <a:gd name="T10" fmla="*/ 159 w 196"/>
                <a:gd name="T11" fmla="*/ 20 h 239"/>
                <a:gd name="T12" fmla="*/ 143 w 196"/>
                <a:gd name="T13" fmla="*/ 9 h 239"/>
                <a:gd name="T14" fmla="*/ 123 w 196"/>
                <a:gd name="T15" fmla="*/ 2 h 239"/>
                <a:gd name="T16" fmla="*/ 100 w 196"/>
                <a:gd name="T17" fmla="*/ 0 h 239"/>
                <a:gd name="T18" fmla="*/ 89 w 196"/>
                <a:gd name="T19" fmla="*/ 0 h 239"/>
                <a:gd name="T20" fmla="*/ 69 w 196"/>
                <a:gd name="T21" fmla="*/ 4 h 239"/>
                <a:gd name="T22" fmla="*/ 51 w 196"/>
                <a:gd name="T23" fmla="*/ 12 h 239"/>
                <a:gd name="T24" fmla="*/ 35 w 196"/>
                <a:gd name="T25" fmla="*/ 23 h 239"/>
                <a:gd name="T26" fmla="*/ 21 w 196"/>
                <a:gd name="T27" fmla="*/ 38 h 239"/>
                <a:gd name="T28" fmla="*/ 11 w 196"/>
                <a:gd name="T29" fmla="*/ 57 h 239"/>
                <a:gd name="T30" fmla="*/ 4 w 196"/>
                <a:gd name="T31" fmla="*/ 79 h 239"/>
                <a:gd name="T32" fmla="*/ 0 w 196"/>
                <a:gd name="T33" fmla="*/ 105 h 239"/>
                <a:gd name="T34" fmla="*/ 0 w 196"/>
                <a:gd name="T35" fmla="*/ 119 h 239"/>
                <a:gd name="T36" fmla="*/ 2 w 196"/>
                <a:gd name="T37" fmla="*/ 147 h 239"/>
                <a:gd name="T38" fmla="*/ 9 w 196"/>
                <a:gd name="T39" fmla="*/ 173 h 239"/>
                <a:gd name="T40" fmla="*/ 18 w 196"/>
                <a:gd name="T41" fmla="*/ 193 h 239"/>
                <a:gd name="T42" fmla="*/ 30 w 196"/>
                <a:gd name="T43" fmla="*/ 209 h 239"/>
                <a:gd name="T44" fmla="*/ 36 w 196"/>
                <a:gd name="T45" fmla="*/ 215 h 239"/>
                <a:gd name="T46" fmla="*/ 51 w 196"/>
                <a:gd name="T47" fmla="*/ 226 h 239"/>
                <a:gd name="T48" fmla="*/ 68 w 196"/>
                <a:gd name="T49" fmla="*/ 234 h 239"/>
                <a:gd name="T50" fmla="*/ 88 w 196"/>
                <a:gd name="T51" fmla="*/ 239 h 239"/>
                <a:gd name="T52" fmla="*/ 99 w 196"/>
                <a:gd name="T53" fmla="*/ 239 h 239"/>
                <a:gd name="T54" fmla="*/ 124 w 196"/>
                <a:gd name="T55" fmla="*/ 237 h 239"/>
                <a:gd name="T56" fmla="*/ 145 w 196"/>
                <a:gd name="T57" fmla="*/ 231 h 239"/>
                <a:gd name="T58" fmla="*/ 153 w 196"/>
                <a:gd name="T59" fmla="*/ 227 h 239"/>
                <a:gd name="T60" fmla="*/ 169 w 196"/>
                <a:gd name="T61" fmla="*/ 217 h 239"/>
                <a:gd name="T62" fmla="*/ 151 w 196"/>
                <a:gd name="T63" fmla="*/ 180 h 239"/>
                <a:gd name="T64" fmla="*/ 139 w 196"/>
                <a:gd name="T65" fmla="*/ 188 h 239"/>
                <a:gd name="T66" fmla="*/ 128 w 196"/>
                <a:gd name="T67" fmla="*/ 194 h 239"/>
                <a:gd name="T68" fmla="*/ 116 w 196"/>
                <a:gd name="T69" fmla="*/ 197 h 239"/>
                <a:gd name="T70" fmla="*/ 101 w 196"/>
                <a:gd name="T71" fmla="*/ 199 h 239"/>
                <a:gd name="T72" fmla="*/ 91 w 196"/>
                <a:gd name="T73" fmla="*/ 198 h 239"/>
                <a:gd name="T74" fmla="*/ 72 w 196"/>
                <a:gd name="T75" fmla="*/ 191 h 239"/>
                <a:gd name="T76" fmla="*/ 57 w 196"/>
                <a:gd name="T77" fmla="*/ 175 h 239"/>
                <a:gd name="T78" fmla="*/ 47 w 196"/>
                <a:gd name="T79" fmla="*/ 151 h 239"/>
                <a:gd name="T80" fmla="*/ 195 w 196"/>
                <a:gd name="T81" fmla="*/ 135 h 239"/>
                <a:gd name="T82" fmla="*/ 196 w 196"/>
                <a:gd name="T83" fmla="*/ 126 h 239"/>
                <a:gd name="T84" fmla="*/ 196 w 196"/>
                <a:gd name="T85" fmla="*/ 114 h 239"/>
                <a:gd name="T86" fmla="*/ 45 w 196"/>
                <a:gd name="T87" fmla="*/ 98 h 239"/>
                <a:gd name="T88" fmla="*/ 50 w 196"/>
                <a:gd name="T89" fmla="*/ 73 h 239"/>
                <a:gd name="T90" fmla="*/ 61 w 196"/>
                <a:gd name="T91" fmla="*/ 55 h 239"/>
                <a:gd name="T92" fmla="*/ 76 w 196"/>
                <a:gd name="T93" fmla="*/ 44 h 239"/>
                <a:gd name="T94" fmla="*/ 97 w 196"/>
                <a:gd name="T95" fmla="*/ 40 h 239"/>
                <a:gd name="T96" fmla="*/ 104 w 196"/>
                <a:gd name="T97" fmla="*/ 41 h 239"/>
                <a:gd name="T98" fmla="*/ 116 w 196"/>
                <a:gd name="T99" fmla="*/ 43 h 239"/>
                <a:gd name="T100" fmla="*/ 126 w 196"/>
                <a:gd name="T101" fmla="*/ 47 h 239"/>
                <a:gd name="T102" fmla="*/ 137 w 196"/>
                <a:gd name="T103" fmla="*/ 57 h 239"/>
                <a:gd name="T104" fmla="*/ 147 w 196"/>
                <a:gd name="T105" fmla="*/ 76 h 239"/>
                <a:gd name="T106" fmla="*/ 151 w 196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239">
                  <a:moveTo>
                    <a:pt x="196" y="114"/>
                  </a:moveTo>
                  <a:lnTo>
                    <a:pt x="196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1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0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3" y="184"/>
                  </a:lnTo>
                  <a:lnTo>
                    <a:pt x="18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1" y="222"/>
                  </a:lnTo>
                  <a:lnTo>
                    <a:pt x="169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1" y="198"/>
                  </a:lnTo>
                  <a:lnTo>
                    <a:pt x="81" y="195"/>
                  </a:lnTo>
                  <a:lnTo>
                    <a:pt x="72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6" y="114"/>
                  </a:lnTo>
                  <a:lnTo>
                    <a:pt x="196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6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2" name="Freeform 121"/>
            <p:cNvSpPr>
              <a:spLocks/>
            </p:cNvSpPr>
            <p:nvPr userDrawn="1"/>
          </p:nvSpPr>
          <p:spPr bwMode="auto">
            <a:xfrm>
              <a:off x="673100" y="6365876"/>
              <a:ext cx="115888" cy="90488"/>
            </a:xfrm>
            <a:custGeom>
              <a:avLst/>
              <a:gdLst>
                <a:gd name="T0" fmla="*/ 294 w 294"/>
                <a:gd name="T1" fmla="*/ 0 h 230"/>
                <a:gd name="T2" fmla="*/ 249 w 294"/>
                <a:gd name="T3" fmla="*/ 0 h 230"/>
                <a:gd name="T4" fmla="*/ 249 w 294"/>
                <a:gd name="T5" fmla="*/ 190 h 230"/>
                <a:gd name="T6" fmla="*/ 169 w 294"/>
                <a:gd name="T7" fmla="*/ 190 h 230"/>
                <a:gd name="T8" fmla="*/ 169 w 294"/>
                <a:gd name="T9" fmla="*/ 0 h 230"/>
                <a:gd name="T10" fmla="*/ 124 w 294"/>
                <a:gd name="T11" fmla="*/ 0 h 230"/>
                <a:gd name="T12" fmla="*/ 124 w 294"/>
                <a:gd name="T13" fmla="*/ 190 h 230"/>
                <a:gd name="T14" fmla="*/ 45 w 294"/>
                <a:gd name="T15" fmla="*/ 190 h 230"/>
                <a:gd name="T16" fmla="*/ 45 w 294"/>
                <a:gd name="T17" fmla="*/ 0 h 230"/>
                <a:gd name="T18" fmla="*/ 0 w 294"/>
                <a:gd name="T19" fmla="*/ 0 h 230"/>
                <a:gd name="T20" fmla="*/ 0 w 294"/>
                <a:gd name="T21" fmla="*/ 230 h 230"/>
                <a:gd name="T22" fmla="*/ 294 w 294"/>
                <a:gd name="T23" fmla="*/ 230 h 230"/>
                <a:gd name="T24" fmla="*/ 294 w 29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230">
                  <a:moveTo>
                    <a:pt x="294" y="0"/>
                  </a:moveTo>
                  <a:lnTo>
                    <a:pt x="249" y="0"/>
                  </a:lnTo>
                  <a:lnTo>
                    <a:pt x="249" y="190"/>
                  </a:lnTo>
                  <a:lnTo>
                    <a:pt x="169" y="190"/>
                  </a:lnTo>
                  <a:lnTo>
                    <a:pt x="169" y="0"/>
                  </a:lnTo>
                  <a:lnTo>
                    <a:pt x="124" y="0"/>
                  </a:lnTo>
                  <a:lnTo>
                    <a:pt x="124" y="190"/>
                  </a:lnTo>
                  <a:lnTo>
                    <a:pt x="45" y="19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294" y="23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3" name="Freeform 122"/>
            <p:cNvSpPr>
              <a:spLocks noEditPoints="1"/>
            </p:cNvSpPr>
            <p:nvPr userDrawn="1"/>
          </p:nvSpPr>
          <p:spPr bwMode="auto">
            <a:xfrm>
              <a:off x="808038" y="6362701"/>
              <a:ext cx="74613" cy="95250"/>
            </a:xfrm>
            <a:custGeom>
              <a:avLst/>
              <a:gdLst>
                <a:gd name="T0" fmla="*/ 186 w 186"/>
                <a:gd name="T1" fmla="*/ 77 h 239"/>
                <a:gd name="T2" fmla="*/ 185 w 186"/>
                <a:gd name="T3" fmla="*/ 67 h 239"/>
                <a:gd name="T4" fmla="*/ 182 w 186"/>
                <a:gd name="T5" fmla="*/ 50 h 239"/>
                <a:gd name="T6" fmla="*/ 176 w 186"/>
                <a:gd name="T7" fmla="*/ 36 h 239"/>
                <a:gd name="T8" fmla="*/ 167 w 186"/>
                <a:gd name="T9" fmla="*/ 24 h 239"/>
                <a:gd name="T10" fmla="*/ 156 w 186"/>
                <a:gd name="T11" fmla="*/ 14 h 239"/>
                <a:gd name="T12" fmla="*/ 142 w 186"/>
                <a:gd name="T13" fmla="*/ 7 h 239"/>
                <a:gd name="T14" fmla="*/ 127 w 186"/>
                <a:gd name="T15" fmla="*/ 2 h 239"/>
                <a:gd name="T16" fmla="*/ 109 w 186"/>
                <a:gd name="T17" fmla="*/ 0 h 239"/>
                <a:gd name="T18" fmla="*/ 100 w 186"/>
                <a:gd name="T19" fmla="*/ 0 h 239"/>
                <a:gd name="T20" fmla="*/ 77 w 186"/>
                <a:gd name="T21" fmla="*/ 1 h 239"/>
                <a:gd name="T22" fmla="*/ 57 w 186"/>
                <a:gd name="T23" fmla="*/ 5 h 239"/>
                <a:gd name="T24" fmla="*/ 38 w 186"/>
                <a:gd name="T25" fmla="*/ 11 h 239"/>
                <a:gd name="T26" fmla="*/ 21 w 186"/>
                <a:gd name="T27" fmla="*/ 20 h 239"/>
                <a:gd name="T28" fmla="*/ 39 w 186"/>
                <a:gd name="T29" fmla="*/ 54 h 239"/>
                <a:gd name="T30" fmla="*/ 66 w 186"/>
                <a:gd name="T31" fmla="*/ 43 h 239"/>
                <a:gd name="T32" fmla="*/ 98 w 186"/>
                <a:gd name="T33" fmla="*/ 40 h 239"/>
                <a:gd name="T34" fmla="*/ 108 w 186"/>
                <a:gd name="T35" fmla="*/ 41 h 239"/>
                <a:gd name="T36" fmla="*/ 124 w 186"/>
                <a:gd name="T37" fmla="*/ 46 h 239"/>
                <a:gd name="T38" fmla="*/ 135 w 186"/>
                <a:gd name="T39" fmla="*/ 56 h 239"/>
                <a:gd name="T40" fmla="*/ 141 w 186"/>
                <a:gd name="T41" fmla="*/ 70 h 239"/>
                <a:gd name="T42" fmla="*/ 142 w 186"/>
                <a:gd name="T43" fmla="*/ 96 h 239"/>
                <a:gd name="T44" fmla="*/ 132 w 186"/>
                <a:gd name="T45" fmla="*/ 92 h 239"/>
                <a:gd name="T46" fmla="*/ 107 w 186"/>
                <a:gd name="T47" fmla="*/ 88 h 239"/>
                <a:gd name="T48" fmla="*/ 91 w 186"/>
                <a:gd name="T49" fmla="*/ 87 h 239"/>
                <a:gd name="T50" fmla="*/ 63 w 186"/>
                <a:gd name="T51" fmla="*/ 89 h 239"/>
                <a:gd name="T52" fmla="*/ 47 w 186"/>
                <a:gd name="T53" fmla="*/ 94 h 239"/>
                <a:gd name="T54" fmla="*/ 32 w 186"/>
                <a:gd name="T55" fmla="*/ 101 h 239"/>
                <a:gd name="T56" fmla="*/ 20 w 186"/>
                <a:gd name="T57" fmla="*/ 110 h 239"/>
                <a:gd name="T58" fmla="*/ 10 w 186"/>
                <a:gd name="T59" fmla="*/ 121 h 239"/>
                <a:gd name="T60" fmla="*/ 3 w 186"/>
                <a:gd name="T61" fmla="*/ 135 h 239"/>
                <a:gd name="T62" fmla="*/ 0 w 186"/>
                <a:gd name="T63" fmla="*/ 153 h 239"/>
                <a:gd name="T64" fmla="*/ 0 w 186"/>
                <a:gd name="T65" fmla="*/ 162 h 239"/>
                <a:gd name="T66" fmla="*/ 1 w 186"/>
                <a:gd name="T67" fmla="*/ 182 h 239"/>
                <a:gd name="T68" fmla="*/ 7 w 186"/>
                <a:gd name="T69" fmla="*/ 198 h 239"/>
                <a:gd name="T70" fmla="*/ 15 w 186"/>
                <a:gd name="T71" fmla="*/ 211 h 239"/>
                <a:gd name="T72" fmla="*/ 25 w 186"/>
                <a:gd name="T73" fmla="*/ 222 h 239"/>
                <a:gd name="T74" fmla="*/ 37 w 186"/>
                <a:gd name="T75" fmla="*/ 230 h 239"/>
                <a:gd name="T76" fmla="*/ 51 w 186"/>
                <a:gd name="T77" fmla="*/ 235 h 239"/>
                <a:gd name="T78" fmla="*/ 79 w 186"/>
                <a:gd name="T79" fmla="*/ 239 h 239"/>
                <a:gd name="T80" fmla="*/ 90 w 186"/>
                <a:gd name="T81" fmla="*/ 239 h 239"/>
                <a:gd name="T82" fmla="*/ 108 w 186"/>
                <a:gd name="T83" fmla="*/ 234 h 239"/>
                <a:gd name="T84" fmla="*/ 115 w 186"/>
                <a:gd name="T85" fmla="*/ 231 h 239"/>
                <a:gd name="T86" fmla="*/ 134 w 186"/>
                <a:gd name="T87" fmla="*/ 219 h 239"/>
                <a:gd name="T88" fmla="*/ 142 w 186"/>
                <a:gd name="T89" fmla="*/ 235 h 239"/>
                <a:gd name="T90" fmla="*/ 142 w 186"/>
                <a:gd name="T91" fmla="*/ 170 h 239"/>
                <a:gd name="T92" fmla="*/ 137 w 186"/>
                <a:gd name="T93" fmla="*/ 175 h 239"/>
                <a:gd name="T94" fmla="*/ 126 w 186"/>
                <a:gd name="T95" fmla="*/ 185 h 239"/>
                <a:gd name="T96" fmla="*/ 112 w 186"/>
                <a:gd name="T97" fmla="*/ 193 h 239"/>
                <a:gd name="T98" fmla="*/ 95 w 186"/>
                <a:gd name="T99" fmla="*/ 198 h 239"/>
                <a:gd name="T100" fmla="*/ 86 w 186"/>
                <a:gd name="T101" fmla="*/ 199 h 239"/>
                <a:gd name="T102" fmla="*/ 68 w 186"/>
                <a:gd name="T103" fmla="*/ 196 h 239"/>
                <a:gd name="T104" fmla="*/ 55 w 186"/>
                <a:gd name="T105" fmla="*/ 190 h 239"/>
                <a:gd name="T106" fmla="*/ 50 w 186"/>
                <a:gd name="T107" fmla="*/ 185 h 239"/>
                <a:gd name="T108" fmla="*/ 43 w 186"/>
                <a:gd name="T109" fmla="*/ 170 h 239"/>
                <a:gd name="T110" fmla="*/ 42 w 186"/>
                <a:gd name="T111" fmla="*/ 161 h 239"/>
                <a:gd name="T112" fmla="*/ 45 w 186"/>
                <a:gd name="T113" fmla="*/ 146 h 239"/>
                <a:gd name="T114" fmla="*/ 55 w 186"/>
                <a:gd name="T115" fmla="*/ 135 h 239"/>
                <a:gd name="T116" fmla="*/ 70 w 186"/>
                <a:gd name="T117" fmla="*/ 128 h 239"/>
                <a:gd name="T118" fmla="*/ 89 w 186"/>
                <a:gd name="T119" fmla="*/ 126 h 239"/>
                <a:gd name="T120" fmla="*/ 106 w 186"/>
                <a:gd name="T121" fmla="*/ 126 h 239"/>
                <a:gd name="T122" fmla="*/ 119 w 186"/>
                <a:gd name="T123" fmla="*/ 128 h 239"/>
                <a:gd name="T124" fmla="*/ 142 w 186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239">
                  <a:moveTo>
                    <a:pt x="186" y="235"/>
                  </a:moveTo>
                  <a:lnTo>
                    <a:pt x="186" y="77"/>
                  </a:lnTo>
                  <a:lnTo>
                    <a:pt x="186" y="77"/>
                  </a:lnTo>
                  <a:lnTo>
                    <a:pt x="185" y="67"/>
                  </a:lnTo>
                  <a:lnTo>
                    <a:pt x="184" y="58"/>
                  </a:lnTo>
                  <a:lnTo>
                    <a:pt x="182" y="50"/>
                  </a:lnTo>
                  <a:lnTo>
                    <a:pt x="179" y="43"/>
                  </a:lnTo>
                  <a:lnTo>
                    <a:pt x="176" y="36"/>
                  </a:lnTo>
                  <a:lnTo>
                    <a:pt x="172" y="29"/>
                  </a:lnTo>
                  <a:lnTo>
                    <a:pt x="167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49" y="10"/>
                  </a:lnTo>
                  <a:lnTo>
                    <a:pt x="142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1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2" y="48"/>
                  </a:lnTo>
                  <a:lnTo>
                    <a:pt x="66" y="43"/>
                  </a:lnTo>
                  <a:lnTo>
                    <a:pt x="82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8" y="41"/>
                  </a:lnTo>
                  <a:lnTo>
                    <a:pt x="117" y="43"/>
                  </a:lnTo>
                  <a:lnTo>
                    <a:pt x="124" y="46"/>
                  </a:lnTo>
                  <a:lnTo>
                    <a:pt x="131" y="50"/>
                  </a:lnTo>
                  <a:lnTo>
                    <a:pt x="135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2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6" y="128"/>
                  </a:lnTo>
                  <a:lnTo>
                    <a:pt x="3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1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0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7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6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7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5" y="146"/>
                  </a:lnTo>
                  <a:lnTo>
                    <a:pt x="49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6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4" name="Freeform 123"/>
            <p:cNvSpPr>
              <a:spLocks noEditPoints="1"/>
            </p:cNvSpPr>
            <p:nvPr userDrawn="1"/>
          </p:nvSpPr>
          <p:spPr bwMode="auto">
            <a:xfrm>
              <a:off x="896938" y="6365876"/>
              <a:ext cx="76200" cy="90488"/>
            </a:xfrm>
            <a:custGeom>
              <a:avLst/>
              <a:gdLst>
                <a:gd name="T0" fmla="*/ 0 w 195"/>
                <a:gd name="T1" fmla="*/ 230 h 230"/>
                <a:gd name="T2" fmla="*/ 50 w 195"/>
                <a:gd name="T3" fmla="*/ 230 h 230"/>
                <a:gd name="T4" fmla="*/ 101 w 195"/>
                <a:gd name="T5" fmla="*/ 138 h 230"/>
                <a:gd name="T6" fmla="*/ 151 w 195"/>
                <a:gd name="T7" fmla="*/ 138 h 230"/>
                <a:gd name="T8" fmla="*/ 151 w 195"/>
                <a:gd name="T9" fmla="*/ 230 h 230"/>
                <a:gd name="T10" fmla="*/ 195 w 195"/>
                <a:gd name="T11" fmla="*/ 230 h 230"/>
                <a:gd name="T12" fmla="*/ 195 w 195"/>
                <a:gd name="T13" fmla="*/ 0 h 230"/>
                <a:gd name="T14" fmla="*/ 82 w 195"/>
                <a:gd name="T15" fmla="*/ 0 h 230"/>
                <a:gd name="T16" fmla="*/ 82 w 195"/>
                <a:gd name="T17" fmla="*/ 0 h 230"/>
                <a:gd name="T18" fmla="*/ 67 w 195"/>
                <a:gd name="T19" fmla="*/ 1 h 230"/>
                <a:gd name="T20" fmla="*/ 60 w 195"/>
                <a:gd name="T21" fmla="*/ 2 h 230"/>
                <a:gd name="T22" fmla="*/ 53 w 195"/>
                <a:gd name="T23" fmla="*/ 4 h 230"/>
                <a:gd name="T24" fmla="*/ 47 w 195"/>
                <a:gd name="T25" fmla="*/ 6 h 230"/>
                <a:gd name="T26" fmla="*/ 41 w 195"/>
                <a:gd name="T27" fmla="*/ 9 h 230"/>
                <a:gd name="T28" fmla="*/ 36 w 195"/>
                <a:gd name="T29" fmla="*/ 13 h 230"/>
                <a:gd name="T30" fmla="*/ 31 w 195"/>
                <a:gd name="T31" fmla="*/ 17 h 230"/>
                <a:gd name="T32" fmla="*/ 26 w 195"/>
                <a:gd name="T33" fmla="*/ 21 h 230"/>
                <a:gd name="T34" fmla="*/ 22 w 195"/>
                <a:gd name="T35" fmla="*/ 27 h 230"/>
                <a:gd name="T36" fmla="*/ 19 w 195"/>
                <a:gd name="T37" fmla="*/ 32 h 230"/>
                <a:gd name="T38" fmla="*/ 16 w 195"/>
                <a:gd name="T39" fmla="*/ 38 h 230"/>
                <a:gd name="T40" fmla="*/ 14 w 195"/>
                <a:gd name="T41" fmla="*/ 45 h 230"/>
                <a:gd name="T42" fmla="*/ 12 w 195"/>
                <a:gd name="T43" fmla="*/ 52 h 230"/>
                <a:gd name="T44" fmla="*/ 11 w 195"/>
                <a:gd name="T45" fmla="*/ 60 h 230"/>
                <a:gd name="T46" fmla="*/ 10 w 195"/>
                <a:gd name="T47" fmla="*/ 69 h 230"/>
                <a:gd name="T48" fmla="*/ 10 w 195"/>
                <a:gd name="T49" fmla="*/ 69 h 230"/>
                <a:gd name="T50" fmla="*/ 11 w 195"/>
                <a:gd name="T51" fmla="*/ 82 h 230"/>
                <a:gd name="T52" fmla="*/ 14 w 195"/>
                <a:gd name="T53" fmla="*/ 93 h 230"/>
                <a:gd name="T54" fmla="*/ 18 w 195"/>
                <a:gd name="T55" fmla="*/ 103 h 230"/>
                <a:gd name="T56" fmla="*/ 23 w 195"/>
                <a:gd name="T57" fmla="*/ 112 h 230"/>
                <a:gd name="T58" fmla="*/ 30 w 195"/>
                <a:gd name="T59" fmla="*/ 119 h 230"/>
                <a:gd name="T60" fmla="*/ 38 w 195"/>
                <a:gd name="T61" fmla="*/ 125 h 230"/>
                <a:gd name="T62" fmla="*/ 47 w 195"/>
                <a:gd name="T63" fmla="*/ 129 h 230"/>
                <a:gd name="T64" fmla="*/ 58 w 195"/>
                <a:gd name="T65" fmla="*/ 132 h 230"/>
                <a:gd name="T66" fmla="*/ 0 w 195"/>
                <a:gd name="T67" fmla="*/ 230 h 230"/>
                <a:gd name="T68" fmla="*/ 151 w 195"/>
                <a:gd name="T69" fmla="*/ 37 h 230"/>
                <a:gd name="T70" fmla="*/ 151 w 195"/>
                <a:gd name="T71" fmla="*/ 101 h 230"/>
                <a:gd name="T72" fmla="*/ 87 w 195"/>
                <a:gd name="T73" fmla="*/ 101 h 230"/>
                <a:gd name="T74" fmla="*/ 87 w 195"/>
                <a:gd name="T75" fmla="*/ 101 h 230"/>
                <a:gd name="T76" fmla="*/ 80 w 195"/>
                <a:gd name="T77" fmla="*/ 100 h 230"/>
                <a:gd name="T78" fmla="*/ 73 w 195"/>
                <a:gd name="T79" fmla="*/ 99 h 230"/>
                <a:gd name="T80" fmla="*/ 68 w 195"/>
                <a:gd name="T81" fmla="*/ 96 h 230"/>
                <a:gd name="T82" fmla="*/ 63 w 195"/>
                <a:gd name="T83" fmla="*/ 92 h 230"/>
                <a:gd name="T84" fmla="*/ 60 w 195"/>
                <a:gd name="T85" fmla="*/ 88 h 230"/>
                <a:gd name="T86" fmla="*/ 57 w 195"/>
                <a:gd name="T87" fmla="*/ 82 h 230"/>
                <a:gd name="T88" fmla="*/ 56 w 195"/>
                <a:gd name="T89" fmla="*/ 76 h 230"/>
                <a:gd name="T90" fmla="*/ 55 w 195"/>
                <a:gd name="T91" fmla="*/ 69 h 230"/>
                <a:gd name="T92" fmla="*/ 55 w 195"/>
                <a:gd name="T93" fmla="*/ 69 h 230"/>
                <a:gd name="T94" fmla="*/ 56 w 195"/>
                <a:gd name="T95" fmla="*/ 62 h 230"/>
                <a:gd name="T96" fmla="*/ 58 w 195"/>
                <a:gd name="T97" fmla="*/ 55 h 230"/>
                <a:gd name="T98" fmla="*/ 60 w 195"/>
                <a:gd name="T99" fmla="*/ 50 h 230"/>
                <a:gd name="T100" fmla="*/ 64 w 195"/>
                <a:gd name="T101" fmla="*/ 45 h 230"/>
                <a:gd name="T102" fmla="*/ 69 w 195"/>
                <a:gd name="T103" fmla="*/ 41 h 230"/>
                <a:gd name="T104" fmla="*/ 74 w 195"/>
                <a:gd name="T105" fmla="*/ 39 h 230"/>
                <a:gd name="T106" fmla="*/ 80 w 195"/>
                <a:gd name="T107" fmla="*/ 37 h 230"/>
                <a:gd name="T108" fmla="*/ 87 w 195"/>
                <a:gd name="T109" fmla="*/ 37 h 230"/>
                <a:gd name="T110" fmla="*/ 151 w 195"/>
                <a:gd name="T111" fmla="*/ 3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5" h="230">
                  <a:moveTo>
                    <a:pt x="0" y="230"/>
                  </a:moveTo>
                  <a:lnTo>
                    <a:pt x="50" y="230"/>
                  </a:lnTo>
                  <a:lnTo>
                    <a:pt x="101" y="138"/>
                  </a:lnTo>
                  <a:lnTo>
                    <a:pt x="151" y="138"/>
                  </a:lnTo>
                  <a:lnTo>
                    <a:pt x="151" y="230"/>
                  </a:lnTo>
                  <a:lnTo>
                    <a:pt x="195" y="230"/>
                  </a:lnTo>
                  <a:lnTo>
                    <a:pt x="195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41" y="9"/>
                  </a:lnTo>
                  <a:lnTo>
                    <a:pt x="36" y="13"/>
                  </a:lnTo>
                  <a:lnTo>
                    <a:pt x="31" y="17"/>
                  </a:lnTo>
                  <a:lnTo>
                    <a:pt x="26" y="21"/>
                  </a:lnTo>
                  <a:lnTo>
                    <a:pt x="22" y="27"/>
                  </a:lnTo>
                  <a:lnTo>
                    <a:pt x="19" y="32"/>
                  </a:lnTo>
                  <a:lnTo>
                    <a:pt x="16" y="38"/>
                  </a:lnTo>
                  <a:lnTo>
                    <a:pt x="14" y="45"/>
                  </a:lnTo>
                  <a:lnTo>
                    <a:pt x="12" y="52"/>
                  </a:lnTo>
                  <a:lnTo>
                    <a:pt x="11" y="60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1" y="82"/>
                  </a:lnTo>
                  <a:lnTo>
                    <a:pt x="14" y="93"/>
                  </a:lnTo>
                  <a:lnTo>
                    <a:pt x="18" y="103"/>
                  </a:lnTo>
                  <a:lnTo>
                    <a:pt x="23" y="112"/>
                  </a:lnTo>
                  <a:lnTo>
                    <a:pt x="30" y="119"/>
                  </a:lnTo>
                  <a:lnTo>
                    <a:pt x="38" y="125"/>
                  </a:lnTo>
                  <a:lnTo>
                    <a:pt x="47" y="129"/>
                  </a:lnTo>
                  <a:lnTo>
                    <a:pt x="58" y="132"/>
                  </a:lnTo>
                  <a:lnTo>
                    <a:pt x="0" y="230"/>
                  </a:lnTo>
                  <a:close/>
                  <a:moveTo>
                    <a:pt x="151" y="37"/>
                  </a:moveTo>
                  <a:lnTo>
                    <a:pt x="151" y="101"/>
                  </a:lnTo>
                  <a:lnTo>
                    <a:pt x="87" y="101"/>
                  </a:lnTo>
                  <a:lnTo>
                    <a:pt x="87" y="101"/>
                  </a:lnTo>
                  <a:lnTo>
                    <a:pt x="80" y="100"/>
                  </a:lnTo>
                  <a:lnTo>
                    <a:pt x="73" y="99"/>
                  </a:lnTo>
                  <a:lnTo>
                    <a:pt x="68" y="96"/>
                  </a:lnTo>
                  <a:lnTo>
                    <a:pt x="63" y="92"/>
                  </a:lnTo>
                  <a:lnTo>
                    <a:pt x="60" y="88"/>
                  </a:lnTo>
                  <a:lnTo>
                    <a:pt x="57" y="82"/>
                  </a:lnTo>
                  <a:lnTo>
                    <a:pt x="56" y="76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6" y="62"/>
                  </a:lnTo>
                  <a:lnTo>
                    <a:pt x="58" y="55"/>
                  </a:lnTo>
                  <a:lnTo>
                    <a:pt x="60" y="50"/>
                  </a:lnTo>
                  <a:lnTo>
                    <a:pt x="64" y="45"/>
                  </a:lnTo>
                  <a:lnTo>
                    <a:pt x="69" y="41"/>
                  </a:lnTo>
                  <a:lnTo>
                    <a:pt x="74" y="39"/>
                  </a:lnTo>
                  <a:lnTo>
                    <a:pt x="80" y="37"/>
                  </a:lnTo>
                  <a:lnTo>
                    <a:pt x="87" y="37"/>
                  </a:lnTo>
                  <a:lnTo>
                    <a:pt x="151" y="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5" name="Freeform 124"/>
            <p:cNvSpPr>
              <a:spLocks/>
            </p:cNvSpPr>
            <p:nvPr userDrawn="1"/>
          </p:nvSpPr>
          <p:spPr bwMode="auto">
            <a:xfrm>
              <a:off x="1036638" y="6362701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2 h 239"/>
                <a:gd name="T8" fmla="*/ 100 w 181"/>
                <a:gd name="T9" fmla="*/ 0 h 239"/>
                <a:gd name="T10" fmla="*/ 90 w 181"/>
                <a:gd name="T11" fmla="*/ 0 h 239"/>
                <a:gd name="T12" fmla="*/ 70 w 181"/>
                <a:gd name="T13" fmla="*/ 4 h 239"/>
                <a:gd name="T14" fmla="*/ 52 w 181"/>
                <a:gd name="T15" fmla="*/ 12 h 239"/>
                <a:gd name="T16" fmla="*/ 36 w 181"/>
                <a:gd name="T17" fmla="*/ 24 h 239"/>
                <a:gd name="T18" fmla="*/ 23 w 181"/>
                <a:gd name="T19" fmla="*/ 39 h 239"/>
                <a:gd name="T20" fmla="*/ 12 w 181"/>
                <a:gd name="T21" fmla="*/ 58 h 239"/>
                <a:gd name="T22" fmla="*/ 4 w 181"/>
                <a:gd name="T23" fmla="*/ 80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5 h 239"/>
                <a:gd name="T30" fmla="*/ 8 w 181"/>
                <a:gd name="T31" fmla="*/ 169 h 239"/>
                <a:gd name="T32" fmla="*/ 17 w 181"/>
                <a:gd name="T33" fmla="*/ 190 h 239"/>
                <a:gd name="T34" fmla="*/ 29 w 181"/>
                <a:gd name="T35" fmla="*/ 207 h 239"/>
                <a:gd name="T36" fmla="*/ 43 w 181"/>
                <a:gd name="T37" fmla="*/ 221 h 239"/>
                <a:gd name="T38" fmla="*/ 60 w 181"/>
                <a:gd name="T39" fmla="*/ 231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8 w 181"/>
                <a:gd name="T47" fmla="*/ 232 h 239"/>
                <a:gd name="T48" fmla="*/ 158 w 181"/>
                <a:gd name="T49" fmla="*/ 220 h 239"/>
                <a:gd name="T50" fmla="*/ 174 w 181"/>
                <a:gd name="T51" fmla="*/ 205 h 239"/>
                <a:gd name="T52" fmla="*/ 152 w 181"/>
                <a:gd name="T53" fmla="*/ 168 h 239"/>
                <a:gd name="T54" fmla="*/ 139 w 181"/>
                <a:gd name="T55" fmla="*/ 181 h 239"/>
                <a:gd name="T56" fmla="*/ 127 w 181"/>
                <a:gd name="T57" fmla="*/ 189 h 239"/>
                <a:gd name="T58" fmla="*/ 115 w 181"/>
                <a:gd name="T59" fmla="*/ 195 h 239"/>
                <a:gd name="T60" fmla="*/ 100 w 181"/>
                <a:gd name="T61" fmla="*/ 197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8 h 239"/>
                <a:gd name="T68" fmla="*/ 63 w 181"/>
                <a:gd name="T69" fmla="*/ 180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8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3 h 239"/>
                <a:gd name="T82" fmla="*/ 68 w 181"/>
                <a:gd name="T83" fmla="*/ 54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1 w 181"/>
                <a:gd name="T93" fmla="*/ 46 h 239"/>
                <a:gd name="T94" fmla="*/ 134 w 181"/>
                <a:gd name="T95" fmla="*/ 53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5"/>
                  </a:lnTo>
                  <a:lnTo>
                    <a:pt x="145" y="10"/>
                  </a:lnTo>
                  <a:lnTo>
                    <a:pt x="135" y="5"/>
                  </a:lnTo>
                  <a:lnTo>
                    <a:pt x="124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0"/>
                  </a:lnTo>
                  <a:lnTo>
                    <a:pt x="80" y="2"/>
                  </a:lnTo>
                  <a:lnTo>
                    <a:pt x="70" y="4"/>
                  </a:lnTo>
                  <a:lnTo>
                    <a:pt x="61" y="8"/>
                  </a:lnTo>
                  <a:lnTo>
                    <a:pt x="52" y="12"/>
                  </a:lnTo>
                  <a:lnTo>
                    <a:pt x="44" y="18"/>
                  </a:lnTo>
                  <a:lnTo>
                    <a:pt x="36" y="24"/>
                  </a:lnTo>
                  <a:lnTo>
                    <a:pt x="29" y="31"/>
                  </a:lnTo>
                  <a:lnTo>
                    <a:pt x="23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4" y="80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5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90"/>
                  </a:lnTo>
                  <a:lnTo>
                    <a:pt x="22" y="199"/>
                  </a:lnTo>
                  <a:lnTo>
                    <a:pt x="29" y="207"/>
                  </a:lnTo>
                  <a:lnTo>
                    <a:pt x="35" y="214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60" y="231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6"/>
                  </a:lnTo>
                  <a:lnTo>
                    <a:pt x="138" y="232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3"/>
                  </a:lnTo>
                  <a:lnTo>
                    <a:pt x="174" y="205"/>
                  </a:lnTo>
                  <a:lnTo>
                    <a:pt x="181" y="197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1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3"/>
                  </a:lnTo>
                  <a:lnTo>
                    <a:pt x="115" y="195"/>
                  </a:lnTo>
                  <a:lnTo>
                    <a:pt x="108" y="196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1"/>
                  </a:lnTo>
                  <a:lnTo>
                    <a:pt x="72" y="188"/>
                  </a:lnTo>
                  <a:lnTo>
                    <a:pt x="67" y="184"/>
                  </a:lnTo>
                  <a:lnTo>
                    <a:pt x="63" y="180"/>
                  </a:lnTo>
                  <a:lnTo>
                    <a:pt x="59" y="175"/>
                  </a:lnTo>
                  <a:lnTo>
                    <a:pt x="56" y="169"/>
                  </a:lnTo>
                  <a:lnTo>
                    <a:pt x="53" y="164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8"/>
                  </a:lnTo>
                  <a:lnTo>
                    <a:pt x="68" y="54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4" y="44"/>
                  </a:lnTo>
                  <a:lnTo>
                    <a:pt x="121" y="46"/>
                  </a:lnTo>
                  <a:lnTo>
                    <a:pt x="127" y="49"/>
                  </a:lnTo>
                  <a:lnTo>
                    <a:pt x="134" y="53"/>
                  </a:lnTo>
                  <a:lnTo>
                    <a:pt x="141" y="58"/>
                  </a:lnTo>
                  <a:lnTo>
                    <a:pt x="148" y="64"/>
                  </a:lnTo>
                  <a:lnTo>
                    <a:pt x="155" y="70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6" name="Freeform 125"/>
            <p:cNvSpPr>
              <a:spLocks/>
            </p:cNvSpPr>
            <p:nvPr userDrawn="1"/>
          </p:nvSpPr>
          <p:spPr bwMode="auto">
            <a:xfrm>
              <a:off x="1116013" y="6365876"/>
              <a:ext cx="82550" cy="92075"/>
            </a:xfrm>
            <a:custGeom>
              <a:avLst/>
              <a:gdLst>
                <a:gd name="T0" fmla="*/ 93 w 208"/>
                <a:gd name="T1" fmla="*/ 39 h 234"/>
                <a:gd name="T2" fmla="*/ 163 w 208"/>
                <a:gd name="T3" fmla="*/ 39 h 234"/>
                <a:gd name="T4" fmla="*/ 163 w 208"/>
                <a:gd name="T5" fmla="*/ 230 h 234"/>
                <a:gd name="T6" fmla="*/ 208 w 208"/>
                <a:gd name="T7" fmla="*/ 230 h 234"/>
                <a:gd name="T8" fmla="*/ 208 w 208"/>
                <a:gd name="T9" fmla="*/ 0 h 234"/>
                <a:gd name="T10" fmla="*/ 51 w 208"/>
                <a:gd name="T11" fmla="*/ 0 h 234"/>
                <a:gd name="T12" fmla="*/ 46 w 208"/>
                <a:gd name="T13" fmla="*/ 116 h 234"/>
                <a:gd name="T14" fmla="*/ 46 w 208"/>
                <a:gd name="T15" fmla="*/ 116 h 234"/>
                <a:gd name="T16" fmla="*/ 45 w 208"/>
                <a:gd name="T17" fmla="*/ 135 h 234"/>
                <a:gd name="T18" fmla="*/ 42 w 208"/>
                <a:gd name="T19" fmla="*/ 152 h 234"/>
                <a:gd name="T20" fmla="*/ 37 w 208"/>
                <a:gd name="T21" fmla="*/ 165 h 234"/>
                <a:gd name="T22" fmla="*/ 32 w 208"/>
                <a:gd name="T23" fmla="*/ 175 h 234"/>
                <a:gd name="T24" fmla="*/ 25 w 208"/>
                <a:gd name="T25" fmla="*/ 183 h 234"/>
                <a:gd name="T26" fmla="*/ 17 w 208"/>
                <a:gd name="T27" fmla="*/ 189 h 234"/>
                <a:gd name="T28" fmla="*/ 9 w 208"/>
                <a:gd name="T29" fmla="*/ 193 h 234"/>
                <a:gd name="T30" fmla="*/ 0 w 208"/>
                <a:gd name="T31" fmla="*/ 195 h 234"/>
                <a:gd name="T32" fmla="*/ 11 w 208"/>
                <a:gd name="T33" fmla="*/ 234 h 234"/>
                <a:gd name="T34" fmla="*/ 11 w 208"/>
                <a:gd name="T35" fmla="*/ 234 h 234"/>
                <a:gd name="T36" fmla="*/ 18 w 208"/>
                <a:gd name="T37" fmla="*/ 233 h 234"/>
                <a:gd name="T38" fmla="*/ 26 w 208"/>
                <a:gd name="T39" fmla="*/ 230 h 234"/>
                <a:gd name="T40" fmla="*/ 33 w 208"/>
                <a:gd name="T41" fmla="*/ 228 h 234"/>
                <a:gd name="T42" fmla="*/ 40 w 208"/>
                <a:gd name="T43" fmla="*/ 224 h 234"/>
                <a:gd name="T44" fmla="*/ 47 w 208"/>
                <a:gd name="T45" fmla="*/ 220 h 234"/>
                <a:gd name="T46" fmla="*/ 53 w 208"/>
                <a:gd name="T47" fmla="*/ 215 h 234"/>
                <a:gd name="T48" fmla="*/ 59 w 208"/>
                <a:gd name="T49" fmla="*/ 209 h 234"/>
                <a:gd name="T50" fmla="*/ 65 w 208"/>
                <a:gd name="T51" fmla="*/ 203 h 234"/>
                <a:gd name="T52" fmla="*/ 70 w 208"/>
                <a:gd name="T53" fmla="*/ 195 h 234"/>
                <a:gd name="T54" fmla="*/ 75 w 208"/>
                <a:gd name="T55" fmla="*/ 187 h 234"/>
                <a:gd name="T56" fmla="*/ 79 w 208"/>
                <a:gd name="T57" fmla="*/ 178 h 234"/>
                <a:gd name="T58" fmla="*/ 82 w 208"/>
                <a:gd name="T59" fmla="*/ 168 h 234"/>
                <a:gd name="T60" fmla="*/ 86 w 208"/>
                <a:gd name="T61" fmla="*/ 156 h 234"/>
                <a:gd name="T62" fmla="*/ 88 w 208"/>
                <a:gd name="T63" fmla="*/ 143 h 234"/>
                <a:gd name="T64" fmla="*/ 89 w 208"/>
                <a:gd name="T65" fmla="*/ 130 h 234"/>
                <a:gd name="T66" fmla="*/ 90 w 208"/>
                <a:gd name="T67" fmla="*/ 116 h 234"/>
                <a:gd name="T68" fmla="*/ 93 w 208"/>
                <a:gd name="T69" fmla="*/ 3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234">
                  <a:moveTo>
                    <a:pt x="93" y="39"/>
                  </a:moveTo>
                  <a:lnTo>
                    <a:pt x="163" y="39"/>
                  </a:lnTo>
                  <a:lnTo>
                    <a:pt x="163" y="230"/>
                  </a:lnTo>
                  <a:lnTo>
                    <a:pt x="208" y="230"/>
                  </a:lnTo>
                  <a:lnTo>
                    <a:pt x="208" y="0"/>
                  </a:lnTo>
                  <a:lnTo>
                    <a:pt x="51" y="0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5" y="135"/>
                  </a:lnTo>
                  <a:lnTo>
                    <a:pt x="42" y="152"/>
                  </a:lnTo>
                  <a:lnTo>
                    <a:pt x="37" y="165"/>
                  </a:lnTo>
                  <a:lnTo>
                    <a:pt x="32" y="175"/>
                  </a:lnTo>
                  <a:lnTo>
                    <a:pt x="25" y="183"/>
                  </a:lnTo>
                  <a:lnTo>
                    <a:pt x="17" y="189"/>
                  </a:lnTo>
                  <a:lnTo>
                    <a:pt x="9" y="193"/>
                  </a:lnTo>
                  <a:lnTo>
                    <a:pt x="0" y="195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8" y="233"/>
                  </a:lnTo>
                  <a:lnTo>
                    <a:pt x="26" y="230"/>
                  </a:lnTo>
                  <a:lnTo>
                    <a:pt x="33" y="228"/>
                  </a:lnTo>
                  <a:lnTo>
                    <a:pt x="40" y="224"/>
                  </a:lnTo>
                  <a:lnTo>
                    <a:pt x="47" y="220"/>
                  </a:lnTo>
                  <a:lnTo>
                    <a:pt x="53" y="215"/>
                  </a:lnTo>
                  <a:lnTo>
                    <a:pt x="59" y="209"/>
                  </a:lnTo>
                  <a:lnTo>
                    <a:pt x="65" y="203"/>
                  </a:lnTo>
                  <a:lnTo>
                    <a:pt x="70" y="195"/>
                  </a:lnTo>
                  <a:lnTo>
                    <a:pt x="75" y="187"/>
                  </a:lnTo>
                  <a:lnTo>
                    <a:pt x="79" y="178"/>
                  </a:lnTo>
                  <a:lnTo>
                    <a:pt x="82" y="168"/>
                  </a:lnTo>
                  <a:lnTo>
                    <a:pt x="86" y="156"/>
                  </a:lnTo>
                  <a:lnTo>
                    <a:pt x="88" y="143"/>
                  </a:lnTo>
                  <a:lnTo>
                    <a:pt x="89" y="130"/>
                  </a:lnTo>
                  <a:lnTo>
                    <a:pt x="90" y="116"/>
                  </a:lnTo>
                  <a:lnTo>
                    <a:pt x="9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7" name="Freeform 126"/>
            <p:cNvSpPr>
              <a:spLocks noEditPoints="1"/>
            </p:cNvSpPr>
            <p:nvPr userDrawn="1"/>
          </p:nvSpPr>
          <p:spPr bwMode="auto">
            <a:xfrm>
              <a:off x="1217613" y="6362701"/>
              <a:ext cx="80963" cy="95250"/>
            </a:xfrm>
            <a:custGeom>
              <a:avLst/>
              <a:gdLst>
                <a:gd name="T0" fmla="*/ 204 w 204"/>
                <a:gd name="T1" fmla="*/ 105 h 239"/>
                <a:gd name="T2" fmla="*/ 196 w 204"/>
                <a:gd name="T3" fmla="*/ 69 h 239"/>
                <a:gd name="T4" fmla="*/ 182 w 204"/>
                <a:gd name="T5" fmla="*/ 40 h 239"/>
                <a:gd name="T6" fmla="*/ 160 w 204"/>
                <a:gd name="T7" fmla="*/ 18 h 239"/>
                <a:gd name="T8" fmla="*/ 133 w 204"/>
                <a:gd name="T9" fmla="*/ 5 h 239"/>
                <a:gd name="T10" fmla="*/ 102 w 204"/>
                <a:gd name="T11" fmla="*/ 0 h 239"/>
                <a:gd name="T12" fmla="*/ 81 w 204"/>
                <a:gd name="T13" fmla="*/ 2 h 239"/>
                <a:gd name="T14" fmla="*/ 53 w 204"/>
                <a:gd name="T15" fmla="*/ 12 h 239"/>
                <a:gd name="T16" fmla="*/ 30 w 204"/>
                <a:gd name="T17" fmla="*/ 31 h 239"/>
                <a:gd name="T18" fmla="*/ 12 w 204"/>
                <a:gd name="T19" fmla="*/ 58 h 239"/>
                <a:gd name="T20" fmla="*/ 2 w 204"/>
                <a:gd name="T21" fmla="*/ 93 h 239"/>
                <a:gd name="T22" fmla="*/ 0 w 204"/>
                <a:gd name="T23" fmla="*/ 119 h 239"/>
                <a:gd name="T24" fmla="*/ 5 w 204"/>
                <a:gd name="T25" fmla="*/ 158 h 239"/>
                <a:gd name="T26" fmla="*/ 17 w 204"/>
                <a:gd name="T27" fmla="*/ 189 h 239"/>
                <a:gd name="T28" fmla="*/ 36 w 204"/>
                <a:gd name="T29" fmla="*/ 214 h 239"/>
                <a:gd name="T30" fmla="*/ 61 w 204"/>
                <a:gd name="T31" fmla="*/ 231 h 239"/>
                <a:gd name="T32" fmla="*/ 90 w 204"/>
                <a:gd name="T33" fmla="*/ 239 h 239"/>
                <a:gd name="T34" fmla="*/ 112 w 204"/>
                <a:gd name="T35" fmla="*/ 239 h 239"/>
                <a:gd name="T36" fmla="*/ 142 w 204"/>
                <a:gd name="T37" fmla="*/ 231 h 239"/>
                <a:gd name="T38" fmla="*/ 167 w 204"/>
                <a:gd name="T39" fmla="*/ 215 h 239"/>
                <a:gd name="T40" fmla="*/ 187 w 204"/>
                <a:gd name="T41" fmla="*/ 190 h 239"/>
                <a:gd name="T42" fmla="*/ 200 w 204"/>
                <a:gd name="T43" fmla="*/ 158 h 239"/>
                <a:gd name="T44" fmla="*/ 204 w 204"/>
                <a:gd name="T45" fmla="*/ 118 h 239"/>
                <a:gd name="T46" fmla="*/ 159 w 204"/>
                <a:gd name="T47" fmla="*/ 119 h 239"/>
                <a:gd name="T48" fmla="*/ 150 w 204"/>
                <a:gd name="T49" fmla="*/ 163 h 239"/>
                <a:gd name="T50" fmla="*/ 135 w 204"/>
                <a:gd name="T51" fmla="*/ 183 h 239"/>
                <a:gd name="T52" fmla="*/ 120 w 204"/>
                <a:gd name="T53" fmla="*/ 193 h 239"/>
                <a:gd name="T54" fmla="*/ 103 w 204"/>
                <a:gd name="T55" fmla="*/ 197 h 239"/>
                <a:gd name="T56" fmla="*/ 90 w 204"/>
                <a:gd name="T57" fmla="*/ 195 h 239"/>
                <a:gd name="T58" fmla="*/ 74 w 204"/>
                <a:gd name="T59" fmla="*/ 189 h 239"/>
                <a:gd name="T60" fmla="*/ 61 w 204"/>
                <a:gd name="T61" fmla="*/ 177 h 239"/>
                <a:gd name="T62" fmla="*/ 52 w 204"/>
                <a:gd name="T63" fmla="*/ 159 h 239"/>
                <a:gd name="T64" fmla="*/ 45 w 204"/>
                <a:gd name="T65" fmla="*/ 118 h 239"/>
                <a:gd name="T66" fmla="*/ 49 w 204"/>
                <a:gd name="T67" fmla="*/ 87 h 239"/>
                <a:gd name="T68" fmla="*/ 60 w 204"/>
                <a:gd name="T69" fmla="*/ 63 h 239"/>
                <a:gd name="T70" fmla="*/ 73 w 204"/>
                <a:gd name="T71" fmla="*/ 51 h 239"/>
                <a:gd name="T72" fmla="*/ 88 w 204"/>
                <a:gd name="T73" fmla="*/ 44 h 239"/>
                <a:gd name="T74" fmla="*/ 100 w 204"/>
                <a:gd name="T75" fmla="*/ 43 h 239"/>
                <a:gd name="T76" fmla="*/ 119 w 204"/>
                <a:gd name="T77" fmla="*/ 46 h 239"/>
                <a:gd name="T78" fmla="*/ 135 w 204"/>
                <a:gd name="T79" fmla="*/ 55 h 239"/>
                <a:gd name="T80" fmla="*/ 147 w 204"/>
                <a:gd name="T81" fmla="*/ 69 h 239"/>
                <a:gd name="T82" fmla="*/ 155 w 204"/>
                <a:gd name="T83" fmla="*/ 88 h 239"/>
                <a:gd name="T84" fmla="*/ 159 w 204"/>
                <a:gd name="T85" fmla="*/ 11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4" h="239">
                  <a:moveTo>
                    <a:pt x="204" y="118"/>
                  </a:moveTo>
                  <a:lnTo>
                    <a:pt x="204" y="118"/>
                  </a:lnTo>
                  <a:lnTo>
                    <a:pt x="204" y="105"/>
                  </a:lnTo>
                  <a:lnTo>
                    <a:pt x="202" y="92"/>
                  </a:lnTo>
                  <a:lnTo>
                    <a:pt x="200" y="81"/>
                  </a:lnTo>
                  <a:lnTo>
                    <a:pt x="196" y="69"/>
                  </a:lnTo>
                  <a:lnTo>
                    <a:pt x="192" y="59"/>
                  </a:lnTo>
                  <a:lnTo>
                    <a:pt x="187" y="49"/>
                  </a:lnTo>
                  <a:lnTo>
                    <a:pt x="182" y="40"/>
                  </a:lnTo>
                  <a:lnTo>
                    <a:pt x="175" y="32"/>
                  </a:lnTo>
                  <a:lnTo>
                    <a:pt x="168" y="25"/>
                  </a:lnTo>
                  <a:lnTo>
                    <a:pt x="160" y="18"/>
                  </a:lnTo>
                  <a:lnTo>
                    <a:pt x="152" y="13"/>
                  </a:lnTo>
                  <a:lnTo>
                    <a:pt x="143" y="8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3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2" y="0"/>
                  </a:lnTo>
                  <a:lnTo>
                    <a:pt x="81" y="2"/>
                  </a:lnTo>
                  <a:lnTo>
                    <a:pt x="71" y="4"/>
                  </a:lnTo>
                  <a:lnTo>
                    <a:pt x="62" y="8"/>
                  </a:lnTo>
                  <a:lnTo>
                    <a:pt x="53" y="12"/>
                  </a:lnTo>
                  <a:lnTo>
                    <a:pt x="45" y="18"/>
                  </a:lnTo>
                  <a:lnTo>
                    <a:pt x="37" y="24"/>
                  </a:lnTo>
                  <a:lnTo>
                    <a:pt x="30" y="31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5" y="80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5"/>
                  </a:lnTo>
                  <a:lnTo>
                    <a:pt x="5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7"/>
                  </a:lnTo>
                  <a:lnTo>
                    <a:pt x="36" y="214"/>
                  </a:lnTo>
                  <a:lnTo>
                    <a:pt x="44" y="221"/>
                  </a:lnTo>
                  <a:lnTo>
                    <a:pt x="52" y="226"/>
                  </a:lnTo>
                  <a:lnTo>
                    <a:pt x="61" y="231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2" y="239"/>
                  </a:lnTo>
                  <a:lnTo>
                    <a:pt x="122" y="237"/>
                  </a:lnTo>
                  <a:lnTo>
                    <a:pt x="132" y="235"/>
                  </a:lnTo>
                  <a:lnTo>
                    <a:pt x="142" y="231"/>
                  </a:lnTo>
                  <a:lnTo>
                    <a:pt x="151" y="227"/>
                  </a:lnTo>
                  <a:lnTo>
                    <a:pt x="159" y="221"/>
                  </a:lnTo>
                  <a:lnTo>
                    <a:pt x="167" y="215"/>
                  </a:lnTo>
                  <a:lnTo>
                    <a:pt x="175" y="208"/>
                  </a:lnTo>
                  <a:lnTo>
                    <a:pt x="181" y="199"/>
                  </a:lnTo>
                  <a:lnTo>
                    <a:pt x="187" y="190"/>
                  </a:lnTo>
                  <a:lnTo>
                    <a:pt x="192" y="181"/>
                  </a:lnTo>
                  <a:lnTo>
                    <a:pt x="196" y="170"/>
                  </a:lnTo>
                  <a:lnTo>
                    <a:pt x="200" y="158"/>
                  </a:lnTo>
                  <a:lnTo>
                    <a:pt x="202" y="145"/>
                  </a:lnTo>
                  <a:lnTo>
                    <a:pt x="204" y="132"/>
                  </a:lnTo>
                  <a:lnTo>
                    <a:pt x="204" y="118"/>
                  </a:lnTo>
                  <a:lnTo>
                    <a:pt x="204" y="118"/>
                  </a:lnTo>
                  <a:close/>
                  <a:moveTo>
                    <a:pt x="159" y="119"/>
                  </a:moveTo>
                  <a:lnTo>
                    <a:pt x="159" y="119"/>
                  </a:lnTo>
                  <a:lnTo>
                    <a:pt x="158" y="135"/>
                  </a:lnTo>
                  <a:lnTo>
                    <a:pt x="155" y="150"/>
                  </a:lnTo>
                  <a:lnTo>
                    <a:pt x="150" y="163"/>
                  </a:lnTo>
                  <a:lnTo>
                    <a:pt x="143" y="174"/>
                  </a:lnTo>
                  <a:lnTo>
                    <a:pt x="140" y="179"/>
                  </a:lnTo>
                  <a:lnTo>
                    <a:pt x="135" y="183"/>
                  </a:lnTo>
                  <a:lnTo>
                    <a:pt x="131" y="187"/>
                  </a:lnTo>
                  <a:lnTo>
                    <a:pt x="126" y="191"/>
                  </a:lnTo>
                  <a:lnTo>
                    <a:pt x="120" y="193"/>
                  </a:lnTo>
                  <a:lnTo>
                    <a:pt x="115" y="195"/>
                  </a:lnTo>
                  <a:lnTo>
                    <a:pt x="109" y="196"/>
                  </a:lnTo>
                  <a:lnTo>
                    <a:pt x="103" y="197"/>
                  </a:lnTo>
                  <a:lnTo>
                    <a:pt x="103" y="197"/>
                  </a:lnTo>
                  <a:lnTo>
                    <a:pt x="96" y="196"/>
                  </a:lnTo>
                  <a:lnTo>
                    <a:pt x="90" y="195"/>
                  </a:lnTo>
                  <a:lnTo>
                    <a:pt x="85" y="194"/>
                  </a:lnTo>
                  <a:lnTo>
                    <a:pt x="79" y="192"/>
                  </a:lnTo>
                  <a:lnTo>
                    <a:pt x="74" y="189"/>
                  </a:lnTo>
                  <a:lnTo>
                    <a:pt x="70" y="185"/>
                  </a:lnTo>
                  <a:lnTo>
                    <a:pt x="65" y="181"/>
                  </a:lnTo>
                  <a:lnTo>
                    <a:pt x="61" y="177"/>
                  </a:lnTo>
                  <a:lnTo>
                    <a:pt x="58" y="171"/>
                  </a:lnTo>
                  <a:lnTo>
                    <a:pt x="55" y="166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9"/>
                  </a:lnTo>
                  <a:lnTo>
                    <a:pt x="68" y="54"/>
                  </a:lnTo>
                  <a:lnTo>
                    <a:pt x="73" y="51"/>
                  </a:lnTo>
                  <a:lnTo>
                    <a:pt x="77" y="48"/>
                  </a:lnTo>
                  <a:lnTo>
                    <a:pt x="83" y="46"/>
                  </a:lnTo>
                  <a:lnTo>
                    <a:pt x="88" y="44"/>
                  </a:lnTo>
                  <a:lnTo>
                    <a:pt x="94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7" y="43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5" y="48"/>
                  </a:lnTo>
                  <a:lnTo>
                    <a:pt x="130" y="51"/>
                  </a:lnTo>
                  <a:lnTo>
                    <a:pt x="135" y="55"/>
                  </a:lnTo>
                  <a:lnTo>
                    <a:pt x="139" y="59"/>
                  </a:lnTo>
                  <a:lnTo>
                    <a:pt x="143" y="63"/>
                  </a:lnTo>
                  <a:lnTo>
                    <a:pt x="147" y="69"/>
                  </a:lnTo>
                  <a:lnTo>
                    <a:pt x="150" y="75"/>
                  </a:lnTo>
                  <a:lnTo>
                    <a:pt x="153" y="81"/>
                  </a:lnTo>
                  <a:lnTo>
                    <a:pt x="155" y="88"/>
                  </a:lnTo>
                  <a:lnTo>
                    <a:pt x="158" y="103"/>
                  </a:lnTo>
                  <a:lnTo>
                    <a:pt x="159" y="119"/>
                  </a:lnTo>
                  <a:lnTo>
                    <a:pt x="159" y="1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8" name="Freeform 127"/>
            <p:cNvSpPr>
              <a:spLocks/>
            </p:cNvSpPr>
            <p:nvPr userDrawn="1"/>
          </p:nvSpPr>
          <p:spPr bwMode="auto">
            <a:xfrm>
              <a:off x="1309688" y="6362701"/>
              <a:ext cx="123825" cy="93663"/>
            </a:xfrm>
            <a:custGeom>
              <a:avLst/>
              <a:gdLst>
                <a:gd name="T0" fmla="*/ 179 w 313"/>
                <a:gd name="T1" fmla="*/ 235 h 235"/>
                <a:gd name="T2" fmla="*/ 206 w 313"/>
                <a:gd name="T3" fmla="*/ 131 h 235"/>
                <a:gd name="T4" fmla="*/ 313 w 313"/>
                <a:gd name="T5" fmla="*/ 235 h 235"/>
                <a:gd name="T6" fmla="*/ 269 w 313"/>
                <a:gd name="T7" fmla="*/ 53 h 235"/>
                <a:gd name="T8" fmla="*/ 273 w 313"/>
                <a:gd name="T9" fmla="*/ 47 h 235"/>
                <a:gd name="T10" fmla="*/ 283 w 313"/>
                <a:gd name="T11" fmla="*/ 40 h 235"/>
                <a:gd name="T12" fmla="*/ 289 w 313"/>
                <a:gd name="T13" fmla="*/ 39 h 235"/>
                <a:gd name="T14" fmla="*/ 300 w 313"/>
                <a:gd name="T15" fmla="*/ 40 h 235"/>
                <a:gd name="T16" fmla="*/ 307 w 313"/>
                <a:gd name="T17" fmla="*/ 44 h 235"/>
                <a:gd name="T18" fmla="*/ 307 w 313"/>
                <a:gd name="T19" fmla="*/ 5 h 235"/>
                <a:gd name="T20" fmla="*/ 291 w 313"/>
                <a:gd name="T21" fmla="*/ 0 h 235"/>
                <a:gd name="T22" fmla="*/ 284 w 313"/>
                <a:gd name="T23" fmla="*/ 0 h 235"/>
                <a:gd name="T24" fmla="*/ 270 w 313"/>
                <a:gd name="T25" fmla="*/ 2 h 235"/>
                <a:gd name="T26" fmla="*/ 258 w 313"/>
                <a:gd name="T27" fmla="*/ 8 h 235"/>
                <a:gd name="T28" fmla="*/ 247 w 313"/>
                <a:gd name="T29" fmla="*/ 19 h 235"/>
                <a:gd name="T30" fmla="*/ 238 w 313"/>
                <a:gd name="T31" fmla="*/ 35 h 235"/>
                <a:gd name="T32" fmla="*/ 179 w 313"/>
                <a:gd name="T33" fmla="*/ 94 h 235"/>
                <a:gd name="T34" fmla="*/ 135 w 313"/>
                <a:gd name="T35" fmla="*/ 5 h 235"/>
                <a:gd name="T36" fmla="*/ 108 w 313"/>
                <a:gd name="T37" fmla="*/ 94 h 235"/>
                <a:gd name="T38" fmla="*/ 75 w 313"/>
                <a:gd name="T39" fmla="*/ 35 h 235"/>
                <a:gd name="T40" fmla="*/ 66 w 313"/>
                <a:gd name="T41" fmla="*/ 19 h 235"/>
                <a:gd name="T42" fmla="*/ 56 w 313"/>
                <a:gd name="T43" fmla="*/ 8 h 235"/>
                <a:gd name="T44" fmla="*/ 43 w 313"/>
                <a:gd name="T45" fmla="*/ 2 h 235"/>
                <a:gd name="T46" fmla="*/ 29 w 313"/>
                <a:gd name="T47" fmla="*/ 0 h 235"/>
                <a:gd name="T48" fmla="*/ 23 w 313"/>
                <a:gd name="T49" fmla="*/ 0 h 235"/>
                <a:gd name="T50" fmla="*/ 6 w 313"/>
                <a:gd name="T51" fmla="*/ 5 h 235"/>
                <a:gd name="T52" fmla="*/ 6 w 313"/>
                <a:gd name="T53" fmla="*/ 44 h 235"/>
                <a:gd name="T54" fmla="*/ 14 w 313"/>
                <a:gd name="T55" fmla="*/ 40 h 235"/>
                <a:gd name="T56" fmla="*/ 25 w 313"/>
                <a:gd name="T57" fmla="*/ 39 h 235"/>
                <a:gd name="T58" fmla="*/ 31 w 313"/>
                <a:gd name="T59" fmla="*/ 40 h 235"/>
                <a:gd name="T60" fmla="*/ 41 w 313"/>
                <a:gd name="T61" fmla="*/ 47 h 235"/>
                <a:gd name="T62" fmla="*/ 73 w 313"/>
                <a:gd name="T63" fmla="*/ 107 h 235"/>
                <a:gd name="T64" fmla="*/ 49 w 313"/>
                <a:gd name="T65" fmla="*/ 235 h 235"/>
                <a:gd name="T66" fmla="*/ 135 w 313"/>
                <a:gd name="T67" fmla="*/ 13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3" h="235">
                  <a:moveTo>
                    <a:pt x="135" y="235"/>
                  </a:moveTo>
                  <a:lnTo>
                    <a:pt x="179" y="235"/>
                  </a:lnTo>
                  <a:lnTo>
                    <a:pt x="179" y="131"/>
                  </a:lnTo>
                  <a:lnTo>
                    <a:pt x="206" y="131"/>
                  </a:lnTo>
                  <a:lnTo>
                    <a:pt x="264" y="235"/>
                  </a:lnTo>
                  <a:lnTo>
                    <a:pt x="313" y="235"/>
                  </a:lnTo>
                  <a:lnTo>
                    <a:pt x="240" y="107"/>
                  </a:lnTo>
                  <a:lnTo>
                    <a:pt x="269" y="53"/>
                  </a:lnTo>
                  <a:lnTo>
                    <a:pt x="269" y="53"/>
                  </a:lnTo>
                  <a:lnTo>
                    <a:pt x="273" y="47"/>
                  </a:lnTo>
                  <a:lnTo>
                    <a:pt x="277" y="43"/>
                  </a:lnTo>
                  <a:lnTo>
                    <a:pt x="283" y="40"/>
                  </a:lnTo>
                  <a:lnTo>
                    <a:pt x="289" y="39"/>
                  </a:lnTo>
                  <a:lnTo>
                    <a:pt x="289" y="39"/>
                  </a:lnTo>
                  <a:lnTo>
                    <a:pt x="295" y="39"/>
                  </a:lnTo>
                  <a:lnTo>
                    <a:pt x="300" y="40"/>
                  </a:lnTo>
                  <a:lnTo>
                    <a:pt x="304" y="42"/>
                  </a:lnTo>
                  <a:lnTo>
                    <a:pt x="307" y="44"/>
                  </a:lnTo>
                  <a:lnTo>
                    <a:pt x="307" y="5"/>
                  </a:lnTo>
                  <a:lnTo>
                    <a:pt x="307" y="5"/>
                  </a:lnTo>
                  <a:lnTo>
                    <a:pt x="296" y="1"/>
                  </a:lnTo>
                  <a:lnTo>
                    <a:pt x="291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77" y="0"/>
                  </a:lnTo>
                  <a:lnTo>
                    <a:pt x="270" y="2"/>
                  </a:lnTo>
                  <a:lnTo>
                    <a:pt x="264" y="5"/>
                  </a:lnTo>
                  <a:lnTo>
                    <a:pt x="258" y="8"/>
                  </a:lnTo>
                  <a:lnTo>
                    <a:pt x="252" y="13"/>
                  </a:lnTo>
                  <a:lnTo>
                    <a:pt x="247" y="19"/>
                  </a:lnTo>
                  <a:lnTo>
                    <a:pt x="243" y="26"/>
                  </a:lnTo>
                  <a:lnTo>
                    <a:pt x="238" y="35"/>
                  </a:lnTo>
                  <a:lnTo>
                    <a:pt x="206" y="94"/>
                  </a:lnTo>
                  <a:lnTo>
                    <a:pt x="179" y="94"/>
                  </a:lnTo>
                  <a:lnTo>
                    <a:pt x="179" y="5"/>
                  </a:lnTo>
                  <a:lnTo>
                    <a:pt x="135" y="5"/>
                  </a:lnTo>
                  <a:lnTo>
                    <a:pt x="135" y="94"/>
                  </a:lnTo>
                  <a:lnTo>
                    <a:pt x="108" y="9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1" y="26"/>
                  </a:lnTo>
                  <a:lnTo>
                    <a:pt x="66" y="19"/>
                  </a:lnTo>
                  <a:lnTo>
                    <a:pt x="61" y="13"/>
                  </a:lnTo>
                  <a:lnTo>
                    <a:pt x="56" y="8"/>
                  </a:lnTo>
                  <a:lnTo>
                    <a:pt x="50" y="5"/>
                  </a:lnTo>
                  <a:lnTo>
                    <a:pt x="43" y="2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17" y="1"/>
                  </a:lnTo>
                  <a:lnTo>
                    <a:pt x="6" y="5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10" y="42"/>
                  </a:lnTo>
                  <a:lnTo>
                    <a:pt x="14" y="40"/>
                  </a:lnTo>
                  <a:lnTo>
                    <a:pt x="19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31" y="40"/>
                  </a:lnTo>
                  <a:lnTo>
                    <a:pt x="36" y="43"/>
                  </a:lnTo>
                  <a:lnTo>
                    <a:pt x="41" y="47"/>
                  </a:lnTo>
                  <a:lnTo>
                    <a:pt x="45" y="53"/>
                  </a:lnTo>
                  <a:lnTo>
                    <a:pt x="73" y="107"/>
                  </a:lnTo>
                  <a:lnTo>
                    <a:pt x="0" y="235"/>
                  </a:lnTo>
                  <a:lnTo>
                    <a:pt x="49" y="235"/>
                  </a:lnTo>
                  <a:lnTo>
                    <a:pt x="108" y="131"/>
                  </a:lnTo>
                  <a:lnTo>
                    <a:pt x="135" y="131"/>
                  </a:lnTo>
                  <a:lnTo>
                    <a:pt x="135" y="2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9" name="Freeform 128"/>
            <p:cNvSpPr>
              <a:spLocks/>
            </p:cNvSpPr>
            <p:nvPr userDrawn="1"/>
          </p:nvSpPr>
          <p:spPr bwMode="auto">
            <a:xfrm>
              <a:off x="1449388" y="6365876"/>
              <a:ext cx="73025" cy="90488"/>
            </a:xfrm>
            <a:custGeom>
              <a:avLst/>
              <a:gdLst>
                <a:gd name="T0" fmla="*/ 139 w 184"/>
                <a:gd name="T1" fmla="*/ 0 h 230"/>
                <a:gd name="T2" fmla="*/ 139 w 184"/>
                <a:gd name="T3" fmla="*/ 87 h 230"/>
                <a:gd name="T4" fmla="*/ 45 w 184"/>
                <a:gd name="T5" fmla="*/ 87 h 230"/>
                <a:gd name="T6" fmla="*/ 45 w 184"/>
                <a:gd name="T7" fmla="*/ 0 h 230"/>
                <a:gd name="T8" fmla="*/ 0 w 184"/>
                <a:gd name="T9" fmla="*/ 0 h 230"/>
                <a:gd name="T10" fmla="*/ 0 w 184"/>
                <a:gd name="T11" fmla="*/ 230 h 230"/>
                <a:gd name="T12" fmla="*/ 45 w 184"/>
                <a:gd name="T13" fmla="*/ 230 h 230"/>
                <a:gd name="T14" fmla="*/ 45 w 184"/>
                <a:gd name="T15" fmla="*/ 126 h 230"/>
                <a:gd name="T16" fmla="*/ 139 w 184"/>
                <a:gd name="T17" fmla="*/ 126 h 230"/>
                <a:gd name="T18" fmla="*/ 139 w 184"/>
                <a:gd name="T19" fmla="*/ 230 h 230"/>
                <a:gd name="T20" fmla="*/ 184 w 184"/>
                <a:gd name="T21" fmla="*/ 230 h 230"/>
                <a:gd name="T22" fmla="*/ 184 w 184"/>
                <a:gd name="T23" fmla="*/ 0 h 230"/>
                <a:gd name="T24" fmla="*/ 139 w 18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30">
                  <a:moveTo>
                    <a:pt x="139" y="0"/>
                  </a:moveTo>
                  <a:lnTo>
                    <a:pt x="139" y="87"/>
                  </a:lnTo>
                  <a:lnTo>
                    <a:pt x="45" y="87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5" y="230"/>
                  </a:lnTo>
                  <a:lnTo>
                    <a:pt x="45" y="126"/>
                  </a:lnTo>
                  <a:lnTo>
                    <a:pt x="139" y="126"/>
                  </a:lnTo>
                  <a:lnTo>
                    <a:pt x="139" y="230"/>
                  </a:lnTo>
                  <a:lnTo>
                    <a:pt x="184" y="230"/>
                  </a:lnTo>
                  <a:lnTo>
                    <a:pt x="184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0" name="Freeform 129"/>
            <p:cNvSpPr>
              <a:spLocks noEditPoints="1"/>
            </p:cNvSpPr>
            <p:nvPr userDrawn="1"/>
          </p:nvSpPr>
          <p:spPr bwMode="auto">
            <a:xfrm>
              <a:off x="1544638" y="6365876"/>
              <a:ext cx="100013" cy="90488"/>
            </a:xfrm>
            <a:custGeom>
              <a:avLst/>
              <a:gdLst>
                <a:gd name="T0" fmla="*/ 0 w 248"/>
                <a:gd name="T1" fmla="*/ 0 h 230"/>
                <a:gd name="T2" fmla="*/ 91 w 248"/>
                <a:gd name="T3" fmla="*/ 230 h 230"/>
                <a:gd name="T4" fmla="*/ 99 w 248"/>
                <a:gd name="T5" fmla="*/ 229 h 230"/>
                <a:gd name="T6" fmla="*/ 115 w 248"/>
                <a:gd name="T7" fmla="*/ 227 h 230"/>
                <a:gd name="T8" fmla="*/ 129 w 248"/>
                <a:gd name="T9" fmla="*/ 222 h 230"/>
                <a:gd name="T10" fmla="*/ 142 w 248"/>
                <a:gd name="T11" fmla="*/ 215 h 230"/>
                <a:gd name="T12" fmla="*/ 152 w 248"/>
                <a:gd name="T13" fmla="*/ 206 h 230"/>
                <a:gd name="T14" fmla="*/ 160 w 248"/>
                <a:gd name="T15" fmla="*/ 194 h 230"/>
                <a:gd name="T16" fmla="*/ 166 w 248"/>
                <a:gd name="T17" fmla="*/ 180 h 230"/>
                <a:gd name="T18" fmla="*/ 169 w 248"/>
                <a:gd name="T19" fmla="*/ 164 h 230"/>
                <a:gd name="T20" fmla="*/ 169 w 248"/>
                <a:gd name="T21" fmla="*/ 155 h 230"/>
                <a:gd name="T22" fmla="*/ 168 w 248"/>
                <a:gd name="T23" fmla="*/ 137 h 230"/>
                <a:gd name="T24" fmla="*/ 163 w 248"/>
                <a:gd name="T25" fmla="*/ 122 h 230"/>
                <a:gd name="T26" fmla="*/ 157 w 248"/>
                <a:gd name="T27" fmla="*/ 109 h 230"/>
                <a:gd name="T28" fmla="*/ 148 w 248"/>
                <a:gd name="T29" fmla="*/ 99 h 230"/>
                <a:gd name="T30" fmla="*/ 137 w 248"/>
                <a:gd name="T31" fmla="*/ 91 h 230"/>
                <a:gd name="T32" fmla="*/ 124 w 248"/>
                <a:gd name="T33" fmla="*/ 85 h 230"/>
                <a:gd name="T34" fmla="*/ 109 w 248"/>
                <a:gd name="T35" fmla="*/ 81 h 230"/>
                <a:gd name="T36" fmla="*/ 93 w 248"/>
                <a:gd name="T37" fmla="*/ 80 h 230"/>
                <a:gd name="T38" fmla="*/ 45 w 248"/>
                <a:gd name="T39" fmla="*/ 0 h 230"/>
                <a:gd name="T40" fmla="*/ 45 w 248"/>
                <a:gd name="T41" fmla="*/ 117 h 230"/>
                <a:gd name="T42" fmla="*/ 89 w 248"/>
                <a:gd name="T43" fmla="*/ 117 h 230"/>
                <a:gd name="T44" fmla="*/ 105 w 248"/>
                <a:gd name="T45" fmla="*/ 120 h 230"/>
                <a:gd name="T46" fmla="*/ 116 w 248"/>
                <a:gd name="T47" fmla="*/ 127 h 230"/>
                <a:gd name="T48" fmla="*/ 124 w 248"/>
                <a:gd name="T49" fmla="*/ 138 h 230"/>
                <a:gd name="T50" fmla="*/ 126 w 248"/>
                <a:gd name="T51" fmla="*/ 155 h 230"/>
                <a:gd name="T52" fmla="*/ 126 w 248"/>
                <a:gd name="T53" fmla="*/ 163 h 230"/>
                <a:gd name="T54" fmla="*/ 121 w 248"/>
                <a:gd name="T55" fmla="*/ 177 h 230"/>
                <a:gd name="T56" fmla="*/ 112 w 248"/>
                <a:gd name="T57" fmla="*/ 187 h 230"/>
                <a:gd name="T58" fmla="*/ 98 w 248"/>
                <a:gd name="T59" fmla="*/ 192 h 230"/>
                <a:gd name="T60" fmla="*/ 45 w 248"/>
                <a:gd name="T61" fmla="*/ 192 h 230"/>
                <a:gd name="T62" fmla="*/ 248 w 248"/>
                <a:gd name="T63" fmla="*/ 0 h 230"/>
                <a:gd name="T64" fmla="*/ 203 w 248"/>
                <a:gd name="T6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8" h="230">
                  <a:moveTo>
                    <a:pt x="45" y="0"/>
                  </a:moveTo>
                  <a:lnTo>
                    <a:pt x="0" y="0"/>
                  </a:lnTo>
                  <a:lnTo>
                    <a:pt x="0" y="230"/>
                  </a:lnTo>
                  <a:lnTo>
                    <a:pt x="91" y="230"/>
                  </a:lnTo>
                  <a:lnTo>
                    <a:pt x="91" y="230"/>
                  </a:lnTo>
                  <a:lnTo>
                    <a:pt x="99" y="229"/>
                  </a:lnTo>
                  <a:lnTo>
                    <a:pt x="107" y="228"/>
                  </a:lnTo>
                  <a:lnTo>
                    <a:pt x="115" y="227"/>
                  </a:lnTo>
                  <a:lnTo>
                    <a:pt x="122" y="225"/>
                  </a:lnTo>
                  <a:lnTo>
                    <a:pt x="129" y="222"/>
                  </a:lnTo>
                  <a:lnTo>
                    <a:pt x="136" y="219"/>
                  </a:lnTo>
                  <a:lnTo>
                    <a:pt x="142" y="215"/>
                  </a:lnTo>
                  <a:lnTo>
                    <a:pt x="147" y="211"/>
                  </a:lnTo>
                  <a:lnTo>
                    <a:pt x="152" y="206"/>
                  </a:lnTo>
                  <a:lnTo>
                    <a:pt x="157" y="200"/>
                  </a:lnTo>
                  <a:lnTo>
                    <a:pt x="160" y="194"/>
                  </a:lnTo>
                  <a:lnTo>
                    <a:pt x="163" y="187"/>
                  </a:lnTo>
                  <a:lnTo>
                    <a:pt x="166" y="180"/>
                  </a:lnTo>
                  <a:lnTo>
                    <a:pt x="168" y="172"/>
                  </a:lnTo>
                  <a:lnTo>
                    <a:pt x="169" y="164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46"/>
                  </a:lnTo>
                  <a:lnTo>
                    <a:pt x="168" y="137"/>
                  </a:lnTo>
                  <a:lnTo>
                    <a:pt x="166" y="129"/>
                  </a:lnTo>
                  <a:lnTo>
                    <a:pt x="163" y="122"/>
                  </a:lnTo>
                  <a:lnTo>
                    <a:pt x="160" y="115"/>
                  </a:lnTo>
                  <a:lnTo>
                    <a:pt x="157" y="109"/>
                  </a:lnTo>
                  <a:lnTo>
                    <a:pt x="152" y="104"/>
                  </a:lnTo>
                  <a:lnTo>
                    <a:pt x="148" y="99"/>
                  </a:lnTo>
                  <a:lnTo>
                    <a:pt x="142" y="94"/>
                  </a:lnTo>
                  <a:lnTo>
                    <a:pt x="137" y="91"/>
                  </a:lnTo>
                  <a:lnTo>
                    <a:pt x="130" y="88"/>
                  </a:lnTo>
                  <a:lnTo>
                    <a:pt x="124" y="85"/>
                  </a:lnTo>
                  <a:lnTo>
                    <a:pt x="117" y="83"/>
                  </a:lnTo>
                  <a:lnTo>
                    <a:pt x="109" y="81"/>
                  </a:lnTo>
                  <a:lnTo>
                    <a:pt x="101" y="81"/>
                  </a:lnTo>
                  <a:lnTo>
                    <a:pt x="93" y="80"/>
                  </a:lnTo>
                  <a:lnTo>
                    <a:pt x="45" y="80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7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8" y="118"/>
                  </a:lnTo>
                  <a:lnTo>
                    <a:pt x="105" y="120"/>
                  </a:lnTo>
                  <a:lnTo>
                    <a:pt x="111" y="123"/>
                  </a:lnTo>
                  <a:lnTo>
                    <a:pt x="116" y="127"/>
                  </a:lnTo>
                  <a:lnTo>
                    <a:pt x="121" y="132"/>
                  </a:lnTo>
                  <a:lnTo>
                    <a:pt x="124" y="138"/>
                  </a:lnTo>
                  <a:lnTo>
                    <a:pt x="126" y="14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63"/>
                  </a:lnTo>
                  <a:lnTo>
                    <a:pt x="124" y="171"/>
                  </a:lnTo>
                  <a:lnTo>
                    <a:pt x="121" y="177"/>
                  </a:lnTo>
                  <a:lnTo>
                    <a:pt x="117" y="182"/>
                  </a:lnTo>
                  <a:lnTo>
                    <a:pt x="112" y="187"/>
                  </a:lnTo>
                  <a:lnTo>
                    <a:pt x="106" y="190"/>
                  </a:lnTo>
                  <a:lnTo>
                    <a:pt x="98" y="192"/>
                  </a:lnTo>
                  <a:lnTo>
                    <a:pt x="89" y="192"/>
                  </a:lnTo>
                  <a:lnTo>
                    <a:pt x="45" y="192"/>
                  </a:lnTo>
                  <a:close/>
                  <a:moveTo>
                    <a:pt x="248" y="230"/>
                  </a:moveTo>
                  <a:lnTo>
                    <a:pt x="248" y="0"/>
                  </a:lnTo>
                  <a:lnTo>
                    <a:pt x="203" y="0"/>
                  </a:lnTo>
                  <a:lnTo>
                    <a:pt x="203" y="230"/>
                  </a:lnTo>
                  <a:lnTo>
                    <a:pt x="248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1" name="Freeform 130"/>
            <p:cNvSpPr>
              <a:spLocks noEditPoints="1"/>
            </p:cNvSpPr>
            <p:nvPr userDrawn="1"/>
          </p:nvSpPr>
          <p:spPr bwMode="auto">
            <a:xfrm>
              <a:off x="1662113" y="6362701"/>
              <a:ext cx="77788" cy="95250"/>
            </a:xfrm>
            <a:custGeom>
              <a:avLst/>
              <a:gdLst>
                <a:gd name="T0" fmla="*/ 196 w 196"/>
                <a:gd name="T1" fmla="*/ 114 h 239"/>
                <a:gd name="T2" fmla="*/ 195 w 196"/>
                <a:gd name="T3" fmla="*/ 92 h 239"/>
                <a:gd name="T4" fmla="*/ 190 w 196"/>
                <a:gd name="T5" fmla="*/ 70 h 239"/>
                <a:gd name="T6" fmla="*/ 183 w 196"/>
                <a:gd name="T7" fmla="*/ 51 h 239"/>
                <a:gd name="T8" fmla="*/ 173 w 196"/>
                <a:gd name="T9" fmla="*/ 34 h 239"/>
                <a:gd name="T10" fmla="*/ 159 w 196"/>
                <a:gd name="T11" fmla="*/ 20 h 239"/>
                <a:gd name="T12" fmla="*/ 143 w 196"/>
                <a:gd name="T13" fmla="*/ 9 h 239"/>
                <a:gd name="T14" fmla="*/ 123 w 196"/>
                <a:gd name="T15" fmla="*/ 2 h 239"/>
                <a:gd name="T16" fmla="*/ 100 w 196"/>
                <a:gd name="T17" fmla="*/ 0 h 239"/>
                <a:gd name="T18" fmla="*/ 89 w 196"/>
                <a:gd name="T19" fmla="*/ 0 h 239"/>
                <a:gd name="T20" fmla="*/ 69 w 196"/>
                <a:gd name="T21" fmla="*/ 4 h 239"/>
                <a:gd name="T22" fmla="*/ 51 w 196"/>
                <a:gd name="T23" fmla="*/ 12 h 239"/>
                <a:gd name="T24" fmla="*/ 35 w 196"/>
                <a:gd name="T25" fmla="*/ 23 h 239"/>
                <a:gd name="T26" fmla="*/ 21 w 196"/>
                <a:gd name="T27" fmla="*/ 38 h 239"/>
                <a:gd name="T28" fmla="*/ 11 w 196"/>
                <a:gd name="T29" fmla="*/ 57 h 239"/>
                <a:gd name="T30" fmla="*/ 4 w 196"/>
                <a:gd name="T31" fmla="*/ 79 h 239"/>
                <a:gd name="T32" fmla="*/ 0 w 196"/>
                <a:gd name="T33" fmla="*/ 105 h 239"/>
                <a:gd name="T34" fmla="*/ 0 w 196"/>
                <a:gd name="T35" fmla="*/ 119 h 239"/>
                <a:gd name="T36" fmla="*/ 2 w 196"/>
                <a:gd name="T37" fmla="*/ 147 h 239"/>
                <a:gd name="T38" fmla="*/ 8 w 196"/>
                <a:gd name="T39" fmla="*/ 173 h 239"/>
                <a:gd name="T40" fmla="*/ 18 w 196"/>
                <a:gd name="T41" fmla="*/ 193 h 239"/>
                <a:gd name="T42" fmla="*/ 30 w 196"/>
                <a:gd name="T43" fmla="*/ 209 h 239"/>
                <a:gd name="T44" fmla="*/ 36 w 196"/>
                <a:gd name="T45" fmla="*/ 215 h 239"/>
                <a:gd name="T46" fmla="*/ 51 w 196"/>
                <a:gd name="T47" fmla="*/ 226 h 239"/>
                <a:gd name="T48" fmla="*/ 68 w 196"/>
                <a:gd name="T49" fmla="*/ 234 h 239"/>
                <a:gd name="T50" fmla="*/ 88 w 196"/>
                <a:gd name="T51" fmla="*/ 239 h 239"/>
                <a:gd name="T52" fmla="*/ 99 w 196"/>
                <a:gd name="T53" fmla="*/ 239 h 239"/>
                <a:gd name="T54" fmla="*/ 124 w 196"/>
                <a:gd name="T55" fmla="*/ 237 h 239"/>
                <a:gd name="T56" fmla="*/ 145 w 196"/>
                <a:gd name="T57" fmla="*/ 231 h 239"/>
                <a:gd name="T58" fmla="*/ 153 w 196"/>
                <a:gd name="T59" fmla="*/ 227 h 239"/>
                <a:gd name="T60" fmla="*/ 169 w 196"/>
                <a:gd name="T61" fmla="*/ 217 h 239"/>
                <a:gd name="T62" fmla="*/ 151 w 196"/>
                <a:gd name="T63" fmla="*/ 180 h 239"/>
                <a:gd name="T64" fmla="*/ 139 w 196"/>
                <a:gd name="T65" fmla="*/ 188 h 239"/>
                <a:gd name="T66" fmla="*/ 128 w 196"/>
                <a:gd name="T67" fmla="*/ 194 h 239"/>
                <a:gd name="T68" fmla="*/ 115 w 196"/>
                <a:gd name="T69" fmla="*/ 197 h 239"/>
                <a:gd name="T70" fmla="*/ 101 w 196"/>
                <a:gd name="T71" fmla="*/ 199 h 239"/>
                <a:gd name="T72" fmla="*/ 91 w 196"/>
                <a:gd name="T73" fmla="*/ 198 h 239"/>
                <a:gd name="T74" fmla="*/ 72 w 196"/>
                <a:gd name="T75" fmla="*/ 191 h 239"/>
                <a:gd name="T76" fmla="*/ 57 w 196"/>
                <a:gd name="T77" fmla="*/ 175 h 239"/>
                <a:gd name="T78" fmla="*/ 47 w 196"/>
                <a:gd name="T79" fmla="*/ 151 h 239"/>
                <a:gd name="T80" fmla="*/ 195 w 196"/>
                <a:gd name="T81" fmla="*/ 135 h 239"/>
                <a:gd name="T82" fmla="*/ 196 w 196"/>
                <a:gd name="T83" fmla="*/ 126 h 239"/>
                <a:gd name="T84" fmla="*/ 196 w 196"/>
                <a:gd name="T85" fmla="*/ 114 h 239"/>
                <a:gd name="T86" fmla="*/ 45 w 196"/>
                <a:gd name="T87" fmla="*/ 98 h 239"/>
                <a:gd name="T88" fmla="*/ 50 w 196"/>
                <a:gd name="T89" fmla="*/ 73 h 239"/>
                <a:gd name="T90" fmla="*/ 61 w 196"/>
                <a:gd name="T91" fmla="*/ 55 h 239"/>
                <a:gd name="T92" fmla="*/ 76 w 196"/>
                <a:gd name="T93" fmla="*/ 44 h 239"/>
                <a:gd name="T94" fmla="*/ 97 w 196"/>
                <a:gd name="T95" fmla="*/ 40 h 239"/>
                <a:gd name="T96" fmla="*/ 104 w 196"/>
                <a:gd name="T97" fmla="*/ 41 h 239"/>
                <a:gd name="T98" fmla="*/ 116 w 196"/>
                <a:gd name="T99" fmla="*/ 43 h 239"/>
                <a:gd name="T100" fmla="*/ 126 w 196"/>
                <a:gd name="T101" fmla="*/ 47 h 239"/>
                <a:gd name="T102" fmla="*/ 137 w 196"/>
                <a:gd name="T103" fmla="*/ 57 h 239"/>
                <a:gd name="T104" fmla="*/ 147 w 196"/>
                <a:gd name="T105" fmla="*/ 76 h 239"/>
                <a:gd name="T106" fmla="*/ 151 w 196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239">
                  <a:moveTo>
                    <a:pt x="196" y="114"/>
                  </a:moveTo>
                  <a:lnTo>
                    <a:pt x="196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0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1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0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8" y="173"/>
                  </a:lnTo>
                  <a:lnTo>
                    <a:pt x="13" y="184"/>
                  </a:lnTo>
                  <a:lnTo>
                    <a:pt x="18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1" y="222"/>
                  </a:lnTo>
                  <a:lnTo>
                    <a:pt x="169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5" y="197"/>
                  </a:lnTo>
                  <a:lnTo>
                    <a:pt x="109" y="198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1" y="198"/>
                  </a:lnTo>
                  <a:lnTo>
                    <a:pt x="81" y="195"/>
                  </a:lnTo>
                  <a:lnTo>
                    <a:pt x="72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6" y="114"/>
                  </a:lnTo>
                  <a:lnTo>
                    <a:pt x="196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6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2" name="Freeform 131"/>
            <p:cNvSpPr>
              <a:spLocks/>
            </p:cNvSpPr>
            <p:nvPr userDrawn="1"/>
          </p:nvSpPr>
          <p:spPr bwMode="auto">
            <a:xfrm>
              <a:off x="1793875" y="6362701"/>
              <a:ext cx="71438" cy="95250"/>
            </a:xfrm>
            <a:custGeom>
              <a:avLst/>
              <a:gdLst>
                <a:gd name="T0" fmla="*/ 92 w 177"/>
                <a:gd name="T1" fmla="*/ 131 h 239"/>
                <a:gd name="T2" fmla="*/ 117 w 177"/>
                <a:gd name="T3" fmla="*/ 137 h 239"/>
                <a:gd name="T4" fmla="*/ 129 w 177"/>
                <a:gd name="T5" fmla="*/ 153 h 239"/>
                <a:gd name="T6" fmla="*/ 132 w 177"/>
                <a:gd name="T7" fmla="*/ 166 h 239"/>
                <a:gd name="T8" fmla="*/ 126 w 177"/>
                <a:gd name="T9" fmla="*/ 185 h 239"/>
                <a:gd name="T10" fmla="*/ 106 w 177"/>
                <a:gd name="T11" fmla="*/ 198 h 239"/>
                <a:gd name="T12" fmla="*/ 85 w 177"/>
                <a:gd name="T13" fmla="*/ 201 h 239"/>
                <a:gd name="T14" fmla="*/ 60 w 177"/>
                <a:gd name="T15" fmla="*/ 197 h 239"/>
                <a:gd name="T16" fmla="*/ 36 w 177"/>
                <a:gd name="T17" fmla="*/ 187 h 239"/>
                <a:gd name="T18" fmla="*/ 0 w 177"/>
                <a:gd name="T19" fmla="*/ 210 h 239"/>
                <a:gd name="T20" fmla="*/ 18 w 177"/>
                <a:gd name="T21" fmla="*/ 222 h 239"/>
                <a:gd name="T22" fmla="*/ 49 w 177"/>
                <a:gd name="T23" fmla="*/ 235 h 239"/>
                <a:gd name="T24" fmla="*/ 83 w 177"/>
                <a:gd name="T25" fmla="*/ 239 h 239"/>
                <a:gd name="T26" fmla="*/ 106 w 177"/>
                <a:gd name="T27" fmla="*/ 238 h 239"/>
                <a:gd name="T28" fmla="*/ 133 w 177"/>
                <a:gd name="T29" fmla="*/ 231 h 239"/>
                <a:gd name="T30" fmla="*/ 154 w 177"/>
                <a:gd name="T31" fmla="*/ 218 h 239"/>
                <a:gd name="T32" fmla="*/ 168 w 177"/>
                <a:gd name="T33" fmla="*/ 202 h 239"/>
                <a:gd name="T34" fmla="*/ 175 w 177"/>
                <a:gd name="T35" fmla="*/ 182 h 239"/>
                <a:gd name="T36" fmla="*/ 177 w 177"/>
                <a:gd name="T37" fmla="*/ 168 h 239"/>
                <a:gd name="T38" fmla="*/ 168 w 177"/>
                <a:gd name="T39" fmla="*/ 137 h 239"/>
                <a:gd name="T40" fmla="*/ 148 w 177"/>
                <a:gd name="T41" fmla="*/ 118 h 239"/>
                <a:gd name="T42" fmla="*/ 133 w 177"/>
                <a:gd name="T43" fmla="*/ 112 h 239"/>
                <a:gd name="T44" fmla="*/ 154 w 177"/>
                <a:gd name="T45" fmla="*/ 99 h 239"/>
                <a:gd name="T46" fmla="*/ 167 w 177"/>
                <a:gd name="T47" fmla="*/ 80 h 239"/>
                <a:gd name="T48" fmla="*/ 170 w 177"/>
                <a:gd name="T49" fmla="*/ 64 h 239"/>
                <a:gd name="T50" fmla="*/ 167 w 177"/>
                <a:gd name="T51" fmla="*/ 45 h 239"/>
                <a:gd name="T52" fmla="*/ 158 w 177"/>
                <a:gd name="T53" fmla="*/ 28 h 239"/>
                <a:gd name="T54" fmla="*/ 144 w 177"/>
                <a:gd name="T55" fmla="*/ 15 h 239"/>
                <a:gd name="T56" fmla="*/ 123 w 177"/>
                <a:gd name="T57" fmla="*/ 5 h 239"/>
                <a:gd name="T58" fmla="*/ 95 w 177"/>
                <a:gd name="T59" fmla="*/ 0 h 239"/>
                <a:gd name="T60" fmla="*/ 74 w 177"/>
                <a:gd name="T61" fmla="*/ 0 h 239"/>
                <a:gd name="T62" fmla="*/ 43 w 177"/>
                <a:gd name="T63" fmla="*/ 7 h 239"/>
                <a:gd name="T64" fmla="*/ 15 w 177"/>
                <a:gd name="T65" fmla="*/ 20 h 239"/>
                <a:gd name="T66" fmla="*/ 27 w 177"/>
                <a:gd name="T67" fmla="*/ 60 h 239"/>
                <a:gd name="T68" fmla="*/ 56 w 177"/>
                <a:gd name="T69" fmla="*/ 44 h 239"/>
                <a:gd name="T70" fmla="*/ 79 w 177"/>
                <a:gd name="T71" fmla="*/ 39 h 239"/>
                <a:gd name="T72" fmla="*/ 96 w 177"/>
                <a:gd name="T73" fmla="*/ 39 h 239"/>
                <a:gd name="T74" fmla="*/ 116 w 177"/>
                <a:gd name="T75" fmla="*/ 47 h 239"/>
                <a:gd name="T76" fmla="*/ 125 w 177"/>
                <a:gd name="T77" fmla="*/ 62 h 239"/>
                <a:gd name="T78" fmla="*/ 125 w 177"/>
                <a:gd name="T79" fmla="*/ 72 h 239"/>
                <a:gd name="T80" fmla="*/ 117 w 177"/>
                <a:gd name="T81" fmla="*/ 86 h 239"/>
                <a:gd name="T82" fmla="*/ 99 w 177"/>
                <a:gd name="T83" fmla="*/ 94 h 239"/>
                <a:gd name="T84" fmla="*/ 61 w 177"/>
                <a:gd name="T85" fmla="*/ 13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7" h="239">
                  <a:moveTo>
                    <a:pt x="61" y="131"/>
                  </a:moveTo>
                  <a:lnTo>
                    <a:pt x="92" y="131"/>
                  </a:lnTo>
                  <a:lnTo>
                    <a:pt x="92" y="131"/>
                  </a:lnTo>
                  <a:lnTo>
                    <a:pt x="102" y="132"/>
                  </a:lnTo>
                  <a:lnTo>
                    <a:pt x="110" y="134"/>
                  </a:lnTo>
                  <a:lnTo>
                    <a:pt x="117" y="137"/>
                  </a:lnTo>
                  <a:lnTo>
                    <a:pt x="122" y="142"/>
                  </a:lnTo>
                  <a:lnTo>
                    <a:pt x="126" y="147"/>
                  </a:lnTo>
                  <a:lnTo>
                    <a:pt x="129" y="153"/>
                  </a:lnTo>
                  <a:lnTo>
                    <a:pt x="131" y="159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1" y="173"/>
                  </a:lnTo>
                  <a:lnTo>
                    <a:pt x="129" y="179"/>
                  </a:lnTo>
                  <a:lnTo>
                    <a:pt x="126" y="185"/>
                  </a:lnTo>
                  <a:lnTo>
                    <a:pt x="121" y="190"/>
                  </a:lnTo>
                  <a:lnTo>
                    <a:pt x="114" y="194"/>
                  </a:lnTo>
                  <a:lnTo>
                    <a:pt x="106" y="198"/>
                  </a:lnTo>
                  <a:lnTo>
                    <a:pt x="96" y="200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77" y="200"/>
                  </a:lnTo>
                  <a:lnTo>
                    <a:pt x="69" y="199"/>
                  </a:lnTo>
                  <a:lnTo>
                    <a:pt x="60" y="197"/>
                  </a:lnTo>
                  <a:lnTo>
                    <a:pt x="52" y="194"/>
                  </a:lnTo>
                  <a:lnTo>
                    <a:pt x="44" y="191"/>
                  </a:lnTo>
                  <a:lnTo>
                    <a:pt x="36" y="187"/>
                  </a:lnTo>
                  <a:lnTo>
                    <a:pt x="28" y="182"/>
                  </a:lnTo>
                  <a:lnTo>
                    <a:pt x="20" y="17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8" y="216"/>
                  </a:lnTo>
                  <a:lnTo>
                    <a:pt x="18" y="222"/>
                  </a:lnTo>
                  <a:lnTo>
                    <a:pt x="28" y="227"/>
                  </a:lnTo>
                  <a:lnTo>
                    <a:pt x="38" y="231"/>
                  </a:lnTo>
                  <a:lnTo>
                    <a:pt x="49" y="235"/>
                  </a:lnTo>
                  <a:lnTo>
                    <a:pt x="60" y="237"/>
                  </a:lnTo>
                  <a:lnTo>
                    <a:pt x="72" y="239"/>
                  </a:lnTo>
                  <a:lnTo>
                    <a:pt x="83" y="239"/>
                  </a:lnTo>
                  <a:lnTo>
                    <a:pt x="83" y="239"/>
                  </a:lnTo>
                  <a:lnTo>
                    <a:pt x="95" y="239"/>
                  </a:lnTo>
                  <a:lnTo>
                    <a:pt x="106" y="238"/>
                  </a:lnTo>
                  <a:lnTo>
                    <a:pt x="116" y="236"/>
                  </a:lnTo>
                  <a:lnTo>
                    <a:pt x="125" y="234"/>
                  </a:lnTo>
                  <a:lnTo>
                    <a:pt x="133" y="231"/>
                  </a:lnTo>
                  <a:lnTo>
                    <a:pt x="141" y="227"/>
                  </a:lnTo>
                  <a:lnTo>
                    <a:pt x="148" y="223"/>
                  </a:lnTo>
                  <a:lnTo>
                    <a:pt x="154" y="218"/>
                  </a:lnTo>
                  <a:lnTo>
                    <a:pt x="159" y="213"/>
                  </a:lnTo>
                  <a:lnTo>
                    <a:pt x="164" y="208"/>
                  </a:lnTo>
                  <a:lnTo>
                    <a:pt x="168" y="202"/>
                  </a:lnTo>
                  <a:lnTo>
                    <a:pt x="171" y="196"/>
                  </a:lnTo>
                  <a:lnTo>
                    <a:pt x="173" y="189"/>
                  </a:lnTo>
                  <a:lnTo>
                    <a:pt x="175" y="182"/>
                  </a:lnTo>
                  <a:lnTo>
                    <a:pt x="176" y="175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76" y="157"/>
                  </a:lnTo>
                  <a:lnTo>
                    <a:pt x="173" y="145"/>
                  </a:lnTo>
                  <a:lnTo>
                    <a:pt x="168" y="137"/>
                  </a:lnTo>
                  <a:lnTo>
                    <a:pt x="162" y="129"/>
                  </a:lnTo>
                  <a:lnTo>
                    <a:pt x="156" y="123"/>
                  </a:lnTo>
                  <a:lnTo>
                    <a:pt x="148" y="118"/>
                  </a:lnTo>
                  <a:lnTo>
                    <a:pt x="141" y="114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41" y="108"/>
                  </a:lnTo>
                  <a:lnTo>
                    <a:pt x="148" y="104"/>
                  </a:lnTo>
                  <a:lnTo>
                    <a:pt x="154" y="99"/>
                  </a:lnTo>
                  <a:lnTo>
                    <a:pt x="159" y="94"/>
                  </a:lnTo>
                  <a:lnTo>
                    <a:pt x="164" y="88"/>
                  </a:lnTo>
                  <a:lnTo>
                    <a:pt x="167" y="80"/>
                  </a:lnTo>
                  <a:lnTo>
                    <a:pt x="169" y="73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69" y="57"/>
                  </a:lnTo>
                  <a:lnTo>
                    <a:pt x="168" y="51"/>
                  </a:lnTo>
                  <a:lnTo>
                    <a:pt x="167" y="45"/>
                  </a:lnTo>
                  <a:lnTo>
                    <a:pt x="165" y="39"/>
                  </a:lnTo>
                  <a:lnTo>
                    <a:pt x="162" y="34"/>
                  </a:lnTo>
                  <a:lnTo>
                    <a:pt x="158" y="28"/>
                  </a:lnTo>
                  <a:lnTo>
                    <a:pt x="154" y="23"/>
                  </a:lnTo>
                  <a:lnTo>
                    <a:pt x="149" y="19"/>
                  </a:lnTo>
                  <a:lnTo>
                    <a:pt x="144" y="15"/>
                  </a:lnTo>
                  <a:lnTo>
                    <a:pt x="138" y="11"/>
                  </a:lnTo>
                  <a:lnTo>
                    <a:pt x="131" y="8"/>
                  </a:lnTo>
                  <a:lnTo>
                    <a:pt x="123" y="5"/>
                  </a:lnTo>
                  <a:lnTo>
                    <a:pt x="114" y="3"/>
                  </a:lnTo>
                  <a:lnTo>
                    <a:pt x="105" y="1"/>
                  </a:lnTo>
                  <a:lnTo>
                    <a:pt x="9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3" y="2"/>
                  </a:lnTo>
                  <a:lnTo>
                    <a:pt x="53" y="4"/>
                  </a:lnTo>
                  <a:lnTo>
                    <a:pt x="43" y="7"/>
                  </a:lnTo>
                  <a:lnTo>
                    <a:pt x="33" y="11"/>
                  </a:lnTo>
                  <a:lnTo>
                    <a:pt x="24" y="15"/>
                  </a:lnTo>
                  <a:lnTo>
                    <a:pt x="15" y="20"/>
                  </a:lnTo>
                  <a:lnTo>
                    <a:pt x="7" y="25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41" y="50"/>
                  </a:lnTo>
                  <a:lnTo>
                    <a:pt x="48" y="47"/>
                  </a:lnTo>
                  <a:lnTo>
                    <a:pt x="56" y="44"/>
                  </a:lnTo>
                  <a:lnTo>
                    <a:pt x="63" y="42"/>
                  </a:lnTo>
                  <a:lnTo>
                    <a:pt x="71" y="40"/>
                  </a:lnTo>
                  <a:lnTo>
                    <a:pt x="79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96" y="39"/>
                  </a:lnTo>
                  <a:lnTo>
                    <a:pt x="104" y="41"/>
                  </a:lnTo>
                  <a:lnTo>
                    <a:pt x="111" y="44"/>
                  </a:lnTo>
                  <a:lnTo>
                    <a:pt x="116" y="47"/>
                  </a:lnTo>
                  <a:lnTo>
                    <a:pt x="120" y="52"/>
                  </a:lnTo>
                  <a:lnTo>
                    <a:pt x="123" y="56"/>
                  </a:lnTo>
                  <a:lnTo>
                    <a:pt x="125" y="62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5" y="72"/>
                  </a:lnTo>
                  <a:lnTo>
                    <a:pt x="124" y="77"/>
                  </a:lnTo>
                  <a:lnTo>
                    <a:pt x="121" y="82"/>
                  </a:lnTo>
                  <a:lnTo>
                    <a:pt x="117" y="86"/>
                  </a:lnTo>
                  <a:lnTo>
                    <a:pt x="112" y="89"/>
                  </a:lnTo>
                  <a:lnTo>
                    <a:pt x="106" y="92"/>
                  </a:lnTo>
                  <a:lnTo>
                    <a:pt x="99" y="94"/>
                  </a:lnTo>
                  <a:lnTo>
                    <a:pt x="90" y="94"/>
                  </a:lnTo>
                  <a:lnTo>
                    <a:pt x="61" y="94"/>
                  </a:lnTo>
                  <a:lnTo>
                    <a:pt x="61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3" name="Freeform 132"/>
            <p:cNvSpPr>
              <a:spLocks noEditPoints="1"/>
            </p:cNvSpPr>
            <p:nvPr userDrawn="1"/>
          </p:nvSpPr>
          <p:spPr bwMode="auto">
            <a:xfrm>
              <a:off x="1878013" y="6362701"/>
              <a:ext cx="74613" cy="95250"/>
            </a:xfrm>
            <a:custGeom>
              <a:avLst/>
              <a:gdLst>
                <a:gd name="T0" fmla="*/ 187 w 187"/>
                <a:gd name="T1" fmla="*/ 77 h 239"/>
                <a:gd name="T2" fmla="*/ 186 w 187"/>
                <a:gd name="T3" fmla="*/ 67 h 239"/>
                <a:gd name="T4" fmla="*/ 183 w 187"/>
                <a:gd name="T5" fmla="*/ 50 h 239"/>
                <a:gd name="T6" fmla="*/ 177 w 187"/>
                <a:gd name="T7" fmla="*/ 36 h 239"/>
                <a:gd name="T8" fmla="*/ 168 w 187"/>
                <a:gd name="T9" fmla="*/ 24 h 239"/>
                <a:gd name="T10" fmla="*/ 156 w 187"/>
                <a:gd name="T11" fmla="*/ 14 h 239"/>
                <a:gd name="T12" fmla="*/ 143 w 187"/>
                <a:gd name="T13" fmla="*/ 7 h 239"/>
                <a:gd name="T14" fmla="*/ 127 w 187"/>
                <a:gd name="T15" fmla="*/ 2 h 239"/>
                <a:gd name="T16" fmla="*/ 109 w 187"/>
                <a:gd name="T17" fmla="*/ 0 h 239"/>
                <a:gd name="T18" fmla="*/ 100 w 187"/>
                <a:gd name="T19" fmla="*/ 0 h 239"/>
                <a:gd name="T20" fmla="*/ 77 w 187"/>
                <a:gd name="T21" fmla="*/ 1 h 239"/>
                <a:gd name="T22" fmla="*/ 57 w 187"/>
                <a:gd name="T23" fmla="*/ 5 h 239"/>
                <a:gd name="T24" fmla="*/ 38 w 187"/>
                <a:gd name="T25" fmla="*/ 11 h 239"/>
                <a:gd name="T26" fmla="*/ 22 w 187"/>
                <a:gd name="T27" fmla="*/ 20 h 239"/>
                <a:gd name="T28" fmla="*/ 39 w 187"/>
                <a:gd name="T29" fmla="*/ 54 h 239"/>
                <a:gd name="T30" fmla="*/ 67 w 187"/>
                <a:gd name="T31" fmla="*/ 43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1 w 187"/>
                <a:gd name="T41" fmla="*/ 70 h 239"/>
                <a:gd name="T42" fmla="*/ 142 w 187"/>
                <a:gd name="T43" fmla="*/ 96 h 239"/>
                <a:gd name="T44" fmla="*/ 133 w 187"/>
                <a:gd name="T45" fmla="*/ 92 h 239"/>
                <a:gd name="T46" fmla="*/ 107 w 187"/>
                <a:gd name="T47" fmla="*/ 88 h 239"/>
                <a:gd name="T48" fmla="*/ 91 w 187"/>
                <a:gd name="T49" fmla="*/ 87 h 239"/>
                <a:gd name="T50" fmla="*/ 63 w 187"/>
                <a:gd name="T51" fmla="*/ 89 h 239"/>
                <a:gd name="T52" fmla="*/ 47 w 187"/>
                <a:gd name="T53" fmla="*/ 94 h 239"/>
                <a:gd name="T54" fmla="*/ 32 w 187"/>
                <a:gd name="T55" fmla="*/ 101 h 239"/>
                <a:gd name="T56" fmla="*/ 20 w 187"/>
                <a:gd name="T57" fmla="*/ 110 h 239"/>
                <a:gd name="T58" fmla="*/ 10 w 187"/>
                <a:gd name="T59" fmla="*/ 121 h 239"/>
                <a:gd name="T60" fmla="*/ 4 w 187"/>
                <a:gd name="T61" fmla="*/ 135 h 239"/>
                <a:gd name="T62" fmla="*/ 0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5 w 187"/>
                <a:gd name="T73" fmla="*/ 222 h 239"/>
                <a:gd name="T74" fmla="*/ 38 w 187"/>
                <a:gd name="T75" fmla="*/ 230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9 h 239"/>
                <a:gd name="T82" fmla="*/ 108 w 187"/>
                <a:gd name="T83" fmla="*/ 234 h 239"/>
                <a:gd name="T84" fmla="*/ 115 w 187"/>
                <a:gd name="T85" fmla="*/ 231 h 239"/>
                <a:gd name="T86" fmla="*/ 134 w 187"/>
                <a:gd name="T87" fmla="*/ 219 h 239"/>
                <a:gd name="T88" fmla="*/ 142 w 187"/>
                <a:gd name="T89" fmla="*/ 235 h 239"/>
                <a:gd name="T90" fmla="*/ 142 w 187"/>
                <a:gd name="T91" fmla="*/ 170 h 239"/>
                <a:gd name="T92" fmla="*/ 138 w 187"/>
                <a:gd name="T93" fmla="*/ 175 h 239"/>
                <a:gd name="T94" fmla="*/ 126 w 187"/>
                <a:gd name="T95" fmla="*/ 185 h 239"/>
                <a:gd name="T96" fmla="*/ 112 w 187"/>
                <a:gd name="T97" fmla="*/ 193 h 239"/>
                <a:gd name="T98" fmla="*/ 95 w 187"/>
                <a:gd name="T99" fmla="*/ 198 h 239"/>
                <a:gd name="T100" fmla="*/ 86 w 187"/>
                <a:gd name="T101" fmla="*/ 199 h 239"/>
                <a:gd name="T102" fmla="*/ 68 w 187"/>
                <a:gd name="T103" fmla="*/ 196 h 239"/>
                <a:gd name="T104" fmla="*/ 55 w 187"/>
                <a:gd name="T105" fmla="*/ 190 h 239"/>
                <a:gd name="T106" fmla="*/ 50 w 187"/>
                <a:gd name="T107" fmla="*/ 185 h 239"/>
                <a:gd name="T108" fmla="*/ 43 w 187"/>
                <a:gd name="T109" fmla="*/ 170 h 239"/>
                <a:gd name="T110" fmla="*/ 42 w 187"/>
                <a:gd name="T111" fmla="*/ 161 h 239"/>
                <a:gd name="T112" fmla="*/ 46 w 187"/>
                <a:gd name="T113" fmla="*/ 146 h 239"/>
                <a:gd name="T114" fmla="*/ 55 w 187"/>
                <a:gd name="T115" fmla="*/ 135 h 239"/>
                <a:gd name="T116" fmla="*/ 70 w 187"/>
                <a:gd name="T117" fmla="*/ 128 h 239"/>
                <a:gd name="T118" fmla="*/ 90 w 187"/>
                <a:gd name="T119" fmla="*/ 126 h 239"/>
                <a:gd name="T120" fmla="*/ 106 w 187"/>
                <a:gd name="T121" fmla="*/ 126 h 239"/>
                <a:gd name="T122" fmla="*/ 120 w 187"/>
                <a:gd name="T123" fmla="*/ 128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6" y="67"/>
                  </a:lnTo>
                  <a:lnTo>
                    <a:pt x="185" y="58"/>
                  </a:lnTo>
                  <a:lnTo>
                    <a:pt x="183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8" y="24"/>
                  </a:lnTo>
                  <a:lnTo>
                    <a:pt x="163" y="19"/>
                  </a:lnTo>
                  <a:lnTo>
                    <a:pt x="156" y="14"/>
                  </a:lnTo>
                  <a:lnTo>
                    <a:pt x="150" y="10"/>
                  </a:lnTo>
                  <a:lnTo>
                    <a:pt x="143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2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3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7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6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8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7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8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7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6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4" name="Freeform 133"/>
            <p:cNvSpPr>
              <a:spLocks noEditPoints="1"/>
            </p:cNvSpPr>
            <p:nvPr userDrawn="1"/>
          </p:nvSpPr>
          <p:spPr bwMode="auto">
            <a:xfrm>
              <a:off x="1962150" y="6365876"/>
              <a:ext cx="95250" cy="114300"/>
            </a:xfrm>
            <a:custGeom>
              <a:avLst/>
              <a:gdLst>
                <a:gd name="T0" fmla="*/ 52 w 238"/>
                <a:gd name="T1" fmla="*/ 0 h 291"/>
                <a:gd name="T2" fmla="*/ 46 w 238"/>
                <a:gd name="T3" fmla="*/ 87 h 291"/>
                <a:gd name="T4" fmla="*/ 46 w 238"/>
                <a:gd name="T5" fmla="*/ 87 h 291"/>
                <a:gd name="T6" fmla="*/ 44 w 238"/>
                <a:gd name="T7" fmla="*/ 105 h 291"/>
                <a:gd name="T8" fmla="*/ 41 w 238"/>
                <a:gd name="T9" fmla="*/ 120 h 291"/>
                <a:gd name="T10" fmla="*/ 38 w 238"/>
                <a:gd name="T11" fmla="*/ 135 h 291"/>
                <a:gd name="T12" fmla="*/ 35 w 238"/>
                <a:gd name="T13" fmla="*/ 149 h 291"/>
                <a:gd name="T14" fmla="*/ 27 w 238"/>
                <a:gd name="T15" fmla="*/ 172 h 291"/>
                <a:gd name="T16" fmla="*/ 20 w 238"/>
                <a:gd name="T17" fmla="*/ 190 h 291"/>
                <a:gd name="T18" fmla="*/ 0 w 238"/>
                <a:gd name="T19" fmla="*/ 190 h 291"/>
                <a:gd name="T20" fmla="*/ 0 w 238"/>
                <a:gd name="T21" fmla="*/ 291 h 291"/>
                <a:gd name="T22" fmla="*/ 42 w 238"/>
                <a:gd name="T23" fmla="*/ 270 h 291"/>
                <a:gd name="T24" fmla="*/ 42 w 238"/>
                <a:gd name="T25" fmla="*/ 230 h 291"/>
                <a:gd name="T26" fmla="*/ 196 w 238"/>
                <a:gd name="T27" fmla="*/ 230 h 291"/>
                <a:gd name="T28" fmla="*/ 196 w 238"/>
                <a:gd name="T29" fmla="*/ 291 h 291"/>
                <a:gd name="T30" fmla="*/ 238 w 238"/>
                <a:gd name="T31" fmla="*/ 270 h 291"/>
                <a:gd name="T32" fmla="*/ 238 w 238"/>
                <a:gd name="T33" fmla="*/ 190 h 291"/>
                <a:gd name="T34" fmla="*/ 208 w 238"/>
                <a:gd name="T35" fmla="*/ 190 h 291"/>
                <a:gd name="T36" fmla="*/ 208 w 238"/>
                <a:gd name="T37" fmla="*/ 0 h 291"/>
                <a:gd name="T38" fmla="*/ 52 w 238"/>
                <a:gd name="T39" fmla="*/ 0 h 291"/>
                <a:gd name="T40" fmla="*/ 163 w 238"/>
                <a:gd name="T41" fmla="*/ 190 h 291"/>
                <a:gd name="T42" fmla="*/ 67 w 238"/>
                <a:gd name="T43" fmla="*/ 190 h 291"/>
                <a:gd name="T44" fmla="*/ 67 w 238"/>
                <a:gd name="T45" fmla="*/ 190 h 291"/>
                <a:gd name="T46" fmla="*/ 74 w 238"/>
                <a:gd name="T47" fmla="*/ 172 h 291"/>
                <a:gd name="T48" fmla="*/ 80 w 238"/>
                <a:gd name="T49" fmla="*/ 150 h 291"/>
                <a:gd name="T50" fmla="*/ 83 w 238"/>
                <a:gd name="T51" fmla="*/ 136 h 291"/>
                <a:gd name="T52" fmla="*/ 86 w 238"/>
                <a:gd name="T53" fmla="*/ 122 h 291"/>
                <a:gd name="T54" fmla="*/ 88 w 238"/>
                <a:gd name="T55" fmla="*/ 105 h 291"/>
                <a:gd name="T56" fmla="*/ 89 w 238"/>
                <a:gd name="T57" fmla="*/ 87 h 291"/>
                <a:gd name="T58" fmla="*/ 93 w 238"/>
                <a:gd name="T59" fmla="*/ 39 h 291"/>
                <a:gd name="T60" fmla="*/ 163 w 238"/>
                <a:gd name="T61" fmla="*/ 39 h 291"/>
                <a:gd name="T62" fmla="*/ 163 w 238"/>
                <a:gd name="T63" fmla="*/ 19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8" h="291">
                  <a:moveTo>
                    <a:pt x="52" y="0"/>
                  </a:moveTo>
                  <a:lnTo>
                    <a:pt x="46" y="87"/>
                  </a:lnTo>
                  <a:lnTo>
                    <a:pt x="46" y="87"/>
                  </a:lnTo>
                  <a:lnTo>
                    <a:pt x="44" y="105"/>
                  </a:lnTo>
                  <a:lnTo>
                    <a:pt x="41" y="120"/>
                  </a:lnTo>
                  <a:lnTo>
                    <a:pt x="38" y="135"/>
                  </a:lnTo>
                  <a:lnTo>
                    <a:pt x="35" y="149"/>
                  </a:lnTo>
                  <a:lnTo>
                    <a:pt x="27" y="172"/>
                  </a:lnTo>
                  <a:lnTo>
                    <a:pt x="20" y="190"/>
                  </a:lnTo>
                  <a:lnTo>
                    <a:pt x="0" y="190"/>
                  </a:lnTo>
                  <a:lnTo>
                    <a:pt x="0" y="291"/>
                  </a:lnTo>
                  <a:lnTo>
                    <a:pt x="42" y="270"/>
                  </a:lnTo>
                  <a:lnTo>
                    <a:pt x="42" y="230"/>
                  </a:lnTo>
                  <a:lnTo>
                    <a:pt x="196" y="230"/>
                  </a:lnTo>
                  <a:lnTo>
                    <a:pt x="196" y="291"/>
                  </a:lnTo>
                  <a:lnTo>
                    <a:pt x="238" y="270"/>
                  </a:lnTo>
                  <a:lnTo>
                    <a:pt x="238" y="190"/>
                  </a:lnTo>
                  <a:lnTo>
                    <a:pt x="208" y="190"/>
                  </a:lnTo>
                  <a:lnTo>
                    <a:pt x="208" y="0"/>
                  </a:lnTo>
                  <a:lnTo>
                    <a:pt x="52" y="0"/>
                  </a:lnTo>
                  <a:close/>
                  <a:moveTo>
                    <a:pt x="163" y="190"/>
                  </a:moveTo>
                  <a:lnTo>
                    <a:pt x="67" y="190"/>
                  </a:lnTo>
                  <a:lnTo>
                    <a:pt x="67" y="190"/>
                  </a:lnTo>
                  <a:lnTo>
                    <a:pt x="74" y="172"/>
                  </a:lnTo>
                  <a:lnTo>
                    <a:pt x="80" y="150"/>
                  </a:lnTo>
                  <a:lnTo>
                    <a:pt x="83" y="136"/>
                  </a:lnTo>
                  <a:lnTo>
                    <a:pt x="86" y="122"/>
                  </a:lnTo>
                  <a:lnTo>
                    <a:pt x="88" y="105"/>
                  </a:lnTo>
                  <a:lnTo>
                    <a:pt x="89" y="87"/>
                  </a:lnTo>
                  <a:lnTo>
                    <a:pt x="93" y="39"/>
                  </a:lnTo>
                  <a:lnTo>
                    <a:pt x="163" y="39"/>
                  </a:lnTo>
                  <a:lnTo>
                    <a:pt x="163" y="1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5" name="Freeform 134"/>
            <p:cNvSpPr>
              <a:spLocks noEditPoints="1"/>
            </p:cNvSpPr>
            <p:nvPr userDrawn="1"/>
          </p:nvSpPr>
          <p:spPr bwMode="auto">
            <a:xfrm>
              <a:off x="2066925" y="6362701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7 h 239"/>
                <a:gd name="T4" fmla="*/ 184 w 187"/>
                <a:gd name="T5" fmla="*/ 50 h 239"/>
                <a:gd name="T6" fmla="*/ 177 w 187"/>
                <a:gd name="T7" fmla="*/ 36 h 239"/>
                <a:gd name="T8" fmla="*/ 168 w 187"/>
                <a:gd name="T9" fmla="*/ 24 h 239"/>
                <a:gd name="T10" fmla="*/ 156 w 187"/>
                <a:gd name="T11" fmla="*/ 14 h 239"/>
                <a:gd name="T12" fmla="*/ 143 w 187"/>
                <a:gd name="T13" fmla="*/ 7 h 239"/>
                <a:gd name="T14" fmla="*/ 127 w 187"/>
                <a:gd name="T15" fmla="*/ 2 h 239"/>
                <a:gd name="T16" fmla="*/ 110 w 187"/>
                <a:gd name="T17" fmla="*/ 0 h 239"/>
                <a:gd name="T18" fmla="*/ 100 w 187"/>
                <a:gd name="T19" fmla="*/ 0 h 239"/>
                <a:gd name="T20" fmla="*/ 78 w 187"/>
                <a:gd name="T21" fmla="*/ 1 h 239"/>
                <a:gd name="T22" fmla="*/ 57 w 187"/>
                <a:gd name="T23" fmla="*/ 5 h 239"/>
                <a:gd name="T24" fmla="*/ 39 w 187"/>
                <a:gd name="T25" fmla="*/ 11 h 239"/>
                <a:gd name="T26" fmla="*/ 22 w 187"/>
                <a:gd name="T27" fmla="*/ 20 h 239"/>
                <a:gd name="T28" fmla="*/ 39 w 187"/>
                <a:gd name="T29" fmla="*/ 54 h 239"/>
                <a:gd name="T30" fmla="*/ 67 w 187"/>
                <a:gd name="T31" fmla="*/ 43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1 w 187"/>
                <a:gd name="T41" fmla="*/ 70 h 239"/>
                <a:gd name="T42" fmla="*/ 142 w 187"/>
                <a:gd name="T43" fmla="*/ 96 h 239"/>
                <a:gd name="T44" fmla="*/ 133 w 187"/>
                <a:gd name="T45" fmla="*/ 92 h 239"/>
                <a:gd name="T46" fmla="*/ 108 w 187"/>
                <a:gd name="T47" fmla="*/ 88 h 239"/>
                <a:gd name="T48" fmla="*/ 91 w 187"/>
                <a:gd name="T49" fmla="*/ 87 h 239"/>
                <a:gd name="T50" fmla="*/ 64 w 187"/>
                <a:gd name="T51" fmla="*/ 89 h 239"/>
                <a:gd name="T52" fmla="*/ 47 w 187"/>
                <a:gd name="T53" fmla="*/ 94 h 239"/>
                <a:gd name="T54" fmla="*/ 33 w 187"/>
                <a:gd name="T55" fmla="*/ 101 h 239"/>
                <a:gd name="T56" fmla="*/ 20 w 187"/>
                <a:gd name="T57" fmla="*/ 110 h 239"/>
                <a:gd name="T58" fmla="*/ 11 w 187"/>
                <a:gd name="T59" fmla="*/ 121 h 239"/>
                <a:gd name="T60" fmla="*/ 4 w 187"/>
                <a:gd name="T61" fmla="*/ 135 h 239"/>
                <a:gd name="T62" fmla="*/ 1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6 w 187"/>
                <a:gd name="T73" fmla="*/ 222 h 239"/>
                <a:gd name="T74" fmla="*/ 38 w 187"/>
                <a:gd name="T75" fmla="*/ 230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9 h 239"/>
                <a:gd name="T82" fmla="*/ 109 w 187"/>
                <a:gd name="T83" fmla="*/ 234 h 239"/>
                <a:gd name="T84" fmla="*/ 116 w 187"/>
                <a:gd name="T85" fmla="*/ 231 h 239"/>
                <a:gd name="T86" fmla="*/ 134 w 187"/>
                <a:gd name="T87" fmla="*/ 219 h 239"/>
                <a:gd name="T88" fmla="*/ 142 w 187"/>
                <a:gd name="T89" fmla="*/ 235 h 239"/>
                <a:gd name="T90" fmla="*/ 142 w 187"/>
                <a:gd name="T91" fmla="*/ 170 h 239"/>
                <a:gd name="T92" fmla="*/ 138 w 187"/>
                <a:gd name="T93" fmla="*/ 175 h 239"/>
                <a:gd name="T94" fmla="*/ 127 w 187"/>
                <a:gd name="T95" fmla="*/ 185 h 239"/>
                <a:gd name="T96" fmla="*/ 112 w 187"/>
                <a:gd name="T97" fmla="*/ 193 h 239"/>
                <a:gd name="T98" fmla="*/ 96 w 187"/>
                <a:gd name="T99" fmla="*/ 198 h 239"/>
                <a:gd name="T100" fmla="*/ 87 w 187"/>
                <a:gd name="T101" fmla="*/ 199 h 239"/>
                <a:gd name="T102" fmla="*/ 69 w 187"/>
                <a:gd name="T103" fmla="*/ 196 h 239"/>
                <a:gd name="T104" fmla="*/ 55 w 187"/>
                <a:gd name="T105" fmla="*/ 190 h 239"/>
                <a:gd name="T106" fmla="*/ 50 w 187"/>
                <a:gd name="T107" fmla="*/ 185 h 239"/>
                <a:gd name="T108" fmla="*/ 44 w 187"/>
                <a:gd name="T109" fmla="*/ 170 h 239"/>
                <a:gd name="T110" fmla="*/ 43 w 187"/>
                <a:gd name="T111" fmla="*/ 161 h 239"/>
                <a:gd name="T112" fmla="*/ 46 w 187"/>
                <a:gd name="T113" fmla="*/ 146 h 239"/>
                <a:gd name="T114" fmla="*/ 55 w 187"/>
                <a:gd name="T115" fmla="*/ 135 h 239"/>
                <a:gd name="T116" fmla="*/ 70 w 187"/>
                <a:gd name="T117" fmla="*/ 128 h 239"/>
                <a:gd name="T118" fmla="*/ 90 w 187"/>
                <a:gd name="T119" fmla="*/ 126 h 239"/>
                <a:gd name="T120" fmla="*/ 107 w 187"/>
                <a:gd name="T121" fmla="*/ 126 h 239"/>
                <a:gd name="T122" fmla="*/ 120 w 187"/>
                <a:gd name="T123" fmla="*/ 128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7"/>
                  </a:lnTo>
                  <a:lnTo>
                    <a:pt x="186" y="58"/>
                  </a:lnTo>
                  <a:lnTo>
                    <a:pt x="184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8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50" y="10"/>
                  </a:lnTo>
                  <a:lnTo>
                    <a:pt x="143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9" y="1"/>
                  </a:lnTo>
                  <a:lnTo>
                    <a:pt x="110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8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8" y="8"/>
                  </a:lnTo>
                  <a:lnTo>
                    <a:pt x="39" y="11"/>
                  </a:lnTo>
                  <a:lnTo>
                    <a:pt x="30" y="16"/>
                  </a:lnTo>
                  <a:lnTo>
                    <a:pt x="22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3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6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2" y="89"/>
                  </a:lnTo>
                  <a:lnTo>
                    <a:pt x="108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4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40" y="97"/>
                  </a:lnTo>
                  <a:lnTo>
                    <a:pt x="33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1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2" y="143"/>
                  </a:lnTo>
                  <a:lnTo>
                    <a:pt x="1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1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6" y="222"/>
                  </a:lnTo>
                  <a:lnTo>
                    <a:pt x="32" y="226"/>
                  </a:lnTo>
                  <a:lnTo>
                    <a:pt x="38" y="230"/>
                  </a:lnTo>
                  <a:lnTo>
                    <a:pt x="45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7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8" y="175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6" y="198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77" y="198"/>
                  </a:lnTo>
                  <a:lnTo>
                    <a:pt x="69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4" y="170"/>
                  </a:lnTo>
                  <a:lnTo>
                    <a:pt x="43" y="161"/>
                  </a:lnTo>
                  <a:lnTo>
                    <a:pt x="43" y="161"/>
                  </a:lnTo>
                  <a:lnTo>
                    <a:pt x="44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7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1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6" name="Freeform 135"/>
            <p:cNvSpPr>
              <a:spLocks/>
            </p:cNvSpPr>
            <p:nvPr userDrawn="1"/>
          </p:nvSpPr>
          <p:spPr bwMode="auto">
            <a:xfrm>
              <a:off x="2159000" y="6365876"/>
              <a:ext cx="69850" cy="90488"/>
            </a:xfrm>
            <a:custGeom>
              <a:avLst/>
              <a:gdLst>
                <a:gd name="T0" fmla="*/ 178 w 178"/>
                <a:gd name="T1" fmla="*/ 0 h 230"/>
                <a:gd name="T2" fmla="*/ 133 w 178"/>
                <a:gd name="T3" fmla="*/ 0 h 230"/>
                <a:gd name="T4" fmla="*/ 133 w 178"/>
                <a:gd name="T5" fmla="*/ 92 h 230"/>
                <a:gd name="T6" fmla="*/ 133 w 178"/>
                <a:gd name="T7" fmla="*/ 92 h 230"/>
                <a:gd name="T8" fmla="*/ 123 w 178"/>
                <a:gd name="T9" fmla="*/ 98 h 230"/>
                <a:gd name="T10" fmla="*/ 112 w 178"/>
                <a:gd name="T11" fmla="*/ 102 h 230"/>
                <a:gd name="T12" fmla="*/ 99 w 178"/>
                <a:gd name="T13" fmla="*/ 105 h 230"/>
                <a:gd name="T14" fmla="*/ 85 w 178"/>
                <a:gd name="T15" fmla="*/ 106 h 230"/>
                <a:gd name="T16" fmla="*/ 85 w 178"/>
                <a:gd name="T17" fmla="*/ 106 h 230"/>
                <a:gd name="T18" fmla="*/ 76 w 178"/>
                <a:gd name="T19" fmla="*/ 105 h 230"/>
                <a:gd name="T20" fmla="*/ 68 w 178"/>
                <a:gd name="T21" fmla="*/ 103 h 230"/>
                <a:gd name="T22" fmla="*/ 61 w 178"/>
                <a:gd name="T23" fmla="*/ 101 h 230"/>
                <a:gd name="T24" fmla="*/ 55 w 178"/>
                <a:gd name="T25" fmla="*/ 97 h 230"/>
                <a:gd name="T26" fmla="*/ 51 w 178"/>
                <a:gd name="T27" fmla="*/ 91 h 230"/>
                <a:gd name="T28" fmla="*/ 48 w 178"/>
                <a:gd name="T29" fmla="*/ 85 h 230"/>
                <a:gd name="T30" fmla="*/ 46 w 178"/>
                <a:gd name="T31" fmla="*/ 76 h 230"/>
                <a:gd name="T32" fmla="*/ 45 w 178"/>
                <a:gd name="T33" fmla="*/ 66 h 230"/>
                <a:gd name="T34" fmla="*/ 45 w 178"/>
                <a:gd name="T35" fmla="*/ 0 h 230"/>
                <a:gd name="T36" fmla="*/ 0 w 178"/>
                <a:gd name="T37" fmla="*/ 0 h 230"/>
                <a:gd name="T38" fmla="*/ 0 w 178"/>
                <a:gd name="T39" fmla="*/ 64 h 230"/>
                <a:gd name="T40" fmla="*/ 0 w 178"/>
                <a:gd name="T41" fmla="*/ 64 h 230"/>
                <a:gd name="T42" fmla="*/ 0 w 178"/>
                <a:gd name="T43" fmla="*/ 74 h 230"/>
                <a:gd name="T44" fmla="*/ 1 w 178"/>
                <a:gd name="T45" fmla="*/ 83 h 230"/>
                <a:gd name="T46" fmla="*/ 3 w 178"/>
                <a:gd name="T47" fmla="*/ 91 h 230"/>
                <a:gd name="T48" fmla="*/ 5 w 178"/>
                <a:gd name="T49" fmla="*/ 99 h 230"/>
                <a:gd name="T50" fmla="*/ 7 w 178"/>
                <a:gd name="T51" fmla="*/ 106 h 230"/>
                <a:gd name="T52" fmla="*/ 11 w 178"/>
                <a:gd name="T53" fmla="*/ 113 h 230"/>
                <a:gd name="T54" fmla="*/ 14 w 178"/>
                <a:gd name="T55" fmla="*/ 119 h 230"/>
                <a:gd name="T56" fmla="*/ 19 w 178"/>
                <a:gd name="T57" fmla="*/ 124 h 230"/>
                <a:gd name="T58" fmla="*/ 24 w 178"/>
                <a:gd name="T59" fmla="*/ 129 h 230"/>
                <a:gd name="T60" fmla="*/ 29 w 178"/>
                <a:gd name="T61" fmla="*/ 133 h 230"/>
                <a:gd name="T62" fmla="*/ 35 w 178"/>
                <a:gd name="T63" fmla="*/ 137 h 230"/>
                <a:gd name="T64" fmla="*/ 42 w 178"/>
                <a:gd name="T65" fmla="*/ 140 h 230"/>
                <a:gd name="T66" fmla="*/ 49 w 178"/>
                <a:gd name="T67" fmla="*/ 142 h 230"/>
                <a:gd name="T68" fmla="*/ 57 w 178"/>
                <a:gd name="T69" fmla="*/ 145 h 230"/>
                <a:gd name="T70" fmla="*/ 65 w 178"/>
                <a:gd name="T71" fmla="*/ 145 h 230"/>
                <a:gd name="T72" fmla="*/ 74 w 178"/>
                <a:gd name="T73" fmla="*/ 146 h 230"/>
                <a:gd name="T74" fmla="*/ 74 w 178"/>
                <a:gd name="T75" fmla="*/ 146 h 230"/>
                <a:gd name="T76" fmla="*/ 91 w 178"/>
                <a:gd name="T77" fmla="*/ 145 h 230"/>
                <a:gd name="T78" fmla="*/ 106 w 178"/>
                <a:gd name="T79" fmla="*/ 141 h 230"/>
                <a:gd name="T80" fmla="*/ 120 w 178"/>
                <a:gd name="T81" fmla="*/ 137 h 230"/>
                <a:gd name="T82" fmla="*/ 133 w 178"/>
                <a:gd name="T83" fmla="*/ 131 h 230"/>
                <a:gd name="T84" fmla="*/ 133 w 178"/>
                <a:gd name="T85" fmla="*/ 230 h 230"/>
                <a:gd name="T86" fmla="*/ 178 w 178"/>
                <a:gd name="T87" fmla="*/ 230 h 230"/>
                <a:gd name="T88" fmla="*/ 178 w 178"/>
                <a:gd name="T8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8" h="230">
                  <a:moveTo>
                    <a:pt x="178" y="0"/>
                  </a:moveTo>
                  <a:lnTo>
                    <a:pt x="133" y="0"/>
                  </a:lnTo>
                  <a:lnTo>
                    <a:pt x="133" y="92"/>
                  </a:lnTo>
                  <a:lnTo>
                    <a:pt x="133" y="92"/>
                  </a:lnTo>
                  <a:lnTo>
                    <a:pt x="123" y="98"/>
                  </a:lnTo>
                  <a:lnTo>
                    <a:pt x="112" y="102"/>
                  </a:lnTo>
                  <a:lnTo>
                    <a:pt x="99" y="105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76" y="105"/>
                  </a:lnTo>
                  <a:lnTo>
                    <a:pt x="68" y="103"/>
                  </a:lnTo>
                  <a:lnTo>
                    <a:pt x="61" y="101"/>
                  </a:lnTo>
                  <a:lnTo>
                    <a:pt x="55" y="97"/>
                  </a:lnTo>
                  <a:lnTo>
                    <a:pt x="51" y="91"/>
                  </a:lnTo>
                  <a:lnTo>
                    <a:pt x="48" y="85"/>
                  </a:lnTo>
                  <a:lnTo>
                    <a:pt x="46" y="76"/>
                  </a:lnTo>
                  <a:lnTo>
                    <a:pt x="45" y="66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4"/>
                  </a:lnTo>
                  <a:lnTo>
                    <a:pt x="1" y="83"/>
                  </a:lnTo>
                  <a:lnTo>
                    <a:pt x="3" y="91"/>
                  </a:lnTo>
                  <a:lnTo>
                    <a:pt x="5" y="99"/>
                  </a:lnTo>
                  <a:lnTo>
                    <a:pt x="7" y="106"/>
                  </a:lnTo>
                  <a:lnTo>
                    <a:pt x="11" y="113"/>
                  </a:lnTo>
                  <a:lnTo>
                    <a:pt x="14" y="119"/>
                  </a:lnTo>
                  <a:lnTo>
                    <a:pt x="19" y="124"/>
                  </a:lnTo>
                  <a:lnTo>
                    <a:pt x="24" y="129"/>
                  </a:lnTo>
                  <a:lnTo>
                    <a:pt x="29" y="133"/>
                  </a:lnTo>
                  <a:lnTo>
                    <a:pt x="35" y="137"/>
                  </a:lnTo>
                  <a:lnTo>
                    <a:pt x="42" y="140"/>
                  </a:lnTo>
                  <a:lnTo>
                    <a:pt x="49" y="142"/>
                  </a:lnTo>
                  <a:lnTo>
                    <a:pt x="57" y="145"/>
                  </a:lnTo>
                  <a:lnTo>
                    <a:pt x="65" y="145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91" y="145"/>
                  </a:lnTo>
                  <a:lnTo>
                    <a:pt x="106" y="141"/>
                  </a:lnTo>
                  <a:lnTo>
                    <a:pt x="120" y="137"/>
                  </a:lnTo>
                  <a:lnTo>
                    <a:pt x="133" y="131"/>
                  </a:lnTo>
                  <a:lnTo>
                    <a:pt x="133" y="230"/>
                  </a:lnTo>
                  <a:lnTo>
                    <a:pt x="178" y="23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7" name="Freeform 136"/>
            <p:cNvSpPr>
              <a:spLocks/>
            </p:cNvSpPr>
            <p:nvPr userDrawn="1"/>
          </p:nvSpPr>
          <p:spPr bwMode="auto">
            <a:xfrm>
              <a:off x="2252663" y="6365876"/>
              <a:ext cx="74613" cy="90488"/>
            </a:xfrm>
            <a:custGeom>
              <a:avLst/>
              <a:gdLst>
                <a:gd name="T0" fmla="*/ 0 w 186"/>
                <a:gd name="T1" fmla="*/ 0 h 230"/>
                <a:gd name="T2" fmla="*/ 0 w 186"/>
                <a:gd name="T3" fmla="*/ 230 h 230"/>
                <a:gd name="T4" fmla="*/ 45 w 186"/>
                <a:gd name="T5" fmla="*/ 230 h 230"/>
                <a:gd name="T6" fmla="*/ 125 w 186"/>
                <a:gd name="T7" fmla="*/ 101 h 230"/>
                <a:gd name="T8" fmla="*/ 125 w 186"/>
                <a:gd name="T9" fmla="*/ 101 h 230"/>
                <a:gd name="T10" fmla="*/ 142 w 186"/>
                <a:gd name="T11" fmla="*/ 72 h 230"/>
                <a:gd name="T12" fmla="*/ 142 w 186"/>
                <a:gd name="T13" fmla="*/ 72 h 230"/>
                <a:gd name="T14" fmla="*/ 142 w 186"/>
                <a:gd name="T15" fmla="*/ 120 h 230"/>
                <a:gd name="T16" fmla="*/ 142 w 186"/>
                <a:gd name="T17" fmla="*/ 230 h 230"/>
                <a:gd name="T18" fmla="*/ 186 w 186"/>
                <a:gd name="T19" fmla="*/ 230 h 230"/>
                <a:gd name="T20" fmla="*/ 186 w 186"/>
                <a:gd name="T21" fmla="*/ 0 h 230"/>
                <a:gd name="T22" fmla="*/ 142 w 186"/>
                <a:gd name="T23" fmla="*/ 0 h 230"/>
                <a:gd name="T24" fmla="*/ 62 w 186"/>
                <a:gd name="T25" fmla="*/ 127 h 230"/>
                <a:gd name="T26" fmla="*/ 62 w 186"/>
                <a:gd name="T27" fmla="*/ 127 h 230"/>
                <a:gd name="T28" fmla="*/ 52 w 186"/>
                <a:gd name="T29" fmla="*/ 143 h 230"/>
                <a:gd name="T30" fmla="*/ 44 w 186"/>
                <a:gd name="T31" fmla="*/ 158 h 230"/>
                <a:gd name="T32" fmla="*/ 44 w 186"/>
                <a:gd name="T33" fmla="*/ 158 h 230"/>
                <a:gd name="T34" fmla="*/ 45 w 186"/>
                <a:gd name="T35" fmla="*/ 108 h 230"/>
                <a:gd name="T36" fmla="*/ 45 w 186"/>
                <a:gd name="T37" fmla="*/ 0 h 230"/>
                <a:gd name="T38" fmla="*/ 0 w 186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6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2" y="120"/>
                  </a:lnTo>
                  <a:lnTo>
                    <a:pt x="142" y="230"/>
                  </a:lnTo>
                  <a:lnTo>
                    <a:pt x="186" y="230"/>
                  </a:lnTo>
                  <a:lnTo>
                    <a:pt x="186" y="0"/>
                  </a:lnTo>
                  <a:lnTo>
                    <a:pt x="142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8" name="Freeform 137"/>
            <p:cNvSpPr>
              <a:spLocks noEditPoints="1"/>
            </p:cNvSpPr>
            <p:nvPr userDrawn="1"/>
          </p:nvSpPr>
          <p:spPr bwMode="auto">
            <a:xfrm>
              <a:off x="2390775" y="6327776"/>
              <a:ext cx="79375" cy="130175"/>
            </a:xfrm>
            <a:custGeom>
              <a:avLst/>
              <a:gdLst>
                <a:gd name="T0" fmla="*/ 159 w 198"/>
                <a:gd name="T1" fmla="*/ 4 h 328"/>
                <a:gd name="T2" fmla="*/ 124 w 198"/>
                <a:gd name="T3" fmla="*/ 5 h 328"/>
                <a:gd name="T4" fmla="*/ 83 w 198"/>
                <a:gd name="T5" fmla="*/ 13 h 328"/>
                <a:gd name="T6" fmla="*/ 48 w 198"/>
                <a:gd name="T7" fmla="*/ 31 h 328"/>
                <a:gd name="T8" fmla="*/ 22 w 198"/>
                <a:gd name="T9" fmla="*/ 59 h 328"/>
                <a:gd name="T10" fmla="*/ 6 w 198"/>
                <a:gd name="T11" fmla="*/ 96 h 328"/>
                <a:gd name="T12" fmla="*/ 0 w 198"/>
                <a:gd name="T13" fmla="*/ 143 h 328"/>
                <a:gd name="T14" fmla="*/ 1 w 198"/>
                <a:gd name="T15" fmla="*/ 223 h 328"/>
                <a:gd name="T16" fmla="*/ 8 w 198"/>
                <a:gd name="T17" fmla="*/ 259 h 328"/>
                <a:gd name="T18" fmla="*/ 22 w 198"/>
                <a:gd name="T19" fmla="*/ 288 h 328"/>
                <a:gd name="T20" fmla="*/ 42 w 198"/>
                <a:gd name="T21" fmla="*/ 310 h 328"/>
                <a:gd name="T22" fmla="*/ 68 w 198"/>
                <a:gd name="T23" fmla="*/ 324 h 328"/>
                <a:gd name="T24" fmla="*/ 98 w 198"/>
                <a:gd name="T25" fmla="*/ 328 h 328"/>
                <a:gd name="T26" fmla="*/ 118 w 198"/>
                <a:gd name="T27" fmla="*/ 326 h 328"/>
                <a:gd name="T28" fmla="*/ 146 w 198"/>
                <a:gd name="T29" fmla="*/ 316 h 328"/>
                <a:gd name="T30" fmla="*/ 169 w 198"/>
                <a:gd name="T31" fmla="*/ 297 h 328"/>
                <a:gd name="T32" fmla="*/ 186 w 198"/>
                <a:gd name="T33" fmla="*/ 271 h 328"/>
                <a:gd name="T34" fmla="*/ 196 w 198"/>
                <a:gd name="T35" fmla="*/ 236 h 328"/>
                <a:gd name="T36" fmla="*/ 198 w 198"/>
                <a:gd name="T37" fmla="*/ 210 h 328"/>
                <a:gd name="T38" fmla="*/ 194 w 198"/>
                <a:gd name="T39" fmla="*/ 173 h 328"/>
                <a:gd name="T40" fmla="*/ 184 w 198"/>
                <a:gd name="T41" fmla="*/ 142 h 328"/>
                <a:gd name="T42" fmla="*/ 167 w 198"/>
                <a:gd name="T43" fmla="*/ 118 h 328"/>
                <a:gd name="T44" fmla="*/ 144 w 198"/>
                <a:gd name="T45" fmla="*/ 102 h 328"/>
                <a:gd name="T46" fmla="*/ 117 w 198"/>
                <a:gd name="T47" fmla="*/ 94 h 328"/>
                <a:gd name="T48" fmla="*/ 96 w 198"/>
                <a:gd name="T49" fmla="*/ 94 h 328"/>
                <a:gd name="T50" fmla="*/ 69 w 198"/>
                <a:gd name="T51" fmla="*/ 103 h 328"/>
                <a:gd name="T52" fmla="*/ 48 w 198"/>
                <a:gd name="T53" fmla="*/ 123 h 328"/>
                <a:gd name="T54" fmla="*/ 42 w 198"/>
                <a:gd name="T55" fmla="*/ 123 h 328"/>
                <a:gd name="T56" fmla="*/ 47 w 198"/>
                <a:gd name="T57" fmla="*/ 97 h 328"/>
                <a:gd name="T58" fmla="*/ 59 w 198"/>
                <a:gd name="T59" fmla="*/ 76 h 328"/>
                <a:gd name="T60" fmla="*/ 78 w 198"/>
                <a:gd name="T61" fmla="*/ 59 h 328"/>
                <a:gd name="T62" fmla="*/ 105 w 198"/>
                <a:gd name="T63" fmla="*/ 48 h 328"/>
                <a:gd name="T64" fmla="*/ 139 w 198"/>
                <a:gd name="T65" fmla="*/ 44 h 328"/>
                <a:gd name="T66" fmla="*/ 162 w 198"/>
                <a:gd name="T67" fmla="*/ 43 h 328"/>
                <a:gd name="T68" fmla="*/ 153 w 198"/>
                <a:gd name="T69" fmla="*/ 211 h 328"/>
                <a:gd name="T70" fmla="*/ 149 w 198"/>
                <a:gd name="T71" fmla="*/ 241 h 328"/>
                <a:gd name="T72" fmla="*/ 135 w 198"/>
                <a:gd name="T73" fmla="*/ 270 h 328"/>
                <a:gd name="T74" fmla="*/ 121 w 198"/>
                <a:gd name="T75" fmla="*/ 281 h 328"/>
                <a:gd name="T76" fmla="*/ 105 w 198"/>
                <a:gd name="T77" fmla="*/ 286 h 328"/>
                <a:gd name="T78" fmla="*/ 93 w 198"/>
                <a:gd name="T79" fmla="*/ 287 h 328"/>
                <a:gd name="T80" fmla="*/ 77 w 198"/>
                <a:gd name="T81" fmla="*/ 282 h 328"/>
                <a:gd name="T82" fmla="*/ 63 w 198"/>
                <a:gd name="T83" fmla="*/ 272 h 328"/>
                <a:gd name="T84" fmla="*/ 53 w 198"/>
                <a:gd name="T85" fmla="*/ 256 h 328"/>
                <a:gd name="T86" fmla="*/ 45 w 198"/>
                <a:gd name="T87" fmla="*/ 227 h 328"/>
                <a:gd name="T88" fmla="*/ 45 w 198"/>
                <a:gd name="T89" fmla="*/ 193 h 328"/>
                <a:gd name="T90" fmla="*/ 55 w 198"/>
                <a:gd name="T91" fmla="*/ 161 h 328"/>
                <a:gd name="T92" fmla="*/ 66 w 198"/>
                <a:gd name="T93" fmla="*/ 147 h 328"/>
                <a:gd name="T94" fmla="*/ 82 w 198"/>
                <a:gd name="T95" fmla="*/ 138 h 328"/>
                <a:gd name="T96" fmla="*/ 101 w 198"/>
                <a:gd name="T97" fmla="*/ 135 h 328"/>
                <a:gd name="T98" fmla="*/ 113 w 198"/>
                <a:gd name="T99" fmla="*/ 136 h 328"/>
                <a:gd name="T100" fmla="*/ 128 w 198"/>
                <a:gd name="T101" fmla="*/ 143 h 328"/>
                <a:gd name="T102" fmla="*/ 139 w 198"/>
                <a:gd name="T103" fmla="*/ 156 h 328"/>
                <a:gd name="T104" fmla="*/ 152 w 198"/>
                <a:gd name="T105" fmla="*/ 194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" h="328">
                  <a:moveTo>
                    <a:pt x="182" y="0"/>
                  </a:moveTo>
                  <a:lnTo>
                    <a:pt x="182" y="0"/>
                  </a:lnTo>
                  <a:lnTo>
                    <a:pt x="159" y="4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24" y="5"/>
                  </a:lnTo>
                  <a:lnTo>
                    <a:pt x="109" y="7"/>
                  </a:lnTo>
                  <a:lnTo>
                    <a:pt x="96" y="10"/>
                  </a:lnTo>
                  <a:lnTo>
                    <a:pt x="83" y="13"/>
                  </a:lnTo>
                  <a:lnTo>
                    <a:pt x="70" y="18"/>
                  </a:lnTo>
                  <a:lnTo>
                    <a:pt x="59" y="24"/>
                  </a:lnTo>
                  <a:lnTo>
                    <a:pt x="48" y="31"/>
                  </a:lnTo>
                  <a:lnTo>
                    <a:pt x="39" y="39"/>
                  </a:lnTo>
                  <a:lnTo>
                    <a:pt x="30" y="48"/>
                  </a:lnTo>
                  <a:lnTo>
                    <a:pt x="22" y="59"/>
                  </a:lnTo>
                  <a:lnTo>
                    <a:pt x="16" y="70"/>
                  </a:lnTo>
                  <a:lnTo>
                    <a:pt x="10" y="82"/>
                  </a:lnTo>
                  <a:lnTo>
                    <a:pt x="6" y="96"/>
                  </a:lnTo>
                  <a:lnTo>
                    <a:pt x="3" y="111"/>
                  </a:lnTo>
                  <a:lnTo>
                    <a:pt x="1" y="126"/>
                  </a:lnTo>
                  <a:lnTo>
                    <a:pt x="0" y="143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2" y="236"/>
                  </a:lnTo>
                  <a:lnTo>
                    <a:pt x="4" y="248"/>
                  </a:lnTo>
                  <a:lnTo>
                    <a:pt x="8" y="259"/>
                  </a:lnTo>
                  <a:lnTo>
                    <a:pt x="12" y="270"/>
                  </a:lnTo>
                  <a:lnTo>
                    <a:pt x="16" y="279"/>
                  </a:lnTo>
                  <a:lnTo>
                    <a:pt x="22" y="288"/>
                  </a:lnTo>
                  <a:lnTo>
                    <a:pt x="28" y="296"/>
                  </a:lnTo>
                  <a:lnTo>
                    <a:pt x="35" y="303"/>
                  </a:lnTo>
                  <a:lnTo>
                    <a:pt x="42" y="310"/>
                  </a:lnTo>
                  <a:lnTo>
                    <a:pt x="50" y="315"/>
                  </a:lnTo>
                  <a:lnTo>
                    <a:pt x="59" y="320"/>
                  </a:lnTo>
                  <a:lnTo>
                    <a:pt x="68" y="324"/>
                  </a:lnTo>
                  <a:lnTo>
                    <a:pt x="78" y="326"/>
                  </a:lnTo>
                  <a:lnTo>
                    <a:pt x="87" y="328"/>
                  </a:lnTo>
                  <a:lnTo>
                    <a:pt x="98" y="328"/>
                  </a:lnTo>
                  <a:lnTo>
                    <a:pt x="98" y="328"/>
                  </a:lnTo>
                  <a:lnTo>
                    <a:pt x="108" y="328"/>
                  </a:lnTo>
                  <a:lnTo>
                    <a:pt x="118" y="326"/>
                  </a:lnTo>
                  <a:lnTo>
                    <a:pt x="128" y="324"/>
                  </a:lnTo>
                  <a:lnTo>
                    <a:pt x="138" y="320"/>
                  </a:lnTo>
                  <a:lnTo>
                    <a:pt x="146" y="316"/>
                  </a:lnTo>
                  <a:lnTo>
                    <a:pt x="155" y="311"/>
                  </a:lnTo>
                  <a:lnTo>
                    <a:pt x="162" y="304"/>
                  </a:lnTo>
                  <a:lnTo>
                    <a:pt x="169" y="297"/>
                  </a:lnTo>
                  <a:lnTo>
                    <a:pt x="176" y="289"/>
                  </a:lnTo>
                  <a:lnTo>
                    <a:pt x="181" y="280"/>
                  </a:lnTo>
                  <a:lnTo>
                    <a:pt x="186" y="271"/>
                  </a:lnTo>
                  <a:lnTo>
                    <a:pt x="190" y="260"/>
                  </a:lnTo>
                  <a:lnTo>
                    <a:pt x="194" y="249"/>
                  </a:lnTo>
                  <a:lnTo>
                    <a:pt x="196" y="236"/>
                  </a:lnTo>
                  <a:lnTo>
                    <a:pt x="198" y="223"/>
                  </a:lnTo>
                  <a:lnTo>
                    <a:pt x="198" y="210"/>
                  </a:lnTo>
                  <a:lnTo>
                    <a:pt x="198" y="210"/>
                  </a:lnTo>
                  <a:lnTo>
                    <a:pt x="198" y="197"/>
                  </a:lnTo>
                  <a:lnTo>
                    <a:pt x="196" y="184"/>
                  </a:lnTo>
                  <a:lnTo>
                    <a:pt x="194" y="173"/>
                  </a:lnTo>
                  <a:lnTo>
                    <a:pt x="191" y="162"/>
                  </a:lnTo>
                  <a:lnTo>
                    <a:pt x="188" y="152"/>
                  </a:lnTo>
                  <a:lnTo>
                    <a:pt x="184" y="142"/>
                  </a:lnTo>
                  <a:lnTo>
                    <a:pt x="179" y="133"/>
                  </a:lnTo>
                  <a:lnTo>
                    <a:pt x="173" y="125"/>
                  </a:lnTo>
                  <a:lnTo>
                    <a:pt x="167" y="118"/>
                  </a:lnTo>
                  <a:lnTo>
                    <a:pt x="160" y="112"/>
                  </a:lnTo>
                  <a:lnTo>
                    <a:pt x="152" y="106"/>
                  </a:lnTo>
                  <a:lnTo>
                    <a:pt x="144" y="102"/>
                  </a:lnTo>
                  <a:lnTo>
                    <a:pt x="135" y="98"/>
                  </a:lnTo>
                  <a:lnTo>
                    <a:pt x="126" y="96"/>
                  </a:lnTo>
                  <a:lnTo>
                    <a:pt x="117" y="94"/>
                  </a:lnTo>
                  <a:lnTo>
                    <a:pt x="106" y="94"/>
                  </a:lnTo>
                  <a:lnTo>
                    <a:pt x="106" y="94"/>
                  </a:lnTo>
                  <a:lnTo>
                    <a:pt x="96" y="94"/>
                  </a:lnTo>
                  <a:lnTo>
                    <a:pt x="87" y="96"/>
                  </a:lnTo>
                  <a:lnTo>
                    <a:pt x="78" y="99"/>
                  </a:lnTo>
                  <a:lnTo>
                    <a:pt x="69" y="103"/>
                  </a:lnTo>
                  <a:lnTo>
                    <a:pt x="62" y="108"/>
                  </a:lnTo>
                  <a:lnTo>
                    <a:pt x="54" y="115"/>
                  </a:lnTo>
                  <a:lnTo>
                    <a:pt x="48" y="123"/>
                  </a:lnTo>
                  <a:lnTo>
                    <a:pt x="42" y="133"/>
                  </a:lnTo>
                  <a:lnTo>
                    <a:pt x="42" y="133"/>
                  </a:lnTo>
                  <a:lnTo>
                    <a:pt x="42" y="123"/>
                  </a:lnTo>
                  <a:lnTo>
                    <a:pt x="43" y="114"/>
                  </a:lnTo>
                  <a:lnTo>
                    <a:pt x="45" y="106"/>
                  </a:lnTo>
                  <a:lnTo>
                    <a:pt x="47" y="97"/>
                  </a:lnTo>
                  <a:lnTo>
                    <a:pt x="50" y="90"/>
                  </a:lnTo>
                  <a:lnTo>
                    <a:pt x="54" y="82"/>
                  </a:lnTo>
                  <a:lnTo>
                    <a:pt x="59" y="76"/>
                  </a:lnTo>
                  <a:lnTo>
                    <a:pt x="65" y="69"/>
                  </a:lnTo>
                  <a:lnTo>
                    <a:pt x="71" y="64"/>
                  </a:lnTo>
                  <a:lnTo>
                    <a:pt x="78" y="59"/>
                  </a:lnTo>
                  <a:lnTo>
                    <a:pt x="86" y="54"/>
                  </a:lnTo>
                  <a:lnTo>
                    <a:pt x="95" y="51"/>
                  </a:lnTo>
                  <a:lnTo>
                    <a:pt x="105" y="48"/>
                  </a:lnTo>
                  <a:lnTo>
                    <a:pt x="115" y="46"/>
                  </a:lnTo>
                  <a:lnTo>
                    <a:pt x="127" y="44"/>
                  </a:lnTo>
                  <a:lnTo>
                    <a:pt x="139" y="44"/>
                  </a:lnTo>
                  <a:lnTo>
                    <a:pt x="139" y="44"/>
                  </a:lnTo>
                  <a:lnTo>
                    <a:pt x="151" y="44"/>
                  </a:lnTo>
                  <a:lnTo>
                    <a:pt x="162" y="43"/>
                  </a:lnTo>
                  <a:lnTo>
                    <a:pt x="182" y="40"/>
                  </a:lnTo>
                  <a:lnTo>
                    <a:pt x="182" y="0"/>
                  </a:lnTo>
                  <a:close/>
                  <a:moveTo>
                    <a:pt x="153" y="211"/>
                  </a:moveTo>
                  <a:lnTo>
                    <a:pt x="153" y="211"/>
                  </a:lnTo>
                  <a:lnTo>
                    <a:pt x="152" y="226"/>
                  </a:lnTo>
                  <a:lnTo>
                    <a:pt x="149" y="241"/>
                  </a:lnTo>
                  <a:lnTo>
                    <a:pt x="145" y="254"/>
                  </a:lnTo>
                  <a:lnTo>
                    <a:pt x="138" y="265"/>
                  </a:lnTo>
                  <a:lnTo>
                    <a:pt x="135" y="270"/>
                  </a:lnTo>
                  <a:lnTo>
                    <a:pt x="131" y="274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16" y="283"/>
                  </a:lnTo>
                  <a:lnTo>
                    <a:pt x="111" y="285"/>
                  </a:lnTo>
                  <a:lnTo>
                    <a:pt x="105" y="286"/>
                  </a:lnTo>
                  <a:lnTo>
                    <a:pt x="99" y="287"/>
                  </a:lnTo>
                  <a:lnTo>
                    <a:pt x="99" y="287"/>
                  </a:lnTo>
                  <a:lnTo>
                    <a:pt x="93" y="287"/>
                  </a:lnTo>
                  <a:lnTo>
                    <a:pt x="87" y="286"/>
                  </a:lnTo>
                  <a:lnTo>
                    <a:pt x="82" y="284"/>
                  </a:lnTo>
                  <a:lnTo>
                    <a:pt x="77" y="282"/>
                  </a:lnTo>
                  <a:lnTo>
                    <a:pt x="72" y="279"/>
                  </a:lnTo>
                  <a:lnTo>
                    <a:pt x="67" y="276"/>
                  </a:lnTo>
                  <a:lnTo>
                    <a:pt x="63" y="272"/>
                  </a:lnTo>
                  <a:lnTo>
                    <a:pt x="59" y="267"/>
                  </a:lnTo>
                  <a:lnTo>
                    <a:pt x="56" y="262"/>
                  </a:lnTo>
                  <a:lnTo>
                    <a:pt x="53" y="256"/>
                  </a:lnTo>
                  <a:lnTo>
                    <a:pt x="50" y="250"/>
                  </a:lnTo>
                  <a:lnTo>
                    <a:pt x="48" y="243"/>
                  </a:lnTo>
                  <a:lnTo>
                    <a:pt x="45" y="227"/>
                  </a:lnTo>
                  <a:lnTo>
                    <a:pt x="44" y="209"/>
                  </a:lnTo>
                  <a:lnTo>
                    <a:pt x="44" y="209"/>
                  </a:lnTo>
                  <a:lnTo>
                    <a:pt x="45" y="193"/>
                  </a:lnTo>
                  <a:lnTo>
                    <a:pt x="48" y="179"/>
                  </a:lnTo>
                  <a:lnTo>
                    <a:pt x="52" y="166"/>
                  </a:lnTo>
                  <a:lnTo>
                    <a:pt x="55" y="161"/>
                  </a:lnTo>
                  <a:lnTo>
                    <a:pt x="58" y="155"/>
                  </a:lnTo>
                  <a:lnTo>
                    <a:pt x="62" y="151"/>
                  </a:lnTo>
                  <a:lnTo>
                    <a:pt x="66" y="147"/>
                  </a:lnTo>
                  <a:lnTo>
                    <a:pt x="71" y="143"/>
                  </a:lnTo>
                  <a:lnTo>
                    <a:pt x="76" y="140"/>
                  </a:lnTo>
                  <a:lnTo>
                    <a:pt x="82" y="138"/>
                  </a:lnTo>
                  <a:lnTo>
                    <a:pt x="88" y="136"/>
                  </a:lnTo>
                  <a:lnTo>
                    <a:pt x="94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7" y="135"/>
                  </a:lnTo>
                  <a:lnTo>
                    <a:pt x="113" y="136"/>
                  </a:lnTo>
                  <a:lnTo>
                    <a:pt x="118" y="138"/>
                  </a:lnTo>
                  <a:lnTo>
                    <a:pt x="123" y="140"/>
                  </a:lnTo>
                  <a:lnTo>
                    <a:pt x="128" y="143"/>
                  </a:lnTo>
                  <a:lnTo>
                    <a:pt x="132" y="147"/>
                  </a:lnTo>
                  <a:lnTo>
                    <a:pt x="136" y="151"/>
                  </a:lnTo>
                  <a:lnTo>
                    <a:pt x="139" y="156"/>
                  </a:lnTo>
                  <a:lnTo>
                    <a:pt x="145" y="167"/>
                  </a:lnTo>
                  <a:lnTo>
                    <a:pt x="150" y="180"/>
                  </a:lnTo>
                  <a:lnTo>
                    <a:pt x="152" y="194"/>
                  </a:lnTo>
                  <a:lnTo>
                    <a:pt x="153" y="211"/>
                  </a:lnTo>
                  <a:lnTo>
                    <a:pt x="153" y="2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9" name="Freeform 138"/>
            <p:cNvSpPr>
              <a:spLocks/>
            </p:cNvSpPr>
            <p:nvPr userDrawn="1"/>
          </p:nvSpPr>
          <p:spPr bwMode="auto">
            <a:xfrm>
              <a:off x="2489200" y="6365876"/>
              <a:ext cx="74613" cy="90488"/>
            </a:xfrm>
            <a:custGeom>
              <a:avLst/>
              <a:gdLst>
                <a:gd name="T0" fmla="*/ 0 w 188"/>
                <a:gd name="T1" fmla="*/ 0 h 230"/>
                <a:gd name="T2" fmla="*/ 0 w 188"/>
                <a:gd name="T3" fmla="*/ 230 h 230"/>
                <a:gd name="T4" fmla="*/ 45 w 188"/>
                <a:gd name="T5" fmla="*/ 230 h 230"/>
                <a:gd name="T6" fmla="*/ 126 w 188"/>
                <a:gd name="T7" fmla="*/ 101 h 230"/>
                <a:gd name="T8" fmla="*/ 126 w 188"/>
                <a:gd name="T9" fmla="*/ 101 h 230"/>
                <a:gd name="T10" fmla="*/ 143 w 188"/>
                <a:gd name="T11" fmla="*/ 72 h 230"/>
                <a:gd name="T12" fmla="*/ 143 w 188"/>
                <a:gd name="T13" fmla="*/ 72 h 230"/>
                <a:gd name="T14" fmla="*/ 143 w 188"/>
                <a:gd name="T15" fmla="*/ 120 h 230"/>
                <a:gd name="T16" fmla="*/ 143 w 188"/>
                <a:gd name="T17" fmla="*/ 230 h 230"/>
                <a:gd name="T18" fmla="*/ 188 w 188"/>
                <a:gd name="T19" fmla="*/ 230 h 230"/>
                <a:gd name="T20" fmla="*/ 188 w 188"/>
                <a:gd name="T21" fmla="*/ 0 h 230"/>
                <a:gd name="T22" fmla="*/ 143 w 188"/>
                <a:gd name="T23" fmla="*/ 0 h 230"/>
                <a:gd name="T24" fmla="*/ 62 w 188"/>
                <a:gd name="T25" fmla="*/ 127 h 230"/>
                <a:gd name="T26" fmla="*/ 62 w 188"/>
                <a:gd name="T27" fmla="*/ 127 h 230"/>
                <a:gd name="T28" fmla="*/ 52 w 188"/>
                <a:gd name="T29" fmla="*/ 143 h 230"/>
                <a:gd name="T30" fmla="*/ 45 w 188"/>
                <a:gd name="T31" fmla="*/ 158 h 230"/>
                <a:gd name="T32" fmla="*/ 45 w 188"/>
                <a:gd name="T33" fmla="*/ 158 h 230"/>
                <a:gd name="T34" fmla="*/ 45 w 188"/>
                <a:gd name="T35" fmla="*/ 108 h 230"/>
                <a:gd name="T36" fmla="*/ 45 w 188"/>
                <a:gd name="T37" fmla="*/ 0 h 230"/>
                <a:gd name="T38" fmla="*/ 0 w 188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8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3" y="120"/>
                  </a:lnTo>
                  <a:lnTo>
                    <a:pt x="143" y="230"/>
                  </a:lnTo>
                  <a:lnTo>
                    <a:pt x="188" y="230"/>
                  </a:lnTo>
                  <a:lnTo>
                    <a:pt x="188" y="0"/>
                  </a:lnTo>
                  <a:lnTo>
                    <a:pt x="143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5" y="158"/>
                  </a:lnTo>
                  <a:lnTo>
                    <a:pt x="45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0" name="Freeform 139"/>
            <p:cNvSpPr>
              <a:spLocks/>
            </p:cNvSpPr>
            <p:nvPr userDrawn="1"/>
          </p:nvSpPr>
          <p:spPr bwMode="auto">
            <a:xfrm>
              <a:off x="2578100" y="6362701"/>
              <a:ext cx="69850" cy="95250"/>
            </a:xfrm>
            <a:custGeom>
              <a:avLst/>
              <a:gdLst>
                <a:gd name="T0" fmla="*/ 93 w 177"/>
                <a:gd name="T1" fmla="*/ 131 h 239"/>
                <a:gd name="T2" fmla="*/ 117 w 177"/>
                <a:gd name="T3" fmla="*/ 137 h 239"/>
                <a:gd name="T4" fmla="*/ 130 w 177"/>
                <a:gd name="T5" fmla="*/ 153 h 239"/>
                <a:gd name="T6" fmla="*/ 132 w 177"/>
                <a:gd name="T7" fmla="*/ 166 h 239"/>
                <a:gd name="T8" fmla="*/ 126 w 177"/>
                <a:gd name="T9" fmla="*/ 185 h 239"/>
                <a:gd name="T10" fmla="*/ 106 w 177"/>
                <a:gd name="T11" fmla="*/ 198 h 239"/>
                <a:gd name="T12" fmla="*/ 85 w 177"/>
                <a:gd name="T13" fmla="*/ 201 h 239"/>
                <a:gd name="T14" fmla="*/ 61 w 177"/>
                <a:gd name="T15" fmla="*/ 197 h 239"/>
                <a:gd name="T16" fmla="*/ 36 w 177"/>
                <a:gd name="T17" fmla="*/ 187 h 239"/>
                <a:gd name="T18" fmla="*/ 0 w 177"/>
                <a:gd name="T19" fmla="*/ 210 h 239"/>
                <a:gd name="T20" fmla="*/ 18 w 177"/>
                <a:gd name="T21" fmla="*/ 222 h 239"/>
                <a:gd name="T22" fmla="*/ 50 w 177"/>
                <a:gd name="T23" fmla="*/ 235 h 239"/>
                <a:gd name="T24" fmla="*/ 83 w 177"/>
                <a:gd name="T25" fmla="*/ 239 h 239"/>
                <a:gd name="T26" fmla="*/ 106 w 177"/>
                <a:gd name="T27" fmla="*/ 238 h 239"/>
                <a:gd name="T28" fmla="*/ 134 w 177"/>
                <a:gd name="T29" fmla="*/ 231 h 239"/>
                <a:gd name="T30" fmla="*/ 154 w 177"/>
                <a:gd name="T31" fmla="*/ 218 h 239"/>
                <a:gd name="T32" fmla="*/ 168 w 177"/>
                <a:gd name="T33" fmla="*/ 202 h 239"/>
                <a:gd name="T34" fmla="*/ 176 w 177"/>
                <a:gd name="T35" fmla="*/ 182 h 239"/>
                <a:gd name="T36" fmla="*/ 177 w 177"/>
                <a:gd name="T37" fmla="*/ 168 h 239"/>
                <a:gd name="T38" fmla="*/ 168 w 177"/>
                <a:gd name="T39" fmla="*/ 137 h 239"/>
                <a:gd name="T40" fmla="*/ 149 w 177"/>
                <a:gd name="T41" fmla="*/ 118 h 239"/>
                <a:gd name="T42" fmla="*/ 133 w 177"/>
                <a:gd name="T43" fmla="*/ 112 h 239"/>
                <a:gd name="T44" fmla="*/ 154 w 177"/>
                <a:gd name="T45" fmla="*/ 99 h 239"/>
                <a:gd name="T46" fmla="*/ 167 w 177"/>
                <a:gd name="T47" fmla="*/ 80 h 239"/>
                <a:gd name="T48" fmla="*/ 170 w 177"/>
                <a:gd name="T49" fmla="*/ 64 h 239"/>
                <a:gd name="T50" fmla="*/ 167 w 177"/>
                <a:gd name="T51" fmla="*/ 45 h 239"/>
                <a:gd name="T52" fmla="*/ 159 w 177"/>
                <a:gd name="T53" fmla="*/ 28 h 239"/>
                <a:gd name="T54" fmla="*/ 144 w 177"/>
                <a:gd name="T55" fmla="*/ 15 h 239"/>
                <a:gd name="T56" fmla="*/ 123 w 177"/>
                <a:gd name="T57" fmla="*/ 5 h 239"/>
                <a:gd name="T58" fmla="*/ 96 w 177"/>
                <a:gd name="T59" fmla="*/ 0 h 239"/>
                <a:gd name="T60" fmla="*/ 74 w 177"/>
                <a:gd name="T61" fmla="*/ 0 h 239"/>
                <a:gd name="T62" fmla="*/ 43 w 177"/>
                <a:gd name="T63" fmla="*/ 7 h 239"/>
                <a:gd name="T64" fmla="*/ 15 w 177"/>
                <a:gd name="T65" fmla="*/ 20 h 239"/>
                <a:gd name="T66" fmla="*/ 27 w 177"/>
                <a:gd name="T67" fmla="*/ 60 h 239"/>
                <a:gd name="T68" fmla="*/ 56 w 177"/>
                <a:gd name="T69" fmla="*/ 44 h 239"/>
                <a:gd name="T70" fmla="*/ 79 w 177"/>
                <a:gd name="T71" fmla="*/ 39 h 239"/>
                <a:gd name="T72" fmla="*/ 97 w 177"/>
                <a:gd name="T73" fmla="*/ 39 h 239"/>
                <a:gd name="T74" fmla="*/ 117 w 177"/>
                <a:gd name="T75" fmla="*/ 47 h 239"/>
                <a:gd name="T76" fmla="*/ 125 w 177"/>
                <a:gd name="T77" fmla="*/ 62 h 239"/>
                <a:gd name="T78" fmla="*/ 125 w 177"/>
                <a:gd name="T79" fmla="*/ 72 h 239"/>
                <a:gd name="T80" fmla="*/ 118 w 177"/>
                <a:gd name="T81" fmla="*/ 86 h 239"/>
                <a:gd name="T82" fmla="*/ 99 w 177"/>
                <a:gd name="T83" fmla="*/ 94 h 239"/>
                <a:gd name="T84" fmla="*/ 61 w 177"/>
                <a:gd name="T85" fmla="*/ 13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7" h="239">
                  <a:moveTo>
                    <a:pt x="61" y="131"/>
                  </a:moveTo>
                  <a:lnTo>
                    <a:pt x="93" y="131"/>
                  </a:lnTo>
                  <a:lnTo>
                    <a:pt x="93" y="131"/>
                  </a:lnTo>
                  <a:lnTo>
                    <a:pt x="102" y="132"/>
                  </a:lnTo>
                  <a:lnTo>
                    <a:pt x="111" y="134"/>
                  </a:lnTo>
                  <a:lnTo>
                    <a:pt x="117" y="137"/>
                  </a:lnTo>
                  <a:lnTo>
                    <a:pt x="123" y="142"/>
                  </a:lnTo>
                  <a:lnTo>
                    <a:pt x="127" y="147"/>
                  </a:lnTo>
                  <a:lnTo>
                    <a:pt x="130" y="153"/>
                  </a:lnTo>
                  <a:lnTo>
                    <a:pt x="131" y="159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1" y="173"/>
                  </a:lnTo>
                  <a:lnTo>
                    <a:pt x="129" y="179"/>
                  </a:lnTo>
                  <a:lnTo>
                    <a:pt x="126" y="185"/>
                  </a:lnTo>
                  <a:lnTo>
                    <a:pt x="121" y="190"/>
                  </a:lnTo>
                  <a:lnTo>
                    <a:pt x="115" y="194"/>
                  </a:lnTo>
                  <a:lnTo>
                    <a:pt x="106" y="198"/>
                  </a:lnTo>
                  <a:lnTo>
                    <a:pt x="97" y="200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77" y="200"/>
                  </a:lnTo>
                  <a:lnTo>
                    <a:pt x="69" y="199"/>
                  </a:lnTo>
                  <a:lnTo>
                    <a:pt x="61" y="197"/>
                  </a:lnTo>
                  <a:lnTo>
                    <a:pt x="53" y="194"/>
                  </a:lnTo>
                  <a:lnTo>
                    <a:pt x="44" y="191"/>
                  </a:lnTo>
                  <a:lnTo>
                    <a:pt x="36" y="187"/>
                  </a:lnTo>
                  <a:lnTo>
                    <a:pt x="28" y="182"/>
                  </a:lnTo>
                  <a:lnTo>
                    <a:pt x="20" y="17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9" y="216"/>
                  </a:lnTo>
                  <a:lnTo>
                    <a:pt x="18" y="222"/>
                  </a:lnTo>
                  <a:lnTo>
                    <a:pt x="28" y="227"/>
                  </a:lnTo>
                  <a:lnTo>
                    <a:pt x="39" y="231"/>
                  </a:lnTo>
                  <a:lnTo>
                    <a:pt x="50" y="235"/>
                  </a:lnTo>
                  <a:lnTo>
                    <a:pt x="61" y="237"/>
                  </a:lnTo>
                  <a:lnTo>
                    <a:pt x="72" y="239"/>
                  </a:lnTo>
                  <a:lnTo>
                    <a:pt x="83" y="239"/>
                  </a:lnTo>
                  <a:lnTo>
                    <a:pt x="83" y="239"/>
                  </a:lnTo>
                  <a:lnTo>
                    <a:pt x="95" y="239"/>
                  </a:lnTo>
                  <a:lnTo>
                    <a:pt x="106" y="238"/>
                  </a:lnTo>
                  <a:lnTo>
                    <a:pt x="116" y="236"/>
                  </a:lnTo>
                  <a:lnTo>
                    <a:pt x="125" y="234"/>
                  </a:lnTo>
                  <a:lnTo>
                    <a:pt x="134" y="231"/>
                  </a:lnTo>
                  <a:lnTo>
                    <a:pt x="141" y="227"/>
                  </a:lnTo>
                  <a:lnTo>
                    <a:pt x="148" y="223"/>
                  </a:lnTo>
                  <a:lnTo>
                    <a:pt x="154" y="218"/>
                  </a:lnTo>
                  <a:lnTo>
                    <a:pt x="160" y="213"/>
                  </a:lnTo>
                  <a:lnTo>
                    <a:pt x="164" y="208"/>
                  </a:lnTo>
                  <a:lnTo>
                    <a:pt x="168" y="202"/>
                  </a:lnTo>
                  <a:lnTo>
                    <a:pt x="171" y="196"/>
                  </a:lnTo>
                  <a:lnTo>
                    <a:pt x="174" y="189"/>
                  </a:lnTo>
                  <a:lnTo>
                    <a:pt x="176" y="182"/>
                  </a:lnTo>
                  <a:lnTo>
                    <a:pt x="177" y="175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76" y="157"/>
                  </a:lnTo>
                  <a:lnTo>
                    <a:pt x="173" y="145"/>
                  </a:lnTo>
                  <a:lnTo>
                    <a:pt x="168" y="137"/>
                  </a:lnTo>
                  <a:lnTo>
                    <a:pt x="163" y="129"/>
                  </a:lnTo>
                  <a:lnTo>
                    <a:pt x="156" y="123"/>
                  </a:lnTo>
                  <a:lnTo>
                    <a:pt x="149" y="118"/>
                  </a:lnTo>
                  <a:lnTo>
                    <a:pt x="141" y="114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41" y="108"/>
                  </a:lnTo>
                  <a:lnTo>
                    <a:pt x="148" y="104"/>
                  </a:lnTo>
                  <a:lnTo>
                    <a:pt x="154" y="99"/>
                  </a:lnTo>
                  <a:lnTo>
                    <a:pt x="159" y="94"/>
                  </a:lnTo>
                  <a:lnTo>
                    <a:pt x="164" y="88"/>
                  </a:lnTo>
                  <a:lnTo>
                    <a:pt x="167" y="80"/>
                  </a:lnTo>
                  <a:lnTo>
                    <a:pt x="169" y="73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70" y="57"/>
                  </a:lnTo>
                  <a:lnTo>
                    <a:pt x="169" y="51"/>
                  </a:lnTo>
                  <a:lnTo>
                    <a:pt x="167" y="45"/>
                  </a:lnTo>
                  <a:lnTo>
                    <a:pt x="165" y="39"/>
                  </a:lnTo>
                  <a:lnTo>
                    <a:pt x="162" y="34"/>
                  </a:lnTo>
                  <a:lnTo>
                    <a:pt x="159" y="28"/>
                  </a:lnTo>
                  <a:lnTo>
                    <a:pt x="155" y="23"/>
                  </a:lnTo>
                  <a:lnTo>
                    <a:pt x="150" y="19"/>
                  </a:lnTo>
                  <a:lnTo>
                    <a:pt x="144" y="15"/>
                  </a:lnTo>
                  <a:lnTo>
                    <a:pt x="138" y="11"/>
                  </a:lnTo>
                  <a:lnTo>
                    <a:pt x="131" y="8"/>
                  </a:lnTo>
                  <a:lnTo>
                    <a:pt x="123" y="5"/>
                  </a:lnTo>
                  <a:lnTo>
                    <a:pt x="115" y="3"/>
                  </a:lnTo>
                  <a:lnTo>
                    <a:pt x="106" y="1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4" y="2"/>
                  </a:lnTo>
                  <a:lnTo>
                    <a:pt x="53" y="4"/>
                  </a:lnTo>
                  <a:lnTo>
                    <a:pt x="43" y="7"/>
                  </a:lnTo>
                  <a:lnTo>
                    <a:pt x="33" y="11"/>
                  </a:lnTo>
                  <a:lnTo>
                    <a:pt x="24" y="15"/>
                  </a:lnTo>
                  <a:lnTo>
                    <a:pt x="15" y="20"/>
                  </a:lnTo>
                  <a:lnTo>
                    <a:pt x="7" y="25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41" y="50"/>
                  </a:lnTo>
                  <a:lnTo>
                    <a:pt x="49" y="47"/>
                  </a:lnTo>
                  <a:lnTo>
                    <a:pt x="56" y="44"/>
                  </a:lnTo>
                  <a:lnTo>
                    <a:pt x="63" y="42"/>
                  </a:lnTo>
                  <a:lnTo>
                    <a:pt x="71" y="40"/>
                  </a:lnTo>
                  <a:lnTo>
                    <a:pt x="79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5" y="41"/>
                  </a:lnTo>
                  <a:lnTo>
                    <a:pt x="111" y="44"/>
                  </a:lnTo>
                  <a:lnTo>
                    <a:pt x="117" y="47"/>
                  </a:lnTo>
                  <a:lnTo>
                    <a:pt x="121" y="52"/>
                  </a:lnTo>
                  <a:lnTo>
                    <a:pt x="124" y="56"/>
                  </a:lnTo>
                  <a:lnTo>
                    <a:pt x="125" y="62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5" y="72"/>
                  </a:lnTo>
                  <a:lnTo>
                    <a:pt x="124" y="77"/>
                  </a:lnTo>
                  <a:lnTo>
                    <a:pt x="121" y="82"/>
                  </a:lnTo>
                  <a:lnTo>
                    <a:pt x="118" y="86"/>
                  </a:lnTo>
                  <a:lnTo>
                    <a:pt x="113" y="89"/>
                  </a:lnTo>
                  <a:lnTo>
                    <a:pt x="107" y="92"/>
                  </a:lnTo>
                  <a:lnTo>
                    <a:pt x="99" y="94"/>
                  </a:lnTo>
                  <a:lnTo>
                    <a:pt x="91" y="94"/>
                  </a:lnTo>
                  <a:lnTo>
                    <a:pt x="61" y="94"/>
                  </a:lnTo>
                  <a:lnTo>
                    <a:pt x="61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1" name="Freeform 140"/>
            <p:cNvSpPr>
              <a:spLocks/>
            </p:cNvSpPr>
            <p:nvPr userDrawn="1"/>
          </p:nvSpPr>
          <p:spPr bwMode="auto">
            <a:xfrm>
              <a:off x="2665413" y="6365876"/>
              <a:ext cx="73025" cy="90488"/>
            </a:xfrm>
            <a:custGeom>
              <a:avLst/>
              <a:gdLst>
                <a:gd name="T0" fmla="*/ 139 w 185"/>
                <a:gd name="T1" fmla="*/ 0 h 230"/>
                <a:gd name="T2" fmla="*/ 139 w 185"/>
                <a:gd name="T3" fmla="*/ 87 h 230"/>
                <a:gd name="T4" fmla="*/ 45 w 185"/>
                <a:gd name="T5" fmla="*/ 87 h 230"/>
                <a:gd name="T6" fmla="*/ 45 w 185"/>
                <a:gd name="T7" fmla="*/ 0 h 230"/>
                <a:gd name="T8" fmla="*/ 0 w 185"/>
                <a:gd name="T9" fmla="*/ 0 h 230"/>
                <a:gd name="T10" fmla="*/ 0 w 185"/>
                <a:gd name="T11" fmla="*/ 230 h 230"/>
                <a:gd name="T12" fmla="*/ 45 w 185"/>
                <a:gd name="T13" fmla="*/ 230 h 230"/>
                <a:gd name="T14" fmla="*/ 45 w 185"/>
                <a:gd name="T15" fmla="*/ 126 h 230"/>
                <a:gd name="T16" fmla="*/ 139 w 185"/>
                <a:gd name="T17" fmla="*/ 126 h 230"/>
                <a:gd name="T18" fmla="*/ 139 w 185"/>
                <a:gd name="T19" fmla="*/ 230 h 230"/>
                <a:gd name="T20" fmla="*/ 185 w 185"/>
                <a:gd name="T21" fmla="*/ 230 h 230"/>
                <a:gd name="T22" fmla="*/ 185 w 185"/>
                <a:gd name="T23" fmla="*/ 0 h 230"/>
                <a:gd name="T24" fmla="*/ 139 w 185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30">
                  <a:moveTo>
                    <a:pt x="139" y="0"/>
                  </a:moveTo>
                  <a:lnTo>
                    <a:pt x="139" y="87"/>
                  </a:lnTo>
                  <a:lnTo>
                    <a:pt x="45" y="87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5" y="230"/>
                  </a:lnTo>
                  <a:lnTo>
                    <a:pt x="45" y="126"/>
                  </a:lnTo>
                  <a:lnTo>
                    <a:pt x="139" y="126"/>
                  </a:lnTo>
                  <a:lnTo>
                    <a:pt x="139" y="230"/>
                  </a:lnTo>
                  <a:lnTo>
                    <a:pt x="185" y="230"/>
                  </a:lnTo>
                  <a:lnTo>
                    <a:pt x="185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2" name="Freeform 141"/>
            <p:cNvSpPr>
              <a:spLocks noEditPoints="1"/>
            </p:cNvSpPr>
            <p:nvPr userDrawn="1"/>
          </p:nvSpPr>
          <p:spPr bwMode="auto">
            <a:xfrm>
              <a:off x="2757488" y="6362701"/>
              <a:ext cx="77788" cy="95250"/>
            </a:xfrm>
            <a:custGeom>
              <a:avLst/>
              <a:gdLst>
                <a:gd name="T0" fmla="*/ 197 w 197"/>
                <a:gd name="T1" fmla="*/ 114 h 239"/>
                <a:gd name="T2" fmla="*/ 195 w 197"/>
                <a:gd name="T3" fmla="*/ 92 h 239"/>
                <a:gd name="T4" fmla="*/ 191 w 197"/>
                <a:gd name="T5" fmla="*/ 70 h 239"/>
                <a:gd name="T6" fmla="*/ 183 w 197"/>
                <a:gd name="T7" fmla="*/ 51 h 239"/>
                <a:gd name="T8" fmla="*/ 173 w 197"/>
                <a:gd name="T9" fmla="*/ 34 h 239"/>
                <a:gd name="T10" fmla="*/ 159 w 197"/>
                <a:gd name="T11" fmla="*/ 20 h 239"/>
                <a:gd name="T12" fmla="*/ 143 w 197"/>
                <a:gd name="T13" fmla="*/ 9 h 239"/>
                <a:gd name="T14" fmla="*/ 123 w 197"/>
                <a:gd name="T15" fmla="*/ 2 h 239"/>
                <a:gd name="T16" fmla="*/ 100 w 197"/>
                <a:gd name="T17" fmla="*/ 0 h 239"/>
                <a:gd name="T18" fmla="*/ 89 w 197"/>
                <a:gd name="T19" fmla="*/ 0 h 239"/>
                <a:gd name="T20" fmla="*/ 69 w 197"/>
                <a:gd name="T21" fmla="*/ 4 h 239"/>
                <a:gd name="T22" fmla="*/ 51 w 197"/>
                <a:gd name="T23" fmla="*/ 12 h 239"/>
                <a:gd name="T24" fmla="*/ 35 w 197"/>
                <a:gd name="T25" fmla="*/ 23 h 239"/>
                <a:gd name="T26" fmla="*/ 22 w 197"/>
                <a:gd name="T27" fmla="*/ 38 h 239"/>
                <a:gd name="T28" fmla="*/ 11 w 197"/>
                <a:gd name="T29" fmla="*/ 57 h 239"/>
                <a:gd name="T30" fmla="*/ 4 w 197"/>
                <a:gd name="T31" fmla="*/ 79 h 239"/>
                <a:gd name="T32" fmla="*/ 1 w 197"/>
                <a:gd name="T33" fmla="*/ 105 h 239"/>
                <a:gd name="T34" fmla="*/ 0 w 197"/>
                <a:gd name="T35" fmla="*/ 119 h 239"/>
                <a:gd name="T36" fmla="*/ 2 w 197"/>
                <a:gd name="T37" fmla="*/ 147 h 239"/>
                <a:gd name="T38" fmla="*/ 9 w 197"/>
                <a:gd name="T39" fmla="*/ 173 h 239"/>
                <a:gd name="T40" fmla="*/ 19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9 h 239"/>
                <a:gd name="T52" fmla="*/ 99 w 197"/>
                <a:gd name="T53" fmla="*/ 239 h 239"/>
                <a:gd name="T54" fmla="*/ 124 w 197"/>
                <a:gd name="T55" fmla="*/ 237 h 239"/>
                <a:gd name="T56" fmla="*/ 145 w 197"/>
                <a:gd name="T57" fmla="*/ 231 h 239"/>
                <a:gd name="T58" fmla="*/ 154 w 197"/>
                <a:gd name="T59" fmla="*/ 227 h 239"/>
                <a:gd name="T60" fmla="*/ 170 w 197"/>
                <a:gd name="T61" fmla="*/ 217 h 239"/>
                <a:gd name="T62" fmla="*/ 151 w 197"/>
                <a:gd name="T63" fmla="*/ 180 h 239"/>
                <a:gd name="T64" fmla="*/ 139 w 197"/>
                <a:gd name="T65" fmla="*/ 188 h 239"/>
                <a:gd name="T66" fmla="*/ 128 w 197"/>
                <a:gd name="T67" fmla="*/ 194 h 239"/>
                <a:gd name="T68" fmla="*/ 116 w 197"/>
                <a:gd name="T69" fmla="*/ 197 h 239"/>
                <a:gd name="T70" fmla="*/ 102 w 197"/>
                <a:gd name="T71" fmla="*/ 199 h 239"/>
                <a:gd name="T72" fmla="*/ 91 w 197"/>
                <a:gd name="T73" fmla="*/ 198 h 239"/>
                <a:gd name="T74" fmla="*/ 73 w 197"/>
                <a:gd name="T75" fmla="*/ 191 h 239"/>
                <a:gd name="T76" fmla="*/ 57 w 197"/>
                <a:gd name="T77" fmla="*/ 175 h 239"/>
                <a:gd name="T78" fmla="*/ 47 w 197"/>
                <a:gd name="T79" fmla="*/ 151 h 239"/>
                <a:gd name="T80" fmla="*/ 195 w 197"/>
                <a:gd name="T81" fmla="*/ 135 h 239"/>
                <a:gd name="T82" fmla="*/ 196 w 197"/>
                <a:gd name="T83" fmla="*/ 126 h 239"/>
                <a:gd name="T84" fmla="*/ 197 w 197"/>
                <a:gd name="T85" fmla="*/ 114 h 239"/>
                <a:gd name="T86" fmla="*/ 45 w 197"/>
                <a:gd name="T87" fmla="*/ 98 h 239"/>
                <a:gd name="T88" fmla="*/ 50 w 197"/>
                <a:gd name="T89" fmla="*/ 73 h 239"/>
                <a:gd name="T90" fmla="*/ 61 w 197"/>
                <a:gd name="T91" fmla="*/ 55 h 239"/>
                <a:gd name="T92" fmla="*/ 77 w 197"/>
                <a:gd name="T93" fmla="*/ 44 h 239"/>
                <a:gd name="T94" fmla="*/ 97 w 197"/>
                <a:gd name="T95" fmla="*/ 40 h 239"/>
                <a:gd name="T96" fmla="*/ 104 w 197"/>
                <a:gd name="T97" fmla="*/ 41 h 239"/>
                <a:gd name="T98" fmla="*/ 116 w 197"/>
                <a:gd name="T99" fmla="*/ 43 h 239"/>
                <a:gd name="T100" fmla="*/ 126 w 197"/>
                <a:gd name="T101" fmla="*/ 47 h 239"/>
                <a:gd name="T102" fmla="*/ 137 w 197"/>
                <a:gd name="T103" fmla="*/ 57 h 239"/>
                <a:gd name="T104" fmla="*/ 147 w 197"/>
                <a:gd name="T105" fmla="*/ 76 h 239"/>
                <a:gd name="T106" fmla="*/ 151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4"/>
                  </a:moveTo>
                  <a:lnTo>
                    <a:pt x="197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2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1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3" y="184"/>
                  </a:lnTo>
                  <a:lnTo>
                    <a:pt x="19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91" y="198"/>
                  </a:lnTo>
                  <a:lnTo>
                    <a:pt x="82" y="195"/>
                  </a:lnTo>
                  <a:lnTo>
                    <a:pt x="73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7" y="114"/>
                  </a:lnTo>
                  <a:lnTo>
                    <a:pt x="197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7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3" name="Freeform 142"/>
            <p:cNvSpPr>
              <a:spLocks/>
            </p:cNvSpPr>
            <p:nvPr userDrawn="1"/>
          </p:nvSpPr>
          <p:spPr bwMode="auto">
            <a:xfrm>
              <a:off x="2849563" y="6362701"/>
              <a:ext cx="73025" cy="95250"/>
            </a:xfrm>
            <a:custGeom>
              <a:avLst/>
              <a:gdLst>
                <a:gd name="T0" fmla="*/ 182 w 182"/>
                <a:gd name="T1" fmla="*/ 39 h 239"/>
                <a:gd name="T2" fmla="*/ 165 w 182"/>
                <a:gd name="T3" fmla="*/ 22 h 239"/>
                <a:gd name="T4" fmla="*/ 146 w 182"/>
                <a:gd name="T5" fmla="*/ 10 h 239"/>
                <a:gd name="T6" fmla="*/ 124 w 182"/>
                <a:gd name="T7" fmla="*/ 2 h 239"/>
                <a:gd name="T8" fmla="*/ 101 w 182"/>
                <a:gd name="T9" fmla="*/ 0 h 239"/>
                <a:gd name="T10" fmla="*/ 90 w 182"/>
                <a:gd name="T11" fmla="*/ 0 h 239"/>
                <a:gd name="T12" fmla="*/ 71 w 182"/>
                <a:gd name="T13" fmla="*/ 4 h 239"/>
                <a:gd name="T14" fmla="*/ 53 w 182"/>
                <a:gd name="T15" fmla="*/ 12 h 239"/>
                <a:gd name="T16" fmla="*/ 37 w 182"/>
                <a:gd name="T17" fmla="*/ 24 h 239"/>
                <a:gd name="T18" fmla="*/ 23 w 182"/>
                <a:gd name="T19" fmla="*/ 39 h 239"/>
                <a:gd name="T20" fmla="*/ 12 w 182"/>
                <a:gd name="T21" fmla="*/ 58 h 239"/>
                <a:gd name="T22" fmla="*/ 5 w 182"/>
                <a:gd name="T23" fmla="*/ 80 h 239"/>
                <a:gd name="T24" fmla="*/ 1 w 182"/>
                <a:gd name="T25" fmla="*/ 106 h 239"/>
                <a:gd name="T26" fmla="*/ 0 w 182"/>
                <a:gd name="T27" fmla="*/ 120 h 239"/>
                <a:gd name="T28" fmla="*/ 2 w 182"/>
                <a:gd name="T29" fmla="*/ 145 h 239"/>
                <a:gd name="T30" fmla="*/ 8 w 182"/>
                <a:gd name="T31" fmla="*/ 169 h 239"/>
                <a:gd name="T32" fmla="*/ 17 w 182"/>
                <a:gd name="T33" fmla="*/ 190 h 239"/>
                <a:gd name="T34" fmla="*/ 29 w 182"/>
                <a:gd name="T35" fmla="*/ 207 h 239"/>
                <a:gd name="T36" fmla="*/ 43 w 182"/>
                <a:gd name="T37" fmla="*/ 221 h 239"/>
                <a:gd name="T38" fmla="*/ 60 w 182"/>
                <a:gd name="T39" fmla="*/ 231 h 239"/>
                <a:gd name="T40" fmla="*/ 79 w 182"/>
                <a:gd name="T41" fmla="*/ 237 h 239"/>
                <a:gd name="T42" fmla="*/ 99 w 182"/>
                <a:gd name="T43" fmla="*/ 239 h 239"/>
                <a:gd name="T44" fmla="*/ 114 w 182"/>
                <a:gd name="T45" fmla="*/ 238 h 239"/>
                <a:gd name="T46" fmla="*/ 139 w 182"/>
                <a:gd name="T47" fmla="*/ 232 h 239"/>
                <a:gd name="T48" fmla="*/ 158 w 182"/>
                <a:gd name="T49" fmla="*/ 220 h 239"/>
                <a:gd name="T50" fmla="*/ 174 w 182"/>
                <a:gd name="T51" fmla="*/ 205 h 239"/>
                <a:gd name="T52" fmla="*/ 152 w 182"/>
                <a:gd name="T53" fmla="*/ 168 h 239"/>
                <a:gd name="T54" fmla="*/ 140 w 182"/>
                <a:gd name="T55" fmla="*/ 181 h 239"/>
                <a:gd name="T56" fmla="*/ 128 w 182"/>
                <a:gd name="T57" fmla="*/ 189 h 239"/>
                <a:gd name="T58" fmla="*/ 115 w 182"/>
                <a:gd name="T59" fmla="*/ 195 h 239"/>
                <a:gd name="T60" fmla="*/ 101 w 182"/>
                <a:gd name="T61" fmla="*/ 197 h 239"/>
                <a:gd name="T62" fmla="*/ 94 w 182"/>
                <a:gd name="T63" fmla="*/ 196 h 239"/>
                <a:gd name="T64" fmla="*/ 82 w 182"/>
                <a:gd name="T65" fmla="*/ 193 h 239"/>
                <a:gd name="T66" fmla="*/ 72 w 182"/>
                <a:gd name="T67" fmla="*/ 188 h 239"/>
                <a:gd name="T68" fmla="*/ 63 w 182"/>
                <a:gd name="T69" fmla="*/ 180 h 239"/>
                <a:gd name="T70" fmla="*/ 56 w 182"/>
                <a:gd name="T71" fmla="*/ 169 h 239"/>
                <a:gd name="T72" fmla="*/ 49 w 182"/>
                <a:gd name="T73" fmla="*/ 150 h 239"/>
                <a:gd name="T74" fmla="*/ 46 w 182"/>
                <a:gd name="T75" fmla="*/ 118 h 239"/>
                <a:gd name="T76" fmla="*/ 47 w 182"/>
                <a:gd name="T77" fmla="*/ 102 h 239"/>
                <a:gd name="T78" fmla="*/ 54 w 182"/>
                <a:gd name="T79" fmla="*/ 74 h 239"/>
                <a:gd name="T80" fmla="*/ 60 w 182"/>
                <a:gd name="T81" fmla="*/ 63 h 239"/>
                <a:gd name="T82" fmla="*/ 68 w 182"/>
                <a:gd name="T83" fmla="*/ 54 h 239"/>
                <a:gd name="T84" fmla="*/ 77 w 182"/>
                <a:gd name="T85" fmla="*/ 48 h 239"/>
                <a:gd name="T86" fmla="*/ 88 w 182"/>
                <a:gd name="T87" fmla="*/ 44 h 239"/>
                <a:gd name="T88" fmla="*/ 99 w 182"/>
                <a:gd name="T89" fmla="*/ 43 h 239"/>
                <a:gd name="T90" fmla="*/ 107 w 182"/>
                <a:gd name="T91" fmla="*/ 43 h 239"/>
                <a:gd name="T92" fmla="*/ 121 w 182"/>
                <a:gd name="T93" fmla="*/ 46 h 239"/>
                <a:gd name="T94" fmla="*/ 135 w 182"/>
                <a:gd name="T95" fmla="*/ 53 h 239"/>
                <a:gd name="T96" fmla="*/ 148 w 182"/>
                <a:gd name="T97" fmla="*/ 64 h 239"/>
                <a:gd name="T98" fmla="*/ 182 w 182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2" h="239">
                  <a:moveTo>
                    <a:pt x="182" y="39"/>
                  </a:moveTo>
                  <a:lnTo>
                    <a:pt x="182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5"/>
                  </a:lnTo>
                  <a:lnTo>
                    <a:pt x="146" y="10"/>
                  </a:lnTo>
                  <a:lnTo>
                    <a:pt x="135" y="5"/>
                  </a:lnTo>
                  <a:lnTo>
                    <a:pt x="124" y="2"/>
                  </a:lnTo>
                  <a:lnTo>
                    <a:pt x="113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0"/>
                  </a:lnTo>
                  <a:lnTo>
                    <a:pt x="80" y="2"/>
                  </a:lnTo>
                  <a:lnTo>
                    <a:pt x="71" y="4"/>
                  </a:lnTo>
                  <a:lnTo>
                    <a:pt x="61" y="8"/>
                  </a:lnTo>
                  <a:lnTo>
                    <a:pt x="53" y="12"/>
                  </a:lnTo>
                  <a:lnTo>
                    <a:pt x="44" y="18"/>
                  </a:lnTo>
                  <a:lnTo>
                    <a:pt x="37" y="24"/>
                  </a:lnTo>
                  <a:lnTo>
                    <a:pt x="30" y="31"/>
                  </a:lnTo>
                  <a:lnTo>
                    <a:pt x="23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5" y="80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90"/>
                  </a:lnTo>
                  <a:lnTo>
                    <a:pt x="23" y="199"/>
                  </a:lnTo>
                  <a:lnTo>
                    <a:pt x="29" y="207"/>
                  </a:lnTo>
                  <a:lnTo>
                    <a:pt x="36" y="214"/>
                  </a:lnTo>
                  <a:lnTo>
                    <a:pt x="43" y="221"/>
                  </a:lnTo>
                  <a:lnTo>
                    <a:pt x="52" y="226"/>
                  </a:lnTo>
                  <a:lnTo>
                    <a:pt x="60" y="231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6"/>
                  </a:lnTo>
                  <a:lnTo>
                    <a:pt x="139" y="232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3"/>
                  </a:lnTo>
                  <a:lnTo>
                    <a:pt x="174" y="205"/>
                  </a:lnTo>
                  <a:lnTo>
                    <a:pt x="181" y="197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1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2" y="193"/>
                  </a:lnTo>
                  <a:lnTo>
                    <a:pt x="115" y="195"/>
                  </a:lnTo>
                  <a:lnTo>
                    <a:pt x="108" y="196"/>
                  </a:lnTo>
                  <a:lnTo>
                    <a:pt x="101" y="197"/>
                  </a:lnTo>
                  <a:lnTo>
                    <a:pt x="101" y="197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1"/>
                  </a:lnTo>
                  <a:lnTo>
                    <a:pt x="72" y="188"/>
                  </a:lnTo>
                  <a:lnTo>
                    <a:pt x="67" y="184"/>
                  </a:lnTo>
                  <a:lnTo>
                    <a:pt x="63" y="180"/>
                  </a:lnTo>
                  <a:lnTo>
                    <a:pt x="60" y="175"/>
                  </a:lnTo>
                  <a:lnTo>
                    <a:pt x="56" y="169"/>
                  </a:lnTo>
                  <a:lnTo>
                    <a:pt x="54" y="164"/>
                  </a:lnTo>
                  <a:lnTo>
                    <a:pt x="49" y="150"/>
                  </a:lnTo>
                  <a:lnTo>
                    <a:pt x="47" y="135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7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8"/>
                  </a:lnTo>
                  <a:lnTo>
                    <a:pt x="68" y="54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8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4"/>
                  </a:lnTo>
                  <a:lnTo>
                    <a:pt x="121" y="46"/>
                  </a:lnTo>
                  <a:lnTo>
                    <a:pt x="128" y="49"/>
                  </a:lnTo>
                  <a:lnTo>
                    <a:pt x="135" y="53"/>
                  </a:lnTo>
                  <a:lnTo>
                    <a:pt x="141" y="58"/>
                  </a:lnTo>
                  <a:lnTo>
                    <a:pt x="148" y="64"/>
                  </a:lnTo>
                  <a:lnTo>
                    <a:pt x="155" y="70"/>
                  </a:lnTo>
                  <a:lnTo>
                    <a:pt x="182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4" name="Freeform 143"/>
            <p:cNvSpPr>
              <a:spLocks noEditPoints="1"/>
            </p:cNvSpPr>
            <p:nvPr userDrawn="1"/>
          </p:nvSpPr>
          <p:spPr bwMode="auto">
            <a:xfrm>
              <a:off x="2936875" y="6362701"/>
              <a:ext cx="74613" cy="95250"/>
            </a:xfrm>
            <a:custGeom>
              <a:avLst/>
              <a:gdLst>
                <a:gd name="T0" fmla="*/ 186 w 186"/>
                <a:gd name="T1" fmla="*/ 77 h 239"/>
                <a:gd name="T2" fmla="*/ 185 w 186"/>
                <a:gd name="T3" fmla="*/ 67 h 239"/>
                <a:gd name="T4" fmla="*/ 182 w 186"/>
                <a:gd name="T5" fmla="*/ 50 h 239"/>
                <a:gd name="T6" fmla="*/ 176 w 186"/>
                <a:gd name="T7" fmla="*/ 36 h 239"/>
                <a:gd name="T8" fmla="*/ 167 w 186"/>
                <a:gd name="T9" fmla="*/ 24 h 239"/>
                <a:gd name="T10" fmla="*/ 156 w 186"/>
                <a:gd name="T11" fmla="*/ 14 h 239"/>
                <a:gd name="T12" fmla="*/ 142 w 186"/>
                <a:gd name="T13" fmla="*/ 7 h 239"/>
                <a:gd name="T14" fmla="*/ 127 w 186"/>
                <a:gd name="T15" fmla="*/ 2 h 239"/>
                <a:gd name="T16" fmla="*/ 109 w 186"/>
                <a:gd name="T17" fmla="*/ 0 h 239"/>
                <a:gd name="T18" fmla="*/ 100 w 186"/>
                <a:gd name="T19" fmla="*/ 0 h 239"/>
                <a:gd name="T20" fmla="*/ 77 w 186"/>
                <a:gd name="T21" fmla="*/ 1 h 239"/>
                <a:gd name="T22" fmla="*/ 57 w 186"/>
                <a:gd name="T23" fmla="*/ 5 h 239"/>
                <a:gd name="T24" fmla="*/ 38 w 186"/>
                <a:gd name="T25" fmla="*/ 11 h 239"/>
                <a:gd name="T26" fmla="*/ 21 w 186"/>
                <a:gd name="T27" fmla="*/ 20 h 239"/>
                <a:gd name="T28" fmla="*/ 39 w 186"/>
                <a:gd name="T29" fmla="*/ 54 h 239"/>
                <a:gd name="T30" fmla="*/ 67 w 186"/>
                <a:gd name="T31" fmla="*/ 43 h 239"/>
                <a:gd name="T32" fmla="*/ 99 w 186"/>
                <a:gd name="T33" fmla="*/ 40 h 239"/>
                <a:gd name="T34" fmla="*/ 108 w 186"/>
                <a:gd name="T35" fmla="*/ 41 h 239"/>
                <a:gd name="T36" fmla="*/ 125 w 186"/>
                <a:gd name="T37" fmla="*/ 46 h 239"/>
                <a:gd name="T38" fmla="*/ 135 w 186"/>
                <a:gd name="T39" fmla="*/ 56 h 239"/>
                <a:gd name="T40" fmla="*/ 141 w 186"/>
                <a:gd name="T41" fmla="*/ 70 h 239"/>
                <a:gd name="T42" fmla="*/ 142 w 186"/>
                <a:gd name="T43" fmla="*/ 96 h 239"/>
                <a:gd name="T44" fmla="*/ 133 w 186"/>
                <a:gd name="T45" fmla="*/ 92 h 239"/>
                <a:gd name="T46" fmla="*/ 107 w 186"/>
                <a:gd name="T47" fmla="*/ 88 h 239"/>
                <a:gd name="T48" fmla="*/ 91 w 186"/>
                <a:gd name="T49" fmla="*/ 87 h 239"/>
                <a:gd name="T50" fmla="*/ 63 w 186"/>
                <a:gd name="T51" fmla="*/ 89 h 239"/>
                <a:gd name="T52" fmla="*/ 47 w 186"/>
                <a:gd name="T53" fmla="*/ 94 h 239"/>
                <a:gd name="T54" fmla="*/ 32 w 186"/>
                <a:gd name="T55" fmla="*/ 101 h 239"/>
                <a:gd name="T56" fmla="*/ 20 w 186"/>
                <a:gd name="T57" fmla="*/ 110 h 239"/>
                <a:gd name="T58" fmla="*/ 10 w 186"/>
                <a:gd name="T59" fmla="*/ 121 h 239"/>
                <a:gd name="T60" fmla="*/ 4 w 186"/>
                <a:gd name="T61" fmla="*/ 135 h 239"/>
                <a:gd name="T62" fmla="*/ 0 w 186"/>
                <a:gd name="T63" fmla="*/ 153 h 239"/>
                <a:gd name="T64" fmla="*/ 0 w 186"/>
                <a:gd name="T65" fmla="*/ 162 h 239"/>
                <a:gd name="T66" fmla="*/ 2 w 186"/>
                <a:gd name="T67" fmla="*/ 182 h 239"/>
                <a:gd name="T68" fmla="*/ 7 w 186"/>
                <a:gd name="T69" fmla="*/ 198 h 239"/>
                <a:gd name="T70" fmla="*/ 15 w 186"/>
                <a:gd name="T71" fmla="*/ 211 h 239"/>
                <a:gd name="T72" fmla="*/ 25 w 186"/>
                <a:gd name="T73" fmla="*/ 222 h 239"/>
                <a:gd name="T74" fmla="*/ 38 w 186"/>
                <a:gd name="T75" fmla="*/ 230 h 239"/>
                <a:gd name="T76" fmla="*/ 51 w 186"/>
                <a:gd name="T77" fmla="*/ 235 h 239"/>
                <a:gd name="T78" fmla="*/ 79 w 186"/>
                <a:gd name="T79" fmla="*/ 239 h 239"/>
                <a:gd name="T80" fmla="*/ 90 w 186"/>
                <a:gd name="T81" fmla="*/ 239 h 239"/>
                <a:gd name="T82" fmla="*/ 108 w 186"/>
                <a:gd name="T83" fmla="*/ 234 h 239"/>
                <a:gd name="T84" fmla="*/ 115 w 186"/>
                <a:gd name="T85" fmla="*/ 231 h 239"/>
                <a:gd name="T86" fmla="*/ 134 w 186"/>
                <a:gd name="T87" fmla="*/ 219 h 239"/>
                <a:gd name="T88" fmla="*/ 142 w 186"/>
                <a:gd name="T89" fmla="*/ 235 h 239"/>
                <a:gd name="T90" fmla="*/ 142 w 186"/>
                <a:gd name="T91" fmla="*/ 170 h 239"/>
                <a:gd name="T92" fmla="*/ 137 w 186"/>
                <a:gd name="T93" fmla="*/ 175 h 239"/>
                <a:gd name="T94" fmla="*/ 126 w 186"/>
                <a:gd name="T95" fmla="*/ 185 h 239"/>
                <a:gd name="T96" fmla="*/ 112 w 186"/>
                <a:gd name="T97" fmla="*/ 193 h 239"/>
                <a:gd name="T98" fmla="*/ 95 w 186"/>
                <a:gd name="T99" fmla="*/ 198 h 239"/>
                <a:gd name="T100" fmla="*/ 86 w 186"/>
                <a:gd name="T101" fmla="*/ 199 h 239"/>
                <a:gd name="T102" fmla="*/ 68 w 186"/>
                <a:gd name="T103" fmla="*/ 196 h 239"/>
                <a:gd name="T104" fmla="*/ 55 w 186"/>
                <a:gd name="T105" fmla="*/ 190 h 239"/>
                <a:gd name="T106" fmla="*/ 50 w 186"/>
                <a:gd name="T107" fmla="*/ 185 h 239"/>
                <a:gd name="T108" fmla="*/ 43 w 186"/>
                <a:gd name="T109" fmla="*/ 170 h 239"/>
                <a:gd name="T110" fmla="*/ 42 w 186"/>
                <a:gd name="T111" fmla="*/ 161 h 239"/>
                <a:gd name="T112" fmla="*/ 46 w 186"/>
                <a:gd name="T113" fmla="*/ 146 h 239"/>
                <a:gd name="T114" fmla="*/ 55 w 186"/>
                <a:gd name="T115" fmla="*/ 135 h 239"/>
                <a:gd name="T116" fmla="*/ 70 w 186"/>
                <a:gd name="T117" fmla="*/ 128 h 239"/>
                <a:gd name="T118" fmla="*/ 89 w 186"/>
                <a:gd name="T119" fmla="*/ 126 h 239"/>
                <a:gd name="T120" fmla="*/ 106 w 186"/>
                <a:gd name="T121" fmla="*/ 126 h 239"/>
                <a:gd name="T122" fmla="*/ 120 w 186"/>
                <a:gd name="T123" fmla="*/ 128 h 239"/>
                <a:gd name="T124" fmla="*/ 142 w 186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239">
                  <a:moveTo>
                    <a:pt x="186" y="235"/>
                  </a:moveTo>
                  <a:lnTo>
                    <a:pt x="186" y="77"/>
                  </a:lnTo>
                  <a:lnTo>
                    <a:pt x="186" y="77"/>
                  </a:lnTo>
                  <a:lnTo>
                    <a:pt x="185" y="67"/>
                  </a:lnTo>
                  <a:lnTo>
                    <a:pt x="184" y="58"/>
                  </a:lnTo>
                  <a:lnTo>
                    <a:pt x="182" y="50"/>
                  </a:lnTo>
                  <a:lnTo>
                    <a:pt x="180" y="43"/>
                  </a:lnTo>
                  <a:lnTo>
                    <a:pt x="176" y="36"/>
                  </a:lnTo>
                  <a:lnTo>
                    <a:pt x="172" y="29"/>
                  </a:lnTo>
                  <a:lnTo>
                    <a:pt x="167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49" y="10"/>
                  </a:lnTo>
                  <a:lnTo>
                    <a:pt x="142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1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2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8" y="41"/>
                  </a:lnTo>
                  <a:lnTo>
                    <a:pt x="117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5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8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6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7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5" name="Freeform 144"/>
            <p:cNvSpPr>
              <a:spLocks/>
            </p:cNvSpPr>
            <p:nvPr userDrawn="1"/>
          </p:nvSpPr>
          <p:spPr bwMode="auto">
            <a:xfrm>
              <a:off x="3033713" y="6432551"/>
              <a:ext cx="25400" cy="44450"/>
            </a:xfrm>
            <a:custGeom>
              <a:avLst/>
              <a:gdLst>
                <a:gd name="T0" fmla="*/ 64 w 64"/>
                <a:gd name="T1" fmla="*/ 0 h 115"/>
                <a:gd name="T2" fmla="*/ 6 w 64"/>
                <a:gd name="T3" fmla="*/ 0 h 115"/>
                <a:gd name="T4" fmla="*/ 0 w 64"/>
                <a:gd name="T5" fmla="*/ 115 h 115"/>
                <a:gd name="T6" fmla="*/ 31 w 64"/>
                <a:gd name="T7" fmla="*/ 115 h 115"/>
                <a:gd name="T8" fmla="*/ 64 w 64"/>
                <a:gd name="T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15">
                  <a:moveTo>
                    <a:pt x="64" y="0"/>
                  </a:moveTo>
                  <a:lnTo>
                    <a:pt x="6" y="0"/>
                  </a:lnTo>
                  <a:lnTo>
                    <a:pt x="0" y="115"/>
                  </a:lnTo>
                  <a:lnTo>
                    <a:pt x="31" y="115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6" name="Freeform 145"/>
            <p:cNvSpPr>
              <a:spLocks/>
            </p:cNvSpPr>
            <p:nvPr userDrawn="1"/>
          </p:nvSpPr>
          <p:spPr bwMode="auto">
            <a:xfrm>
              <a:off x="3127375" y="6365876"/>
              <a:ext cx="90488" cy="92075"/>
            </a:xfrm>
            <a:custGeom>
              <a:avLst/>
              <a:gdLst>
                <a:gd name="T0" fmla="*/ 226 w 226"/>
                <a:gd name="T1" fmla="*/ 230 h 233"/>
                <a:gd name="T2" fmla="*/ 226 w 226"/>
                <a:gd name="T3" fmla="*/ 0 h 233"/>
                <a:gd name="T4" fmla="*/ 177 w 226"/>
                <a:gd name="T5" fmla="*/ 0 h 233"/>
                <a:gd name="T6" fmla="*/ 128 w 226"/>
                <a:gd name="T7" fmla="*/ 111 h 233"/>
                <a:gd name="T8" fmla="*/ 128 w 226"/>
                <a:gd name="T9" fmla="*/ 111 h 233"/>
                <a:gd name="T10" fmla="*/ 113 w 226"/>
                <a:gd name="T11" fmla="*/ 151 h 233"/>
                <a:gd name="T12" fmla="*/ 113 w 226"/>
                <a:gd name="T13" fmla="*/ 151 h 233"/>
                <a:gd name="T14" fmla="*/ 106 w 226"/>
                <a:gd name="T15" fmla="*/ 132 h 233"/>
                <a:gd name="T16" fmla="*/ 98 w 226"/>
                <a:gd name="T17" fmla="*/ 111 h 233"/>
                <a:gd name="T18" fmla="*/ 49 w 226"/>
                <a:gd name="T19" fmla="*/ 0 h 233"/>
                <a:gd name="T20" fmla="*/ 0 w 226"/>
                <a:gd name="T21" fmla="*/ 0 h 233"/>
                <a:gd name="T22" fmla="*/ 0 w 226"/>
                <a:gd name="T23" fmla="*/ 230 h 233"/>
                <a:gd name="T24" fmla="*/ 43 w 226"/>
                <a:gd name="T25" fmla="*/ 230 h 233"/>
                <a:gd name="T26" fmla="*/ 43 w 226"/>
                <a:gd name="T27" fmla="*/ 110 h 233"/>
                <a:gd name="T28" fmla="*/ 43 w 226"/>
                <a:gd name="T29" fmla="*/ 110 h 233"/>
                <a:gd name="T30" fmla="*/ 42 w 226"/>
                <a:gd name="T31" fmla="*/ 69 h 233"/>
                <a:gd name="T32" fmla="*/ 42 w 226"/>
                <a:gd name="T33" fmla="*/ 69 h 233"/>
                <a:gd name="T34" fmla="*/ 48 w 226"/>
                <a:gd name="T35" fmla="*/ 85 h 233"/>
                <a:gd name="T36" fmla="*/ 57 w 226"/>
                <a:gd name="T37" fmla="*/ 106 h 233"/>
                <a:gd name="T38" fmla="*/ 112 w 226"/>
                <a:gd name="T39" fmla="*/ 233 h 233"/>
                <a:gd name="T40" fmla="*/ 166 w 226"/>
                <a:gd name="T41" fmla="*/ 106 h 233"/>
                <a:gd name="T42" fmla="*/ 166 w 226"/>
                <a:gd name="T43" fmla="*/ 106 h 233"/>
                <a:gd name="T44" fmla="*/ 176 w 226"/>
                <a:gd name="T45" fmla="*/ 85 h 233"/>
                <a:gd name="T46" fmla="*/ 182 w 226"/>
                <a:gd name="T47" fmla="*/ 69 h 233"/>
                <a:gd name="T48" fmla="*/ 182 w 226"/>
                <a:gd name="T49" fmla="*/ 69 h 233"/>
                <a:gd name="T50" fmla="*/ 181 w 226"/>
                <a:gd name="T51" fmla="*/ 110 h 233"/>
                <a:gd name="T52" fmla="*/ 181 w 226"/>
                <a:gd name="T53" fmla="*/ 230 h 233"/>
                <a:gd name="T54" fmla="*/ 226 w 226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6" h="233">
                  <a:moveTo>
                    <a:pt x="226" y="230"/>
                  </a:moveTo>
                  <a:lnTo>
                    <a:pt x="226" y="0"/>
                  </a:lnTo>
                  <a:lnTo>
                    <a:pt x="177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6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6" y="106"/>
                  </a:lnTo>
                  <a:lnTo>
                    <a:pt x="166" y="106"/>
                  </a:lnTo>
                  <a:lnTo>
                    <a:pt x="176" y="85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1" y="110"/>
                  </a:lnTo>
                  <a:lnTo>
                    <a:pt x="181" y="230"/>
                  </a:lnTo>
                  <a:lnTo>
                    <a:pt x="226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7" name="Freeform 146"/>
            <p:cNvSpPr>
              <a:spLocks noEditPoints="1"/>
            </p:cNvSpPr>
            <p:nvPr userDrawn="1"/>
          </p:nvSpPr>
          <p:spPr bwMode="auto">
            <a:xfrm>
              <a:off x="3240088" y="6365876"/>
              <a:ext cx="98425" cy="90488"/>
            </a:xfrm>
            <a:custGeom>
              <a:avLst/>
              <a:gdLst>
                <a:gd name="T0" fmla="*/ 0 w 248"/>
                <a:gd name="T1" fmla="*/ 0 h 230"/>
                <a:gd name="T2" fmla="*/ 90 w 248"/>
                <a:gd name="T3" fmla="*/ 230 h 230"/>
                <a:gd name="T4" fmla="*/ 99 w 248"/>
                <a:gd name="T5" fmla="*/ 229 h 230"/>
                <a:gd name="T6" fmla="*/ 115 w 248"/>
                <a:gd name="T7" fmla="*/ 227 h 230"/>
                <a:gd name="T8" fmla="*/ 129 w 248"/>
                <a:gd name="T9" fmla="*/ 222 h 230"/>
                <a:gd name="T10" fmla="*/ 142 w 248"/>
                <a:gd name="T11" fmla="*/ 215 h 230"/>
                <a:gd name="T12" fmla="*/ 152 w 248"/>
                <a:gd name="T13" fmla="*/ 206 h 230"/>
                <a:gd name="T14" fmla="*/ 160 w 248"/>
                <a:gd name="T15" fmla="*/ 194 h 230"/>
                <a:gd name="T16" fmla="*/ 166 w 248"/>
                <a:gd name="T17" fmla="*/ 180 h 230"/>
                <a:gd name="T18" fmla="*/ 169 w 248"/>
                <a:gd name="T19" fmla="*/ 164 h 230"/>
                <a:gd name="T20" fmla="*/ 169 w 248"/>
                <a:gd name="T21" fmla="*/ 155 h 230"/>
                <a:gd name="T22" fmla="*/ 167 w 248"/>
                <a:gd name="T23" fmla="*/ 137 h 230"/>
                <a:gd name="T24" fmla="*/ 163 w 248"/>
                <a:gd name="T25" fmla="*/ 122 h 230"/>
                <a:gd name="T26" fmla="*/ 156 w 248"/>
                <a:gd name="T27" fmla="*/ 109 h 230"/>
                <a:gd name="T28" fmla="*/ 147 w 248"/>
                <a:gd name="T29" fmla="*/ 99 h 230"/>
                <a:gd name="T30" fmla="*/ 136 w 248"/>
                <a:gd name="T31" fmla="*/ 91 h 230"/>
                <a:gd name="T32" fmla="*/ 123 w 248"/>
                <a:gd name="T33" fmla="*/ 85 h 230"/>
                <a:gd name="T34" fmla="*/ 109 w 248"/>
                <a:gd name="T35" fmla="*/ 81 h 230"/>
                <a:gd name="T36" fmla="*/ 93 w 248"/>
                <a:gd name="T37" fmla="*/ 80 h 230"/>
                <a:gd name="T38" fmla="*/ 45 w 248"/>
                <a:gd name="T39" fmla="*/ 0 h 230"/>
                <a:gd name="T40" fmla="*/ 45 w 248"/>
                <a:gd name="T41" fmla="*/ 117 h 230"/>
                <a:gd name="T42" fmla="*/ 89 w 248"/>
                <a:gd name="T43" fmla="*/ 117 h 230"/>
                <a:gd name="T44" fmla="*/ 104 w 248"/>
                <a:gd name="T45" fmla="*/ 120 h 230"/>
                <a:gd name="T46" fmla="*/ 116 w 248"/>
                <a:gd name="T47" fmla="*/ 127 h 230"/>
                <a:gd name="T48" fmla="*/ 124 w 248"/>
                <a:gd name="T49" fmla="*/ 138 h 230"/>
                <a:gd name="T50" fmla="*/ 126 w 248"/>
                <a:gd name="T51" fmla="*/ 155 h 230"/>
                <a:gd name="T52" fmla="*/ 126 w 248"/>
                <a:gd name="T53" fmla="*/ 163 h 230"/>
                <a:gd name="T54" fmla="*/ 121 w 248"/>
                <a:gd name="T55" fmla="*/ 177 h 230"/>
                <a:gd name="T56" fmla="*/ 112 w 248"/>
                <a:gd name="T57" fmla="*/ 187 h 230"/>
                <a:gd name="T58" fmla="*/ 98 w 248"/>
                <a:gd name="T59" fmla="*/ 192 h 230"/>
                <a:gd name="T60" fmla="*/ 45 w 248"/>
                <a:gd name="T61" fmla="*/ 192 h 230"/>
                <a:gd name="T62" fmla="*/ 248 w 248"/>
                <a:gd name="T63" fmla="*/ 0 h 230"/>
                <a:gd name="T64" fmla="*/ 202 w 248"/>
                <a:gd name="T6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8" h="230">
                  <a:moveTo>
                    <a:pt x="45" y="0"/>
                  </a:moveTo>
                  <a:lnTo>
                    <a:pt x="0" y="0"/>
                  </a:lnTo>
                  <a:lnTo>
                    <a:pt x="0" y="230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9" y="229"/>
                  </a:lnTo>
                  <a:lnTo>
                    <a:pt x="107" y="228"/>
                  </a:lnTo>
                  <a:lnTo>
                    <a:pt x="115" y="227"/>
                  </a:lnTo>
                  <a:lnTo>
                    <a:pt x="122" y="225"/>
                  </a:lnTo>
                  <a:lnTo>
                    <a:pt x="129" y="222"/>
                  </a:lnTo>
                  <a:lnTo>
                    <a:pt x="136" y="219"/>
                  </a:lnTo>
                  <a:lnTo>
                    <a:pt x="142" y="215"/>
                  </a:lnTo>
                  <a:lnTo>
                    <a:pt x="147" y="211"/>
                  </a:lnTo>
                  <a:lnTo>
                    <a:pt x="152" y="206"/>
                  </a:lnTo>
                  <a:lnTo>
                    <a:pt x="156" y="200"/>
                  </a:lnTo>
                  <a:lnTo>
                    <a:pt x="160" y="194"/>
                  </a:lnTo>
                  <a:lnTo>
                    <a:pt x="163" y="187"/>
                  </a:lnTo>
                  <a:lnTo>
                    <a:pt x="166" y="180"/>
                  </a:lnTo>
                  <a:lnTo>
                    <a:pt x="167" y="172"/>
                  </a:lnTo>
                  <a:lnTo>
                    <a:pt x="169" y="164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46"/>
                  </a:lnTo>
                  <a:lnTo>
                    <a:pt x="167" y="137"/>
                  </a:lnTo>
                  <a:lnTo>
                    <a:pt x="166" y="129"/>
                  </a:lnTo>
                  <a:lnTo>
                    <a:pt x="163" y="122"/>
                  </a:lnTo>
                  <a:lnTo>
                    <a:pt x="160" y="115"/>
                  </a:lnTo>
                  <a:lnTo>
                    <a:pt x="156" y="109"/>
                  </a:lnTo>
                  <a:lnTo>
                    <a:pt x="152" y="104"/>
                  </a:lnTo>
                  <a:lnTo>
                    <a:pt x="147" y="99"/>
                  </a:lnTo>
                  <a:lnTo>
                    <a:pt x="142" y="94"/>
                  </a:lnTo>
                  <a:lnTo>
                    <a:pt x="136" y="91"/>
                  </a:lnTo>
                  <a:lnTo>
                    <a:pt x="130" y="88"/>
                  </a:lnTo>
                  <a:lnTo>
                    <a:pt x="123" y="85"/>
                  </a:lnTo>
                  <a:lnTo>
                    <a:pt x="116" y="83"/>
                  </a:lnTo>
                  <a:lnTo>
                    <a:pt x="109" y="81"/>
                  </a:lnTo>
                  <a:lnTo>
                    <a:pt x="101" y="81"/>
                  </a:lnTo>
                  <a:lnTo>
                    <a:pt x="93" y="80"/>
                  </a:lnTo>
                  <a:lnTo>
                    <a:pt x="45" y="80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7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7" y="118"/>
                  </a:lnTo>
                  <a:lnTo>
                    <a:pt x="104" y="120"/>
                  </a:lnTo>
                  <a:lnTo>
                    <a:pt x="111" y="123"/>
                  </a:lnTo>
                  <a:lnTo>
                    <a:pt x="116" y="127"/>
                  </a:lnTo>
                  <a:lnTo>
                    <a:pt x="120" y="132"/>
                  </a:lnTo>
                  <a:lnTo>
                    <a:pt x="124" y="138"/>
                  </a:lnTo>
                  <a:lnTo>
                    <a:pt x="125" y="14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63"/>
                  </a:lnTo>
                  <a:lnTo>
                    <a:pt x="124" y="171"/>
                  </a:lnTo>
                  <a:lnTo>
                    <a:pt x="121" y="177"/>
                  </a:lnTo>
                  <a:lnTo>
                    <a:pt x="117" y="182"/>
                  </a:lnTo>
                  <a:lnTo>
                    <a:pt x="112" y="187"/>
                  </a:lnTo>
                  <a:lnTo>
                    <a:pt x="105" y="190"/>
                  </a:lnTo>
                  <a:lnTo>
                    <a:pt x="98" y="192"/>
                  </a:lnTo>
                  <a:lnTo>
                    <a:pt x="89" y="192"/>
                  </a:lnTo>
                  <a:lnTo>
                    <a:pt x="45" y="192"/>
                  </a:lnTo>
                  <a:close/>
                  <a:moveTo>
                    <a:pt x="248" y="230"/>
                  </a:moveTo>
                  <a:lnTo>
                    <a:pt x="248" y="0"/>
                  </a:lnTo>
                  <a:lnTo>
                    <a:pt x="202" y="0"/>
                  </a:lnTo>
                  <a:lnTo>
                    <a:pt x="202" y="230"/>
                  </a:lnTo>
                  <a:lnTo>
                    <a:pt x="248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8" name="Freeform 147"/>
            <p:cNvSpPr>
              <a:spLocks/>
            </p:cNvSpPr>
            <p:nvPr userDrawn="1"/>
          </p:nvSpPr>
          <p:spPr bwMode="auto">
            <a:xfrm>
              <a:off x="3397250" y="6365876"/>
              <a:ext cx="85725" cy="122238"/>
            </a:xfrm>
            <a:custGeom>
              <a:avLst/>
              <a:gdLst>
                <a:gd name="T0" fmla="*/ 214 w 214"/>
                <a:gd name="T1" fmla="*/ 0 h 310"/>
                <a:gd name="T2" fmla="*/ 166 w 214"/>
                <a:gd name="T3" fmla="*/ 0 h 310"/>
                <a:gd name="T4" fmla="*/ 107 w 214"/>
                <a:gd name="T5" fmla="*/ 173 h 310"/>
                <a:gd name="T6" fmla="*/ 49 w 214"/>
                <a:gd name="T7" fmla="*/ 0 h 310"/>
                <a:gd name="T8" fmla="*/ 0 w 214"/>
                <a:gd name="T9" fmla="*/ 0 h 310"/>
                <a:gd name="T10" fmla="*/ 84 w 214"/>
                <a:gd name="T11" fmla="*/ 225 h 310"/>
                <a:gd name="T12" fmla="*/ 51 w 214"/>
                <a:gd name="T13" fmla="*/ 310 h 310"/>
                <a:gd name="T14" fmla="*/ 99 w 214"/>
                <a:gd name="T15" fmla="*/ 310 h 310"/>
                <a:gd name="T16" fmla="*/ 214 w 214"/>
                <a:gd name="T1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310">
                  <a:moveTo>
                    <a:pt x="214" y="0"/>
                  </a:moveTo>
                  <a:lnTo>
                    <a:pt x="166" y="0"/>
                  </a:lnTo>
                  <a:lnTo>
                    <a:pt x="107" y="173"/>
                  </a:lnTo>
                  <a:lnTo>
                    <a:pt x="49" y="0"/>
                  </a:lnTo>
                  <a:lnTo>
                    <a:pt x="0" y="0"/>
                  </a:lnTo>
                  <a:lnTo>
                    <a:pt x="84" y="225"/>
                  </a:lnTo>
                  <a:lnTo>
                    <a:pt x="51" y="310"/>
                  </a:lnTo>
                  <a:lnTo>
                    <a:pt x="99" y="31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9" name="Freeform 148"/>
            <p:cNvSpPr>
              <a:spLocks/>
            </p:cNvSpPr>
            <p:nvPr userDrawn="1"/>
          </p:nvSpPr>
          <p:spPr bwMode="auto">
            <a:xfrm>
              <a:off x="3486150" y="6365876"/>
              <a:ext cx="82550" cy="92075"/>
            </a:xfrm>
            <a:custGeom>
              <a:avLst/>
              <a:gdLst>
                <a:gd name="T0" fmla="*/ 94 w 209"/>
                <a:gd name="T1" fmla="*/ 39 h 234"/>
                <a:gd name="T2" fmla="*/ 164 w 209"/>
                <a:gd name="T3" fmla="*/ 39 h 234"/>
                <a:gd name="T4" fmla="*/ 164 w 209"/>
                <a:gd name="T5" fmla="*/ 230 h 234"/>
                <a:gd name="T6" fmla="*/ 209 w 209"/>
                <a:gd name="T7" fmla="*/ 230 h 234"/>
                <a:gd name="T8" fmla="*/ 209 w 209"/>
                <a:gd name="T9" fmla="*/ 0 h 234"/>
                <a:gd name="T10" fmla="*/ 52 w 209"/>
                <a:gd name="T11" fmla="*/ 0 h 234"/>
                <a:gd name="T12" fmla="*/ 47 w 209"/>
                <a:gd name="T13" fmla="*/ 116 h 234"/>
                <a:gd name="T14" fmla="*/ 47 w 209"/>
                <a:gd name="T15" fmla="*/ 116 h 234"/>
                <a:gd name="T16" fmla="*/ 45 w 209"/>
                <a:gd name="T17" fmla="*/ 135 h 234"/>
                <a:gd name="T18" fmla="*/ 42 w 209"/>
                <a:gd name="T19" fmla="*/ 152 h 234"/>
                <a:gd name="T20" fmla="*/ 38 w 209"/>
                <a:gd name="T21" fmla="*/ 165 h 234"/>
                <a:gd name="T22" fmla="*/ 32 w 209"/>
                <a:gd name="T23" fmla="*/ 175 h 234"/>
                <a:gd name="T24" fmla="*/ 26 w 209"/>
                <a:gd name="T25" fmla="*/ 183 h 234"/>
                <a:gd name="T26" fmla="*/ 18 w 209"/>
                <a:gd name="T27" fmla="*/ 189 h 234"/>
                <a:gd name="T28" fmla="*/ 9 w 209"/>
                <a:gd name="T29" fmla="*/ 193 h 234"/>
                <a:gd name="T30" fmla="*/ 0 w 209"/>
                <a:gd name="T31" fmla="*/ 195 h 234"/>
                <a:gd name="T32" fmla="*/ 12 w 209"/>
                <a:gd name="T33" fmla="*/ 234 h 234"/>
                <a:gd name="T34" fmla="*/ 12 w 209"/>
                <a:gd name="T35" fmla="*/ 234 h 234"/>
                <a:gd name="T36" fmla="*/ 19 w 209"/>
                <a:gd name="T37" fmla="*/ 233 h 234"/>
                <a:gd name="T38" fmla="*/ 27 w 209"/>
                <a:gd name="T39" fmla="*/ 230 h 234"/>
                <a:gd name="T40" fmla="*/ 34 w 209"/>
                <a:gd name="T41" fmla="*/ 228 h 234"/>
                <a:gd name="T42" fmla="*/ 41 w 209"/>
                <a:gd name="T43" fmla="*/ 224 h 234"/>
                <a:gd name="T44" fmla="*/ 48 w 209"/>
                <a:gd name="T45" fmla="*/ 220 h 234"/>
                <a:gd name="T46" fmla="*/ 54 w 209"/>
                <a:gd name="T47" fmla="*/ 215 h 234"/>
                <a:gd name="T48" fmla="*/ 60 w 209"/>
                <a:gd name="T49" fmla="*/ 209 h 234"/>
                <a:gd name="T50" fmla="*/ 66 w 209"/>
                <a:gd name="T51" fmla="*/ 203 h 234"/>
                <a:gd name="T52" fmla="*/ 71 w 209"/>
                <a:gd name="T53" fmla="*/ 195 h 234"/>
                <a:gd name="T54" fmla="*/ 75 w 209"/>
                <a:gd name="T55" fmla="*/ 187 h 234"/>
                <a:gd name="T56" fmla="*/ 79 w 209"/>
                <a:gd name="T57" fmla="*/ 178 h 234"/>
                <a:gd name="T58" fmla="*/ 83 w 209"/>
                <a:gd name="T59" fmla="*/ 168 h 234"/>
                <a:gd name="T60" fmla="*/ 86 w 209"/>
                <a:gd name="T61" fmla="*/ 156 h 234"/>
                <a:gd name="T62" fmla="*/ 88 w 209"/>
                <a:gd name="T63" fmla="*/ 143 h 234"/>
                <a:gd name="T64" fmla="*/ 89 w 209"/>
                <a:gd name="T65" fmla="*/ 130 h 234"/>
                <a:gd name="T66" fmla="*/ 91 w 209"/>
                <a:gd name="T67" fmla="*/ 116 h 234"/>
                <a:gd name="T68" fmla="*/ 94 w 209"/>
                <a:gd name="T69" fmla="*/ 3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9" h="234">
                  <a:moveTo>
                    <a:pt x="94" y="39"/>
                  </a:moveTo>
                  <a:lnTo>
                    <a:pt x="164" y="39"/>
                  </a:lnTo>
                  <a:lnTo>
                    <a:pt x="164" y="230"/>
                  </a:lnTo>
                  <a:lnTo>
                    <a:pt x="209" y="230"/>
                  </a:lnTo>
                  <a:lnTo>
                    <a:pt x="209" y="0"/>
                  </a:lnTo>
                  <a:lnTo>
                    <a:pt x="52" y="0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5" y="135"/>
                  </a:lnTo>
                  <a:lnTo>
                    <a:pt x="42" y="152"/>
                  </a:lnTo>
                  <a:lnTo>
                    <a:pt x="38" y="165"/>
                  </a:lnTo>
                  <a:lnTo>
                    <a:pt x="32" y="175"/>
                  </a:lnTo>
                  <a:lnTo>
                    <a:pt x="26" y="183"/>
                  </a:lnTo>
                  <a:lnTo>
                    <a:pt x="18" y="189"/>
                  </a:lnTo>
                  <a:lnTo>
                    <a:pt x="9" y="193"/>
                  </a:lnTo>
                  <a:lnTo>
                    <a:pt x="0" y="195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19" y="233"/>
                  </a:lnTo>
                  <a:lnTo>
                    <a:pt x="27" y="230"/>
                  </a:lnTo>
                  <a:lnTo>
                    <a:pt x="34" y="228"/>
                  </a:lnTo>
                  <a:lnTo>
                    <a:pt x="41" y="224"/>
                  </a:lnTo>
                  <a:lnTo>
                    <a:pt x="48" y="220"/>
                  </a:lnTo>
                  <a:lnTo>
                    <a:pt x="54" y="215"/>
                  </a:lnTo>
                  <a:lnTo>
                    <a:pt x="60" y="209"/>
                  </a:lnTo>
                  <a:lnTo>
                    <a:pt x="66" y="203"/>
                  </a:lnTo>
                  <a:lnTo>
                    <a:pt x="71" y="195"/>
                  </a:lnTo>
                  <a:lnTo>
                    <a:pt x="75" y="187"/>
                  </a:lnTo>
                  <a:lnTo>
                    <a:pt x="79" y="178"/>
                  </a:lnTo>
                  <a:lnTo>
                    <a:pt x="83" y="168"/>
                  </a:lnTo>
                  <a:lnTo>
                    <a:pt x="86" y="156"/>
                  </a:lnTo>
                  <a:lnTo>
                    <a:pt x="88" y="143"/>
                  </a:lnTo>
                  <a:lnTo>
                    <a:pt x="89" y="130"/>
                  </a:lnTo>
                  <a:lnTo>
                    <a:pt x="91" y="116"/>
                  </a:lnTo>
                  <a:lnTo>
                    <a:pt x="9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0" name="Freeform 149"/>
            <p:cNvSpPr>
              <a:spLocks/>
            </p:cNvSpPr>
            <p:nvPr userDrawn="1"/>
          </p:nvSpPr>
          <p:spPr bwMode="auto">
            <a:xfrm>
              <a:off x="3584575" y="6365876"/>
              <a:ext cx="85725" cy="122238"/>
            </a:xfrm>
            <a:custGeom>
              <a:avLst/>
              <a:gdLst>
                <a:gd name="T0" fmla="*/ 214 w 214"/>
                <a:gd name="T1" fmla="*/ 0 h 310"/>
                <a:gd name="T2" fmla="*/ 166 w 214"/>
                <a:gd name="T3" fmla="*/ 0 h 310"/>
                <a:gd name="T4" fmla="*/ 107 w 214"/>
                <a:gd name="T5" fmla="*/ 173 h 310"/>
                <a:gd name="T6" fmla="*/ 49 w 214"/>
                <a:gd name="T7" fmla="*/ 0 h 310"/>
                <a:gd name="T8" fmla="*/ 0 w 214"/>
                <a:gd name="T9" fmla="*/ 0 h 310"/>
                <a:gd name="T10" fmla="*/ 84 w 214"/>
                <a:gd name="T11" fmla="*/ 225 h 310"/>
                <a:gd name="T12" fmla="*/ 51 w 214"/>
                <a:gd name="T13" fmla="*/ 310 h 310"/>
                <a:gd name="T14" fmla="*/ 99 w 214"/>
                <a:gd name="T15" fmla="*/ 310 h 310"/>
                <a:gd name="T16" fmla="*/ 214 w 214"/>
                <a:gd name="T1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310">
                  <a:moveTo>
                    <a:pt x="214" y="0"/>
                  </a:moveTo>
                  <a:lnTo>
                    <a:pt x="166" y="0"/>
                  </a:lnTo>
                  <a:lnTo>
                    <a:pt x="107" y="173"/>
                  </a:lnTo>
                  <a:lnTo>
                    <a:pt x="49" y="0"/>
                  </a:lnTo>
                  <a:lnTo>
                    <a:pt x="0" y="0"/>
                  </a:lnTo>
                  <a:lnTo>
                    <a:pt x="84" y="225"/>
                  </a:lnTo>
                  <a:lnTo>
                    <a:pt x="51" y="310"/>
                  </a:lnTo>
                  <a:lnTo>
                    <a:pt x="99" y="31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1" name="Freeform 150"/>
            <p:cNvSpPr>
              <a:spLocks/>
            </p:cNvSpPr>
            <p:nvPr userDrawn="1"/>
          </p:nvSpPr>
          <p:spPr bwMode="auto">
            <a:xfrm>
              <a:off x="3681413" y="6365876"/>
              <a:ext cx="69850" cy="90488"/>
            </a:xfrm>
            <a:custGeom>
              <a:avLst/>
              <a:gdLst>
                <a:gd name="T0" fmla="*/ 179 w 179"/>
                <a:gd name="T1" fmla="*/ 0 h 230"/>
                <a:gd name="T2" fmla="*/ 134 w 179"/>
                <a:gd name="T3" fmla="*/ 0 h 230"/>
                <a:gd name="T4" fmla="*/ 134 w 179"/>
                <a:gd name="T5" fmla="*/ 92 h 230"/>
                <a:gd name="T6" fmla="*/ 134 w 179"/>
                <a:gd name="T7" fmla="*/ 92 h 230"/>
                <a:gd name="T8" fmla="*/ 125 w 179"/>
                <a:gd name="T9" fmla="*/ 98 h 230"/>
                <a:gd name="T10" fmla="*/ 113 w 179"/>
                <a:gd name="T11" fmla="*/ 102 h 230"/>
                <a:gd name="T12" fmla="*/ 100 w 179"/>
                <a:gd name="T13" fmla="*/ 105 h 230"/>
                <a:gd name="T14" fmla="*/ 85 w 179"/>
                <a:gd name="T15" fmla="*/ 106 h 230"/>
                <a:gd name="T16" fmla="*/ 85 w 179"/>
                <a:gd name="T17" fmla="*/ 106 h 230"/>
                <a:gd name="T18" fmla="*/ 76 w 179"/>
                <a:gd name="T19" fmla="*/ 105 h 230"/>
                <a:gd name="T20" fmla="*/ 68 w 179"/>
                <a:gd name="T21" fmla="*/ 103 h 230"/>
                <a:gd name="T22" fmla="*/ 61 w 179"/>
                <a:gd name="T23" fmla="*/ 101 h 230"/>
                <a:gd name="T24" fmla="*/ 56 w 179"/>
                <a:gd name="T25" fmla="*/ 97 h 230"/>
                <a:gd name="T26" fmla="*/ 51 w 179"/>
                <a:gd name="T27" fmla="*/ 91 h 230"/>
                <a:gd name="T28" fmla="*/ 48 w 179"/>
                <a:gd name="T29" fmla="*/ 85 h 230"/>
                <a:gd name="T30" fmla="*/ 46 w 179"/>
                <a:gd name="T31" fmla="*/ 76 h 230"/>
                <a:gd name="T32" fmla="*/ 45 w 179"/>
                <a:gd name="T33" fmla="*/ 66 h 230"/>
                <a:gd name="T34" fmla="*/ 45 w 179"/>
                <a:gd name="T35" fmla="*/ 0 h 230"/>
                <a:gd name="T36" fmla="*/ 0 w 179"/>
                <a:gd name="T37" fmla="*/ 0 h 230"/>
                <a:gd name="T38" fmla="*/ 0 w 179"/>
                <a:gd name="T39" fmla="*/ 64 h 230"/>
                <a:gd name="T40" fmla="*/ 0 w 179"/>
                <a:gd name="T41" fmla="*/ 64 h 230"/>
                <a:gd name="T42" fmla="*/ 1 w 179"/>
                <a:gd name="T43" fmla="*/ 74 h 230"/>
                <a:gd name="T44" fmla="*/ 2 w 179"/>
                <a:gd name="T45" fmla="*/ 83 h 230"/>
                <a:gd name="T46" fmla="*/ 3 w 179"/>
                <a:gd name="T47" fmla="*/ 91 h 230"/>
                <a:gd name="T48" fmla="*/ 5 w 179"/>
                <a:gd name="T49" fmla="*/ 99 h 230"/>
                <a:gd name="T50" fmla="*/ 8 w 179"/>
                <a:gd name="T51" fmla="*/ 106 h 230"/>
                <a:gd name="T52" fmla="*/ 11 w 179"/>
                <a:gd name="T53" fmla="*/ 113 h 230"/>
                <a:gd name="T54" fmla="*/ 15 w 179"/>
                <a:gd name="T55" fmla="*/ 119 h 230"/>
                <a:gd name="T56" fmla="*/ 19 w 179"/>
                <a:gd name="T57" fmla="*/ 124 h 230"/>
                <a:gd name="T58" fmla="*/ 24 w 179"/>
                <a:gd name="T59" fmla="*/ 129 h 230"/>
                <a:gd name="T60" fmla="*/ 30 w 179"/>
                <a:gd name="T61" fmla="*/ 133 h 230"/>
                <a:gd name="T62" fmla="*/ 36 w 179"/>
                <a:gd name="T63" fmla="*/ 137 h 230"/>
                <a:gd name="T64" fmla="*/ 42 w 179"/>
                <a:gd name="T65" fmla="*/ 140 h 230"/>
                <a:gd name="T66" fmla="*/ 50 w 179"/>
                <a:gd name="T67" fmla="*/ 142 h 230"/>
                <a:gd name="T68" fmla="*/ 57 w 179"/>
                <a:gd name="T69" fmla="*/ 145 h 230"/>
                <a:gd name="T70" fmla="*/ 65 w 179"/>
                <a:gd name="T71" fmla="*/ 145 h 230"/>
                <a:gd name="T72" fmla="*/ 74 w 179"/>
                <a:gd name="T73" fmla="*/ 146 h 230"/>
                <a:gd name="T74" fmla="*/ 74 w 179"/>
                <a:gd name="T75" fmla="*/ 146 h 230"/>
                <a:gd name="T76" fmla="*/ 91 w 179"/>
                <a:gd name="T77" fmla="*/ 145 h 230"/>
                <a:gd name="T78" fmla="*/ 108 w 179"/>
                <a:gd name="T79" fmla="*/ 141 h 230"/>
                <a:gd name="T80" fmla="*/ 122 w 179"/>
                <a:gd name="T81" fmla="*/ 137 h 230"/>
                <a:gd name="T82" fmla="*/ 134 w 179"/>
                <a:gd name="T83" fmla="*/ 131 h 230"/>
                <a:gd name="T84" fmla="*/ 134 w 179"/>
                <a:gd name="T85" fmla="*/ 230 h 230"/>
                <a:gd name="T86" fmla="*/ 179 w 179"/>
                <a:gd name="T87" fmla="*/ 230 h 230"/>
                <a:gd name="T88" fmla="*/ 179 w 179"/>
                <a:gd name="T8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lnTo>
                    <a:pt x="134" y="0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25" y="98"/>
                  </a:lnTo>
                  <a:lnTo>
                    <a:pt x="113" y="102"/>
                  </a:lnTo>
                  <a:lnTo>
                    <a:pt x="100" y="105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76" y="105"/>
                  </a:lnTo>
                  <a:lnTo>
                    <a:pt x="68" y="103"/>
                  </a:lnTo>
                  <a:lnTo>
                    <a:pt x="61" y="101"/>
                  </a:lnTo>
                  <a:lnTo>
                    <a:pt x="56" y="97"/>
                  </a:lnTo>
                  <a:lnTo>
                    <a:pt x="51" y="91"/>
                  </a:lnTo>
                  <a:lnTo>
                    <a:pt x="48" y="85"/>
                  </a:lnTo>
                  <a:lnTo>
                    <a:pt x="46" y="76"/>
                  </a:lnTo>
                  <a:lnTo>
                    <a:pt x="45" y="66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1" y="74"/>
                  </a:lnTo>
                  <a:lnTo>
                    <a:pt x="2" y="83"/>
                  </a:lnTo>
                  <a:lnTo>
                    <a:pt x="3" y="91"/>
                  </a:lnTo>
                  <a:lnTo>
                    <a:pt x="5" y="99"/>
                  </a:lnTo>
                  <a:lnTo>
                    <a:pt x="8" y="106"/>
                  </a:lnTo>
                  <a:lnTo>
                    <a:pt x="11" y="113"/>
                  </a:lnTo>
                  <a:lnTo>
                    <a:pt x="15" y="119"/>
                  </a:lnTo>
                  <a:lnTo>
                    <a:pt x="19" y="124"/>
                  </a:lnTo>
                  <a:lnTo>
                    <a:pt x="24" y="129"/>
                  </a:lnTo>
                  <a:lnTo>
                    <a:pt x="30" y="133"/>
                  </a:lnTo>
                  <a:lnTo>
                    <a:pt x="36" y="137"/>
                  </a:lnTo>
                  <a:lnTo>
                    <a:pt x="42" y="140"/>
                  </a:lnTo>
                  <a:lnTo>
                    <a:pt x="50" y="142"/>
                  </a:lnTo>
                  <a:lnTo>
                    <a:pt x="57" y="145"/>
                  </a:lnTo>
                  <a:lnTo>
                    <a:pt x="65" y="145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91" y="145"/>
                  </a:lnTo>
                  <a:lnTo>
                    <a:pt x="108" y="141"/>
                  </a:lnTo>
                  <a:lnTo>
                    <a:pt x="122" y="137"/>
                  </a:lnTo>
                  <a:lnTo>
                    <a:pt x="134" y="131"/>
                  </a:lnTo>
                  <a:lnTo>
                    <a:pt x="134" y="230"/>
                  </a:lnTo>
                  <a:lnTo>
                    <a:pt x="179" y="230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2" name="Freeform 151"/>
            <p:cNvSpPr>
              <a:spLocks/>
            </p:cNvSpPr>
            <p:nvPr userDrawn="1"/>
          </p:nvSpPr>
          <p:spPr bwMode="auto">
            <a:xfrm>
              <a:off x="3775075" y="6365876"/>
              <a:ext cx="117475" cy="90488"/>
            </a:xfrm>
            <a:custGeom>
              <a:avLst/>
              <a:gdLst>
                <a:gd name="T0" fmla="*/ 294 w 294"/>
                <a:gd name="T1" fmla="*/ 0 h 230"/>
                <a:gd name="T2" fmla="*/ 249 w 294"/>
                <a:gd name="T3" fmla="*/ 0 h 230"/>
                <a:gd name="T4" fmla="*/ 249 w 294"/>
                <a:gd name="T5" fmla="*/ 190 h 230"/>
                <a:gd name="T6" fmla="*/ 169 w 294"/>
                <a:gd name="T7" fmla="*/ 190 h 230"/>
                <a:gd name="T8" fmla="*/ 169 w 294"/>
                <a:gd name="T9" fmla="*/ 0 h 230"/>
                <a:gd name="T10" fmla="*/ 125 w 294"/>
                <a:gd name="T11" fmla="*/ 0 h 230"/>
                <a:gd name="T12" fmla="*/ 125 w 294"/>
                <a:gd name="T13" fmla="*/ 190 h 230"/>
                <a:gd name="T14" fmla="*/ 45 w 294"/>
                <a:gd name="T15" fmla="*/ 190 h 230"/>
                <a:gd name="T16" fmla="*/ 45 w 294"/>
                <a:gd name="T17" fmla="*/ 0 h 230"/>
                <a:gd name="T18" fmla="*/ 0 w 294"/>
                <a:gd name="T19" fmla="*/ 0 h 230"/>
                <a:gd name="T20" fmla="*/ 0 w 294"/>
                <a:gd name="T21" fmla="*/ 230 h 230"/>
                <a:gd name="T22" fmla="*/ 294 w 294"/>
                <a:gd name="T23" fmla="*/ 230 h 230"/>
                <a:gd name="T24" fmla="*/ 294 w 29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230">
                  <a:moveTo>
                    <a:pt x="294" y="0"/>
                  </a:moveTo>
                  <a:lnTo>
                    <a:pt x="249" y="0"/>
                  </a:lnTo>
                  <a:lnTo>
                    <a:pt x="249" y="190"/>
                  </a:lnTo>
                  <a:lnTo>
                    <a:pt x="169" y="190"/>
                  </a:lnTo>
                  <a:lnTo>
                    <a:pt x="169" y="0"/>
                  </a:lnTo>
                  <a:lnTo>
                    <a:pt x="125" y="0"/>
                  </a:lnTo>
                  <a:lnTo>
                    <a:pt x="125" y="190"/>
                  </a:lnTo>
                  <a:lnTo>
                    <a:pt x="45" y="19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294" y="23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3" name="Freeform 152"/>
            <p:cNvSpPr>
              <a:spLocks noEditPoints="1"/>
            </p:cNvSpPr>
            <p:nvPr userDrawn="1"/>
          </p:nvSpPr>
          <p:spPr bwMode="auto">
            <a:xfrm>
              <a:off x="3910013" y="6362701"/>
              <a:ext cx="74613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7 h 239"/>
                <a:gd name="T4" fmla="*/ 183 w 187"/>
                <a:gd name="T5" fmla="*/ 50 h 239"/>
                <a:gd name="T6" fmla="*/ 177 w 187"/>
                <a:gd name="T7" fmla="*/ 36 h 239"/>
                <a:gd name="T8" fmla="*/ 169 w 187"/>
                <a:gd name="T9" fmla="*/ 24 h 239"/>
                <a:gd name="T10" fmla="*/ 157 w 187"/>
                <a:gd name="T11" fmla="*/ 14 h 239"/>
                <a:gd name="T12" fmla="*/ 144 w 187"/>
                <a:gd name="T13" fmla="*/ 7 h 239"/>
                <a:gd name="T14" fmla="*/ 128 w 187"/>
                <a:gd name="T15" fmla="*/ 2 h 239"/>
                <a:gd name="T16" fmla="*/ 110 w 187"/>
                <a:gd name="T17" fmla="*/ 0 h 239"/>
                <a:gd name="T18" fmla="*/ 101 w 187"/>
                <a:gd name="T19" fmla="*/ 0 h 239"/>
                <a:gd name="T20" fmla="*/ 78 w 187"/>
                <a:gd name="T21" fmla="*/ 1 h 239"/>
                <a:gd name="T22" fmla="*/ 58 w 187"/>
                <a:gd name="T23" fmla="*/ 5 h 239"/>
                <a:gd name="T24" fmla="*/ 40 w 187"/>
                <a:gd name="T25" fmla="*/ 11 h 239"/>
                <a:gd name="T26" fmla="*/ 23 w 187"/>
                <a:gd name="T27" fmla="*/ 20 h 239"/>
                <a:gd name="T28" fmla="*/ 40 w 187"/>
                <a:gd name="T29" fmla="*/ 54 h 239"/>
                <a:gd name="T30" fmla="*/ 68 w 187"/>
                <a:gd name="T31" fmla="*/ 43 h 239"/>
                <a:gd name="T32" fmla="*/ 100 w 187"/>
                <a:gd name="T33" fmla="*/ 40 h 239"/>
                <a:gd name="T34" fmla="*/ 110 w 187"/>
                <a:gd name="T35" fmla="*/ 41 h 239"/>
                <a:gd name="T36" fmla="*/ 126 w 187"/>
                <a:gd name="T37" fmla="*/ 46 h 239"/>
                <a:gd name="T38" fmla="*/ 137 w 187"/>
                <a:gd name="T39" fmla="*/ 56 h 239"/>
                <a:gd name="T40" fmla="*/ 142 w 187"/>
                <a:gd name="T41" fmla="*/ 70 h 239"/>
                <a:gd name="T42" fmla="*/ 143 w 187"/>
                <a:gd name="T43" fmla="*/ 96 h 239"/>
                <a:gd name="T44" fmla="*/ 134 w 187"/>
                <a:gd name="T45" fmla="*/ 92 h 239"/>
                <a:gd name="T46" fmla="*/ 109 w 187"/>
                <a:gd name="T47" fmla="*/ 88 h 239"/>
                <a:gd name="T48" fmla="*/ 92 w 187"/>
                <a:gd name="T49" fmla="*/ 87 h 239"/>
                <a:gd name="T50" fmla="*/ 64 w 187"/>
                <a:gd name="T51" fmla="*/ 89 h 239"/>
                <a:gd name="T52" fmla="*/ 48 w 187"/>
                <a:gd name="T53" fmla="*/ 94 h 239"/>
                <a:gd name="T54" fmla="*/ 33 w 187"/>
                <a:gd name="T55" fmla="*/ 101 h 239"/>
                <a:gd name="T56" fmla="*/ 21 w 187"/>
                <a:gd name="T57" fmla="*/ 110 h 239"/>
                <a:gd name="T58" fmla="*/ 11 w 187"/>
                <a:gd name="T59" fmla="*/ 121 h 239"/>
                <a:gd name="T60" fmla="*/ 4 w 187"/>
                <a:gd name="T61" fmla="*/ 135 h 239"/>
                <a:gd name="T62" fmla="*/ 0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7 w 187"/>
                <a:gd name="T73" fmla="*/ 222 h 239"/>
                <a:gd name="T74" fmla="*/ 39 w 187"/>
                <a:gd name="T75" fmla="*/ 230 h 239"/>
                <a:gd name="T76" fmla="*/ 52 w 187"/>
                <a:gd name="T77" fmla="*/ 235 h 239"/>
                <a:gd name="T78" fmla="*/ 80 w 187"/>
                <a:gd name="T79" fmla="*/ 239 h 239"/>
                <a:gd name="T80" fmla="*/ 91 w 187"/>
                <a:gd name="T81" fmla="*/ 239 h 239"/>
                <a:gd name="T82" fmla="*/ 109 w 187"/>
                <a:gd name="T83" fmla="*/ 234 h 239"/>
                <a:gd name="T84" fmla="*/ 116 w 187"/>
                <a:gd name="T85" fmla="*/ 231 h 239"/>
                <a:gd name="T86" fmla="*/ 135 w 187"/>
                <a:gd name="T87" fmla="*/ 219 h 239"/>
                <a:gd name="T88" fmla="*/ 143 w 187"/>
                <a:gd name="T89" fmla="*/ 235 h 239"/>
                <a:gd name="T90" fmla="*/ 143 w 187"/>
                <a:gd name="T91" fmla="*/ 170 h 239"/>
                <a:gd name="T92" fmla="*/ 139 w 187"/>
                <a:gd name="T93" fmla="*/ 175 h 239"/>
                <a:gd name="T94" fmla="*/ 127 w 187"/>
                <a:gd name="T95" fmla="*/ 185 h 239"/>
                <a:gd name="T96" fmla="*/ 113 w 187"/>
                <a:gd name="T97" fmla="*/ 193 h 239"/>
                <a:gd name="T98" fmla="*/ 96 w 187"/>
                <a:gd name="T99" fmla="*/ 198 h 239"/>
                <a:gd name="T100" fmla="*/ 88 w 187"/>
                <a:gd name="T101" fmla="*/ 199 h 239"/>
                <a:gd name="T102" fmla="*/ 69 w 187"/>
                <a:gd name="T103" fmla="*/ 196 h 239"/>
                <a:gd name="T104" fmla="*/ 56 w 187"/>
                <a:gd name="T105" fmla="*/ 190 h 239"/>
                <a:gd name="T106" fmla="*/ 51 w 187"/>
                <a:gd name="T107" fmla="*/ 185 h 239"/>
                <a:gd name="T108" fmla="*/ 45 w 187"/>
                <a:gd name="T109" fmla="*/ 170 h 239"/>
                <a:gd name="T110" fmla="*/ 44 w 187"/>
                <a:gd name="T111" fmla="*/ 161 h 239"/>
                <a:gd name="T112" fmla="*/ 47 w 187"/>
                <a:gd name="T113" fmla="*/ 146 h 239"/>
                <a:gd name="T114" fmla="*/ 56 w 187"/>
                <a:gd name="T115" fmla="*/ 135 h 239"/>
                <a:gd name="T116" fmla="*/ 71 w 187"/>
                <a:gd name="T117" fmla="*/ 128 h 239"/>
                <a:gd name="T118" fmla="*/ 91 w 187"/>
                <a:gd name="T119" fmla="*/ 126 h 239"/>
                <a:gd name="T120" fmla="*/ 108 w 187"/>
                <a:gd name="T121" fmla="*/ 126 h 239"/>
                <a:gd name="T122" fmla="*/ 121 w 187"/>
                <a:gd name="T123" fmla="*/ 128 h 239"/>
                <a:gd name="T124" fmla="*/ 143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7"/>
                  </a:lnTo>
                  <a:lnTo>
                    <a:pt x="185" y="58"/>
                  </a:lnTo>
                  <a:lnTo>
                    <a:pt x="183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9" y="24"/>
                  </a:lnTo>
                  <a:lnTo>
                    <a:pt x="163" y="19"/>
                  </a:lnTo>
                  <a:lnTo>
                    <a:pt x="157" y="14"/>
                  </a:lnTo>
                  <a:lnTo>
                    <a:pt x="151" y="10"/>
                  </a:lnTo>
                  <a:lnTo>
                    <a:pt x="144" y="7"/>
                  </a:lnTo>
                  <a:lnTo>
                    <a:pt x="136" y="5"/>
                  </a:lnTo>
                  <a:lnTo>
                    <a:pt x="128" y="2"/>
                  </a:lnTo>
                  <a:lnTo>
                    <a:pt x="119" y="1"/>
                  </a:lnTo>
                  <a:lnTo>
                    <a:pt x="110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89" y="0"/>
                  </a:lnTo>
                  <a:lnTo>
                    <a:pt x="78" y="1"/>
                  </a:lnTo>
                  <a:lnTo>
                    <a:pt x="68" y="3"/>
                  </a:lnTo>
                  <a:lnTo>
                    <a:pt x="58" y="5"/>
                  </a:lnTo>
                  <a:lnTo>
                    <a:pt x="49" y="8"/>
                  </a:lnTo>
                  <a:lnTo>
                    <a:pt x="40" y="11"/>
                  </a:lnTo>
                  <a:lnTo>
                    <a:pt x="31" y="16"/>
                  </a:lnTo>
                  <a:lnTo>
                    <a:pt x="23" y="20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54" y="48"/>
                  </a:lnTo>
                  <a:lnTo>
                    <a:pt x="68" y="43"/>
                  </a:lnTo>
                  <a:lnTo>
                    <a:pt x="83" y="41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10" y="41"/>
                  </a:lnTo>
                  <a:lnTo>
                    <a:pt x="118" y="43"/>
                  </a:lnTo>
                  <a:lnTo>
                    <a:pt x="126" y="46"/>
                  </a:lnTo>
                  <a:lnTo>
                    <a:pt x="132" y="50"/>
                  </a:lnTo>
                  <a:lnTo>
                    <a:pt x="137" y="56"/>
                  </a:lnTo>
                  <a:lnTo>
                    <a:pt x="140" y="62"/>
                  </a:lnTo>
                  <a:lnTo>
                    <a:pt x="142" y="70"/>
                  </a:lnTo>
                  <a:lnTo>
                    <a:pt x="143" y="79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34" y="92"/>
                  </a:lnTo>
                  <a:lnTo>
                    <a:pt x="122" y="89"/>
                  </a:lnTo>
                  <a:lnTo>
                    <a:pt x="109" y="88"/>
                  </a:lnTo>
                  <a:lnTo>
                    <a:pt x="92" y="87"/>
                  </a:lnTo>
                  <a:lnTo>
                    <a:pt x="92" y="87"/>
                  </a:lnTo>
                  <a:lnTo>
                    <a:pt x="73" y="88"/>
                  </a:lnTo>
                  <a:lnTo>
                    <a:pt x="64" y="89"/>
                  </a:lnTo>
                  <a:lnTo>
                    <a:pt x="56" y="91"/>
                  </a:lnTo>
                  <a:lnTo>
                    <a:pt x="48" y="94"/>
                  </a:lnTo>
                  <a:lnTo>
                    <a:pt x="40" y="97"/>
                  </a:lnTo>
                  <a:lnTo>
                    <a:pt x="33" y="101"/>
                  </a:lnTo>
                  <a:lnTo>
                    <a:pt x="27" y="105"/>
                  </a:lnTo>
                  <a:lnTo>
                    <a:pt x="21" y="110"/>
                  </a:lnTo>
                  <a:lnTo>
                    <a:pt x="15" y="115"/>
                  </a:lnTo>
                  <a:lnTo>
                    <a:pt x="11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2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1" y="217"/>
                  </a:lnTo>
                  <a:lnTo>
                    <a:pt x="27" y="222"/>
                  </a:lnTo>
                  <a:lnTo>
                    <a:pt x="33" y="226"/>
                  </a:lnTo>
                  <a:lnTo>
                    <a:pt x="39" y="230"/>
                  </a:lnTo>
                  <a:lnTo>
                    <a:pt x="45" y="233"/>
                  </a:lnTo>
                  <a:lnTo>
                    <a:pt x="52" y="235"/>
                  </a:lnTo>
                  <a:lnTo>
                    <a:pt x="66" y="238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91" y="239"/>
                  </a:lnTo>
                  <a:lnTo>
                    <a:pt x="101" y="237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4"/>
                  </a:lnTo>
                  <a:lnTo>
                    <a:pt x="135" y="219"/>
                  </a:lnTo>
                  <a:lnTo>
                    <a:pt x="143" y="212"/>
                  </a:lnTo>
                  <a:lnTo>
                    <a:pt x="143" y="235"/>
                  </a:lnTo>
                  <a:lnTo>
                    <a:pt x="187" y="235"/>
                  </a:lnTo>
                  <a:close/>
                  <a:moveTo>
                    <a:pt x="143" y="170"/>
                  </a:moveTo>
                  <a:lnTo>
                    <a:pt x="143" y="170"/>
                  </a:lnTo>
                  <a:lnTo>
                    <a:pt x="139" y="175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1" y="190"/>
                  </a:lnTo>
                  <a:lnTo>
                    <a:pt x="113" y="193"/>
                  </a:lnTo>
                  <a:lnTo>
                    <a:pt x="105" y="196"/>
                  </a:lnTo>
                  <a:lnTo>
                    <a:pt x="96" y="198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78" y="198"/>
                  </a:lnTo>
                  <a:lnTo>
                    <a:pt x="69" y="196"/>
                  </a:lnTo>
                  <a:lnTo>
                    <a:pt x="62" y="194"/>
                  </a:lnTo>
                  <a:lnTo>
                    <a:pt x="56" y="190"/>
                  </a:lnTo>
                  <a:lnTo>
                    <a:pt x="56" y="190"/>
                  </a:lnTo>
                  <a:lnTo>
                    <a:pt x="51" y="185"/>
                  </a:lnTo>
                  <a:lnTo>
                    <a:pt x="47" y="178"/>
                  </a:lnTo>
                  <a:lnTo>
                    <a:pt x="45" y="170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53"/>
                  </a:lnTo>
                  <a:lnTo>
                    <a:pt x="47" y="146"/>
                  </a:lnTo>
                  <a:lnTo>
                    <a:pt x="51" y="140"/>
                  </a:lnTo>
                  <a:lnTo>
                    <a:pt x="56" y="135"/>
                  </a:lnTo>
                  <a:lnTo>
                    <a:pt x="63" y="131"/>
                  </a:lnTo>
                  <a:lnTo>
                    <a:pt x="71" y="128"/>
                  </a:lnTo>
                  <a:lnTo>
                    <a:pt x="80" y="126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108" y="126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31" y="131"/>
                  </a:lnTo>
                  <a:lnTo>
                    <a:pt x="143" y="136"/>
                  </a:lnTo>
                  <a:lnTo>
                    <a:pt x="143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4" name="Freeform 153"/>
            <p:cNvSpPr>
              <a:spLocks noEditPoints="1"/>
            </p:cNvSpPr>
            <p:nvPr userDrawn="1"/>
          </p:nvSpPr>
          <p:spPr bwMode="auto">
            <a:xfrm>
              <a:off x="4002088" y="6362701"/>
              <a:ext cx="79375" cy="95250"/>
            </a:xfrm>
            <a:custGeom>
              <a:avLst/>
              <a:gdLst>
                <a:gd name="T0" fmla="*/ 197 w 197"/>
                <a:gd name="T1" fmla="*/ 114 h 239"/>
                <a:gd name="T2" fmla="*/ 196 w 197"/>
                <a:gd name="T3" fmla="*/ 92 h 239"/>
                <a:gd name="T4" fmla="*/ 191 w 197"/>
                <a:gd name="T5" fmla="*/ 70 h 239"/>
                <a:gd name="T6" fmla="*/ 184 w 197"/>
                <a:gd name="T7" fmla="*/ 51 h 239"/>
                <a:gd name="T8" fmla="*/ 173 w 197"/>
                <a:gd name="T9" fmla="*/ 34 h 239"/>
                <a:gd name="T10" fmla="*/ 160 w 197"/>
                <a:gd name="T11" fmla="*/ 20 h 239"/>
                <a:gd name="T12" fmla="*/ 143 w 197"/>
                <a:gd name="T13" fmla="*/ 9 h 239"/>
                <a:gd name="T14" fmla="*/ 123 w 197"/>
                <a:gd name="T15" fmla="*/ 2 h 239"/>
                <a:gd name="T16" fmla="*/ 101 w 197"/>
                <a:gd name="T17" fmla="*/ 0 h 239"/>
                <a:gd name="T18" fmla="*/ 90 w 197"/>
                <a:gd name="T19" fmla="*/ 0 h 239"/>
                <a:gd name="T20" fmla="*/ 69 w 197"/>
                <a:gd name="T21" fmla="*/ 4 h 239"/>
                <a:gd name="T22" fmla="*/ 51 w 197"/>
                <a:gd name="T23" fmla="*/ 12 h 239"/>
                <a:gd name="T24" fmla="*/ 35 w 197"/>
                <a:gd name="T25" fmla="*/ 23 h 239"/>
                <a:gd name="T26" fmla="*/ 22 w 197"/>
                <a:gd name="T27" fmla="*/ 38 h 239"/>
                <a:gd name="T28" fmla="*/ 12 w 197"/>
                <a:gd name="T29" fmla="*/ 57 h 239"/>
                <a:gd name="T30" fmla="*/ 5 w 197"/>
                <a:gd name="T31" fmla="*/ 79 h 239"/>
                <a:gd name="T32" fmla="*/ 1 w 197"/>
                <a:gd name="T33" fmla="*/ 105 h 239"/>
                <a:gd name="T34" fmla="*/ 0 w 197"/>
                <a:gd name="T35" fmla="*/ 119 h 239"/>
                <a:gd name="T36" fmla="*/ 2 w 197"/>
                <a:gd name="T37" fmla="*/ 147 h 239"/>
                <a:gd name="T38" fmla="*/ 9 w 197"/>
                <a:gd name="T39" fmla="*/ 173 h 239"/>
                <a:gd name="T40" fmla="*/ 19 w 197"/>
                <a:gd name="T41" fmla="*/ 193 h 239"/>
                <a:gd name="T42" fmla="*/ 30 w 197"/>
                <a:gd name="T43" fmla="*/ 209 h 239"/>
                <a:gd name="T44" fmla="*/ 37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9 h 239"/>
                <a:gd name="T52" fmla="*/ 99 w 197"/>
                <a:gd name="T53" fmla="*/ 239 h 239"/>
                <a:gd name="T54" fmla="*/ 125 w 197"/>
                <a:gd name="T55" fmla="*/ 237 h 239"/>
                <a:gd name="T56" fmla="*/ 145 w 197"/>
                <a:gd name="T57" fmla="*/ 231 h 239"/>
                <a:gd name="T58" fmla="*/ 154 w 197"/>
                <a:gd name="T59" fmla="*/ 227 h 239"/>
                <a:gd name="T60" fmla="*/ 170 w 197"/>
                <a:gd name="T61" fmla="*/ 217 h 239"/>
                <a:gd name="T62" fmla="*/ 152 w 197"/>
                <a:gd name="T63" fmla="*/ 180 h 239"/>
                <a:gd name="T64" fmla="*/ 139 w 197"/>
                <a:gd name="T65" fmla="*/ 188 h 239"/>
                <a:gd name="T66" fmla="*/ 129 w 197"/>
                <a:gd name="T67" fmla="*/ 194 h 239"/>
                <a:gd name="T68" fmla="*/ 116 w 197"/>
                <a:gd name="T69" fmla="*/ 197 h 239"/>
                <a:gd name="T70" fmla="*/ 102 w 197"/>
                <a:gd name="T71" fmla="*/ 199 h 239"/>
                <a:gd name="T72" fmla="*/ 92 w 197"/>
                <a:gd name="T73" fmla="*/ 198 h 239"/>
                <a:gd name="T74" fmla="*/ 73 w 197"/>
                <a:gd name="T75" fmla="*/ 191 h 239"/>
                <a:gd name="T76" fmla="*/ 58 w 197"/>
                <a:gd name="T77" fmla="*/ 175 h 239"/>
                <a:gd name="T78" fmla="*/ 47 w 197"/>
                <a:gd name="T79" fmla="*/ 151 h 239"/>
                <a:gd name="T80" fmla="*/ 196 w 197"/>
                <a:gd name="T81" fmla="*/ 135 h 239"/>
                <a:gd name="T82" fmla="*/ 196 w 197"/>
                <a:gd name="T83" fmla="*/ 126 h 239"/>
                <a:gd name="T84" fmla="*/ 197 w 197"/>
                <a:gd name="T85" fmla="*/ 114 h 239"/>
                <a:gd name="T86" fmla="*/ 45 w 197"/>
                <a:gd name="T87" fmla="*/ 98 h 239"/>
                <a:gd name="T88" fmla="*/ 51 w 197"/>
                <a:gd name="T89" fmla="*/ 73 h 239"/>
                <a:gd name="T90" fmla="*/ 61 w 197"/>
                <a:gd name="T91" fmla="*/ 55 h 239"/>
                <a:gd name="T92" fmla="*/ 77 w 197"/>
                <a:gd name="T93" fmla="*/ 44 h 239"/>
                <a:gd name="T94" fmla="*/ 98 w 197"/>
                <a:gd name="T95" fmla="*/ 40 h 239"/>
                <a:gd name="T96" fmla="*/ 104 w 197"/>
                <a:gd name="T97" fmla="*/ 41 h 239"/>
                <a:gd name="T98" fmla="*/ 116 w 197"/>
                <a:gd name="T99" fmla="*/ 43 h 239"/>
                <a:gd name="T100" fmla="*/ 126 w 197"/>
                <a:gd name="T101" fmla="*/ 47 h 239"/>
                <a:gd name="T102" fmla="*/ 138 w 197"/>
                <a:gd name="T103" fmla="*/ 57 h 239"/>
                <a:gd name="T104" fmla="*/ 147 w 197"/>
                <a:gd name="T105" fmla="*/ 76 h 239"/>
                <a:gd name="T106" fmla="*/ 152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4"/>
                  </a:moveTo>
                  <a:lnTo>
                    <a:pt x="197" y="114"/>
                  </a:lnTo>
                  <a:lnTo>
                    <a:pt x="197" y="103"/>
                  </a:lnTo>
                  <a:lnTo>
                    <a:pt x="196" y="92"/>
                  </a:lnTo>
                  <a:lnTo>
                    <a:pt x="194" y="81"/>
                  </a:lnTo>
                  <a:lnTo>
                    <a:pt x="191" y="70"/>
                  </a:lnTo>
                  <a:lnTo>
                    <a:pt x="188" y="60"/>
                  </a:lnTo>
                  <a:lnTo>
                    <a:pt x="184" y="51"/>
                  </a:lnTo>
                  <a:lnTo>
                    <a:pt x="179" y="42"/>
                  </a:lnTo>
                  <a:lnTo>
                    <a:pt x="173" y="34"/>
                  </a:lnTo>
                  <a:lnTo>
                    <a:pt x="167" y="26"/>
                  </a:lnTo>
                  <a:lnTo>
                    <a:pt x="160" y="20"/>
                  </a:lnTo>
                  <a:lnTo>
                    <a:pt x="152" y="14"/>
                  </a:lnTo>
                  <a:lnTo>
                    <a:pt x="143" y="9"/>
                  </a:lnTo>
                  <a:lnTo>
                    <a:pt x="134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2" y="38"/>
                  </a:lnTo>
                  <a:lnTo>
                    <a:pt x="16" y="47"/>
                  </a:lnTo>
                  <a:lnTo>
                    <a:pt x="12" y="57"/>
                  </a:lnTo>
                  <a:lnTo>
                    <a:pt x="8" y="68"/>
                  </a:lnTo>
                  <a:lnTo>
                    <a:pt x="5" y="79"/>
                  </a:lnTo>
                  <a:lnTo>
                    <a:pt x="2" y="92"/>
                  </a:lnTo>
                  <a:lnTo>
                    <a:pt x="1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4" y="184"/>
                  </a:lnTo>
                  <a:lnTo>
                    <a:pt x="19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7" y="215"/>
                  </a:lnTo>
                  <a:lnTo>
                    <a:pt x="44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5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7"/>
                  </a:lnTo>
                  <a:lnTo>
                    <a:pt x="178" y="209"/>
                  </a:lnTo>
                  <a:lnTo>
                    <a:pt x="152" y="180"/>
                  </a:lnTo>
                  <a:lnTo>
                    <a:pt x="152" y="180"/>
                  </a:lnTo>
                  <a:lnTo>
                    <a:pt x="139" y="188"/>
                  </a:lnTo>
                  <a:lnTo>
                    <a:pt x="129" y="194"/>
                  </a:lnTo>
                  <a:lnTo>
                    <a:pt x="129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92" y="198"/>
                  </a:lnTo>
                  <a:lnTo>
                    <a:pt x="82" y="195"/>
                  </a:lnTo>
                  <a:lnTo>
                    <a:pt x="73" y="191"/>
                  </a:lnTo>
                  <a:lnTo>
                    <a:pt x="65" y="184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6" y="135"/>
                  </a:lnTo>
                  <a:lnTo>
                    <a:pt x="196" y="135"/>
                  </a:lnTo>
                  <a:lnTo>
                    <a:pt x="196" y="126"/>
                  </a:lnTo>
                  <a:lnTo>
                    <a:pt x="197" y="114"/>
                  </a:lnTo>
                  <a:lnTo>
                    <a:pt x="197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1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7" y="44"/>
                  </a:lnTo>
                  <a:lnTo>
                    <a:pt x="87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8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2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5" name="Freeform 154"/>
            <p:cNvSpPr>
              <a:spLocks/>
            </p:cNvSpPr>
            <p:nvPr userDrawn="1"/>
          </p:nvSpPr>
          <p:spPr bwMode="auto">
            <a:xfrm>
              <a:off x="4100513" y="6365876"/>
              <a:ext cx="88900" cy="92075"/>
            </a:xfrm>
            <a:custGeom>
              <a:avLst/>
              <a:gdLst>
                <a:gd name="T0" fmla="*/ 226 w 226"/>
                <a:gd name="T1" fmla="*/ 230 h 233"/>
                <a:gd name="T2" fmla="*/ 226 w 226"/>
                <a:gd name="T3" fmla="*/ 0 h 233"/>
                <a:gd name="T4" fmla="*/ 177 w 226"/>
                <a:gd name="T5" fmla="*/ 0 h 233"/>
                <a:gd name="T6" fmla="*/ 128 w 226"/>
                <a:gd name="T7" fmla="*/ 111 h 233"/>
                <a:gd name="T8" fmla="*/ 128 w 226"/>
                <a:gd name="T9" fmla="*/ 111 h 233"/>
                <a:gd name="T10" fmla="*/ 113 w 226"/>
                <a:gd name="T11" fmla="*/ 151 h 233"/>
                <a:gd name="T12" fmla="*/ 113 w 226"/>
                <a:gd name="T13" fmla="*/ 151 h 233"/>
                <a:gd name="T14" fmla="*/ 107 w 226"/>
                <a:gd name="T15" fmla="*/ 132 h 233"/>
                <a:gd name="T16" fmla="*/ 98 w 226"/>
                <a:gd name="T17" fmla="*/ 111 h 233"/>
                <a:gd name="T18" fmla="*/ 49 w 226"/>
                <a:gd name="T19" fmla="*/ 0 h 233"/>
                <a:gd name="T20" fmla="*/ 0 w 226"/>
                <a:gd name="T21" fmla="*/ 0 h 233"/>
                <a:gd name="T22" fmla="*/ 0 w 226"/>
                <a:gd name="T23" fmla="*/ 230 h 233"/>
                <a:gd name="T24" fmla="*/ 43 w 226"/>
                <a:gd name="T25" fmla="*/ 230 h 233"/>
                <a:gd name="T26" fmla="*/ 43 w 226"/>
                <a:gd name="T27" fmla="*/ 110 h 233"/>
                <a:gd name="T28" fmla="*/ 43 w 226"/>
                <a:gd name="T29" fmla="*/ 110 h 233"/>
                <a:gd name="T30" fmla="*/ 42 w 226"/>
                <a:gd name="T31" fmla="*/ 69 h 233"/>
                <a:gd name="T32" fmla="*/ 42 w 226"/>
                <a:gd name="T33" fmla="*/ 69 h 233"/>
                <a:gd name="T34" fmla="*/ 48 w 226"/>
                <a:gd name="T35" fmla="*/ 85 h 233"/>
                <a:gd name="T36" fmla="*/ 57 w 226"/>
                <a:gd name="T37" fmla="*/ 106 h 233"/>
                <a:gd name="T38" fmla="*/ 112 w 226"/>
                <a:gd name="T39" fmla="*/ 233 h 233"/>
                <a:gd name="T40" fmla="*/ 167 w 226"/>
                <a:gd name="T41" fmla="*/ 106 h 233"/>
                <a:gd name="T42" fmla="*/ 167 w 226"/>
                <a:gd name="T43" fmla="*/ 106 h 233"/>
                <a:gd name="T44" fmla="*/ 176 w 226"/>
                <a:gd name="T45" fmla="*/ 85 h 233"/>
                <a:gd name="T46" fmla="*/ 182 w 226"/>
                <a:gd name="T47" fmla="*/ 69 h 233"/>
                <a:gd name="T48" fmla="*/ 182 w 226"/>
                <a:gd name="T49" fmla="*/ 69 h 233"/>
                <a:gd name="T50" fmla="*/ 181 w 226"/>
                <a:gd name="T51" fmla="*/ 110 h 233"/>
                <a:gd name="T52" fmla="*/ 181 w 226"/>
                <a:gd name="T53" fmla="*/ 230 h 233"/>
                <a:gd name="T54" fmla="*/ 226 w 226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6" h="233">
                  <a:moveTo>
                    <a:pt x="226" y="230"/>
                  </a:moveTo>
                  <a:lnTo>
                    <a:pt x="226" y="0"/>
                  </a:lnTo>
                  <a:lnTo>
                    <a:pt x="177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7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76" y="85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1" y="110"/>
                  </a:lnTo>
                  <a:lnTo>
                    <a:pt x="181" y="230"/>
                  </a:lnTo>
                  <a:lnTo>
                    <a:pt x="226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6" name="Freeform 155"/>
            <p:cNvSpPr>
              <a:spLocks/>
            </p:cNvSpPr>
            <p:nvPr userDrawn="1"/>
          </p:nvSpPr>
          <p:spPr bwMode="auto">
            <a:xfrm>
              <a:off x="4256088" y="6365876"/>
              <a:ext cx="88900" cy="92075"/>
            </a:xfrm>
            <a:custGeom>
              <a:avLst/>
              <a:gdLst>
                <a:gd name="T0" fmla="*/ 227 w 227"/>
                <a:gd name="T1" fmla="*/ 230 h 233"/>
                <a:gd name="T2" fmla="*/ 227 w 227"/>
                <a:gd name="T3" fmla="*/ 0 h 233"/>
                <a:gd name="T4" fmla="*/ 178 w 227"/>
                <a:gd name="T5" fmla="*/ 0 h 233"/>
                <a:gd name="T6" fmla="*/ 128 w 227"/>
                <a:gd name="T7" fmla="*/ 111 h 233"/>
                <a:gd name="T8" fmla="*/ 128 w 227"/>
                <a:gd name="T9" fmla="*/ 111 h 233"/>
                <a:gd name="T10" fmla="*/ 113 w 227"/>
                <a:gd name="T11" fmla="*/ 151 h 233"/>
                <a:gd name="T12" fmla="*/ 113 w 227"/>
                <a:gd name="T13" fmla="*/ 151 h 233"/>
                <a:gd name="T14" fmla="*/ 106 w 227"/>
                <a:gd name="T15" fmla="*/ 132 h 233"/>
                <a:gd name="T16" fmla="*/ 98 w 227"/>
                <a:gd name="T17" fmla="*/ 111 h 233"/>
                <a:gd name="T18" fmla="*/ 49 w 227"/>
                <a:gd name="T19" fmla="*/ 0 h 233"/>
                <a:gd name="T20" fmla="*/ 0 w 227"/>
                <a:gd name="T21" fmla="*/ 0 h 233"/>
                <a:gd name="T22" fmla="*/ 0 w 227"/>
                <a:gd name="T23" fmla="*/ 230 h 233"/>
                <a:gd name="T24" fmla="*/ 43 w 227"/>
                <a:gd name="T25" fmla="*/ 230 h 233"/>
                <a:gd name="T26" fmla="*/ 43 w 227"/>
                <a:gd name="T27" fmla="*/ 110 h 233"/>
                <a:gd name="T28" fmla="*/ 43 w 227"/>
                <a:gd name="T29" fmla="*/ 110 h 233"/>
                <a:gd name="T30" fmla="*/ 42 w 227"/>
                <a:gd name="T31" fmla="*/ 69 h 233"/>
                <a:gd name="T32" fmla="*/ 42 w 227"/>
                <a:gd name="T33" fmla="*/ 69 h 233"/>
                <a:gd name="T34" fmla="*/ 48 w 227"/>
                <a:gd name="T35" fmla="*/ 85 h 233"/>
                <a:gd name="T36" fmla="*/ 57 w 227"/>
                <a:gd name="T37" fmla="*/ 106 h 233"/>
                <a:gd name="T38" fmla="*/ 112 w 227"/>
                <a:gd name="T39" fmla="*/ 233 h 233"/>
                <a:gd name="T40" fmla="*/ 167 w 227"/>
                <a:gd name="T41" fmla="*/ 106 h 233"/>
                <a:gd name="T42" fmla="*/ 167 w 227"/>
                <a:gd name="T43" fmla="*/ 106 h 233"/>
                <a:gd name="T44" fmla="*/ 177 w 227"/>
                <a:gd name="T45" fmla="*/ 85 h 233"/>
                <a:gd name="T46" fmla="*/ 183 w 227"/>
                <a:gd name="T47" fmla="*/ 69 h 233"/>
                <a:gd name="T48" fmla="*/ 183 w 227"/>
                <a:gd name="T49" fmla="*/ 69 h 233"/>
                <a:gd name="T50" fmla="*/ 182 w 227"/>
                <a:gd name="T51" fmla="*/ 110 h 233"/>
                <a:gd name="T52" fmla="*/ 182 w 227"/>
                <a:gd name="T53" fmla="*/ 230 h 233"/>
                <a:gd name="T54" fmla="*/ 227 w 227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7" h="233">
                  <a:moveTo>
                    <a:pt x="227" y="230"/>
                  </a:moveTo>
                  <a:lnTo>
                    <a:pt x="227" y="0"/>
                  </a:lnTo>
                  <a:lnTo>
                    <a:pt x="178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6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77" y="85"/>
                  </a:lnTo>
                  <a:lnTo>
                    <a:pt x="183" y="69"/>
                  </a:lnTo>
                  <a:lnTo>
                    <a:pt x="183" y="69"/>
                  </a:lnTo>
                  <a:lnTo>
                    <a:pt x="182" y="110"/>
                  </a:lnTo>
                  <a:lnTo>
                    <a:pt x="182" y="230"/>
                  </a:lnTo>
                  <a:lnTo>
                    <a:pt x="227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7" name="Freeform 156"/>
            <p:cNvSpPr>
              <a:spLocks/>
            </p:cNvSpPr>
            <p:nvPr userDrawn="1"/>
          </p:nvSpPr>
          <p:spPr bwMode="auto">
            <a:xfrm>
              <a:off x="4368800" y="6365876"/>
              <a:ext cx="74613" cy="90488"/>
            </a:xfrm>
            <a:custGeom>
              <a:avLst/>
              <a:gdLst>
                <a:gd name="T0" fmla="*/ 0 w 186"/>
                <a:gd name="T1" fmla="*/ 0 h 230"/>
                <a:gd name="T2" fmla="*/ 0 w 186"/>
                <a:gd name="T3" fmla="*/ 230 h 230"/>
                <a:gd name="T4" fmla="*/ 45 w 186"/>
                <a:gd name="T5" fmla="*/ 230 h 230"/>
                <a:gd name="T6" fmla="*/ 124 w 186"/>
                <a:gd name="T7" fmla="*/ 101 h 230"/>
                <a:gd name="T8" fmla="*/ 124 w 186"/>
                <a:gd name="T9" fmla="*/ 101 h 230"/>
                <a:gd name="T10" fmla="*/ 142 w 186"/>
                <a:gd name="T11" fmla="*/ 72 h 230"/>
                <a:gd name="T12" fmla="*/ 142 w 186"/>
                <a:gd name="T13" fmla="*/ 72 h 230"/>
                <a:gd name="T14" fmla="*/ 141 w 186"/>
                <a:gd name="T15" fmla="*/ 120 h 230"/>
                <a:gd name="T16" fmla="*/ 141 w 186"/>
                <a:gd name="T17" fmla="*/ 230 h 230"/>
                <a:gd name="T18" fmla="*/ 186 w 186"/>
                <a:gd name="T19" fmla="*/ 230 h 230"/>
                <a:gd name="T20" fmla="*/ 186 w 186"/>
                <a:gd name="T21" fmla="*/ 0 h 230"/>
                <a:gd name="T22" fmla="*/ 141 w 186"/>
                <a:gd name="T23" fmla="*/ 0 h 230"/>
                <a:gd name="T24" fmla="*/ 62 w 186"/>
                <a:gd name="T25" fmla="*/ 127 h 230"/>
                <a:gd name="T26" fmla="*/ 62 w 186"/>
                <a:gd name="T27" fmla="*/ 127 h 230"/>
                <a:gd name="T28" fmla="*/ 52 w 186"/>
                <a:gd name="T29" fmla="*/ 143 h 230"/>
                <a:gd name="T30" fmla="*/ 44 w 186"/>
                <a:gd name="T31" fmla="*/ 158 h 230"/>
                <a:gd name="T32" fmla="*/ 44 w 186"/>
                <a:gd name="T33" fmla="*/ 158 h 230"/>
                <a:gd name="T34" fmla="*/ 45 w 186"/>
                <a:gd name="T35" fmla="*/ 108 h 230"/>
                <a:gd name="T36" fmla="*/ 45 w 186"/>
                <a:gd name="T37" fmla="*/ 0 h 230"/>
                <a:gd name="T38" fmla="*/ 0 w 186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6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4" y="101"/>
                  </a:lnTo>
                  <a:lnTo>
                    <a:pt x="124" y="101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1" y="120"/>
                  </a:lnTo>
                  <a:lnTo>
                    <a:pt x="141" y="230"/>
                  </a:lnTo>
                  <a:lnTo>
                    <a:pt x="186" y="230"/>
                  </a:lnTo>
                  <a:lnTo>
                    <a:pt x="186" y="0"/>
                  </a:lnTo>
                  <a:lnTo>
                    <a:pt x="141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8" name="Freeform 157"/>
            <p:cNvSpPr>
              <a:spLocks noEditPoints="1"/>
            </p:cNvSpPr>
            <p:nvPr userDrawn="1"/>
          </p:nvSpPr>
          <p:spPr bwMode="auto">
            <a:xfrm>
              <a:off x="4465638" y="6362701"/>
              <a:ext cx="76200" cy="127000"/>
            </a:xfrm>
            <a:custGeom>
              <a:avLst/>
              <a:gdLst>
                <a:gd name="T0" fmla="*/ 194 w 194"/>
                <a:gd name="T1" fmla="*/ 123 h 319"/>
                <a:gd name="T2" fmla="*/ 192 w 194"/>
                <a:gd name="T3" fmla="*/ 92 h 319"/>
                <a:gd name="T4" fmla="*/ 187 w 194"/>
                <a:gd name="T5" fmla="*/ 67 h 319"/>
                <a:gd name="T6" fmla="*/ 179 w 194"/>
                <a:gd name="T7" fmla="*/ 45 h 319"/>
                <a:gd name="T8" fmla="*/ 168 w 194"/>
                <a:gd name="T9" fmla="*/ 28 h 319"/>
                <a:gd name="T10" fmla="*/ 155 w 194"/>
                <a:gd name="T11" fmla="*/ 16 h 319"/>
                <a:gd name="T12" fmla="*/ 140 w 194"/>
                <a:gd name="T13" fmla="*/ 7 h 319"/>
                <a:gd name="T14" fmla="*/ 123 w 194"/>
                <a:gd name="T15" fmla="*/ 2 h 319"/>
                <a:gd name="T16" fmla="*/ 105 w 194"/>
                <a:gd name="T17" fmla="*/ 0 h 319"/>
                <a:gd name="T18" fmla="*/ 96 w 194"/>
                <a:gd name="T19" fmla="*/ 0 h 319"/>
                <a:gd name="T20" fmla="*/ 79 w 194"/>
                <a:gd name="T21" fmla="*/ 4 h 319"/>
                <a:gd name="T22" fmla="*/ 65 w 194"/>
                <a:gd name="T23" fmla="*/ 11 h 319"/>
                <a:gd name="T24" fmla="*/ 45 w 194"/>
                <a:gd name="T25" fmla="*/ 26 h 319"/>
                <a:gd name="T26" fmla="*/ 0 w 194"/>
                <a:gd name="T27" fmla="*/ 5 h 319"/>
                <a:gd name="T28" fmla="*/ 45 w 194"/>
                <a:gd name="T29" fmla="*/ 296 h 319"/>
                <a:gd name="T30" fmla="*/ 45 w 194"/>
                <a:gd name="T31" fmla="*/ 213 h 319"/>
                <a:gd name="T32" fmla="*/ 58 w 194"/>
                <a:gd name="T33" fmla="*/ 225 h 319"/>
                <a:gd name="T34" fmla="*/ 72 w 194"/>
                <a:gd name="T35" fmla="*/ 233 h 319"/>
                <a:gd name="T36" fmla="*/ 87 w 194"/>
                <a:gd name="T37" fmla="*/ 238 h 319"/>
                <a:gd name="T38" fmla="*/ 102 w 194"/>
                <a:gd name="T39" fmla="*/ 239 h 319"/>
                <a:gd name="T40" fmla="*/ 111 w 194"/>
                <a:gd name="T41" fmla="*/ 239 h 319"/>
                <a:gd name="T42" fmla="*/ 129 w 194"/>
                <a:gd name="T43" fmla="*/ 235 h 319"/>
                <a:gd name="T44" fmla="*/ 145 w 194"/>
                <a:gd name="T45" fmla="*/ 228 h 319"/>
                <a:gd name="T46" fmla="*/ 160 w 194"/>
                <a:gd name="T47" fmla="*/ 218 h 319"/>
                <a:gd name="T48" fmla="*/ 172 w 194"/>
                <a:gd name="T49" fmla="*/ 203 h 319"/>
                <a:gd name="T50" fmla="*/ 182 w 194"/>
                <a:gd name="T51" fmla="*/ 185 h 319"/>
                <a:gd name="T52" fmla="*/ 189 w 194"/>
                <a:gd name="T53" fmla="*/ 164 h 319"/>
                <a:gd name="T54" fmla="*/ 193 w 194"/>
                <a:gd name="T55" fmla="*/ 137 h 319"/>
                <a:gd name="T56" fmla="*/ 194 w 194"/>
                <a:gd name="T57" fmla="*/ 123 h 319"/>
                <a:gd name="T58" fmla="*/ 149 w 194"/>
                <a:gd name="T59" fmla="*/ 124 h 319"/>
                <a:gd name="T60" fmla="*/ 146 w 194"/>
                <a:gd name="T61" fmla="*/ 157 h 319"/>
                <a:gd name="T62" fmla="*/ 139 w 194"/>
                <a:gd name="T63" fmla="*/ 175 h 319"/>
                <a:gd name="T64" fmla="*/ 133 w 194"/>
                <a:gd name="T65" fmla="*/ 184 h 319"/>
                <a:gd name="T66" fmla="*/ 125 w 194"/>
                <a:gd name="T67" fmla="*/ 191 h 319"/>
                <a:gd name="T68" fmla="*/ 116 w 194"/>
                <a:gd name="T69" fmla="*/ 195 h 319"/>
                <a:gd name="T70" fmla="*/ 104 w 194"/>
                <a:gd name="T71" fmla="*/ 198 h 319"/>
                <a:gd name="T72" fmla="*/ 98 w 194"/>
                <a:gd name="T73" fmla="*/ 198 h 319"/>
                <a:gd name="T74" fmla="*/ 81 w 194"/>
                <a:gd name="T75" fmla="*/ 195 h 319"/>
                <a:gd name="T76" fmla="*/ 66 w 194"/>
                <a:gd name="T77" fmla="*/ 188 h 319"/>
                <a:gd name="T78" fmla="*/ 54 w 194"/>
                <a:gd name="T79" fmla="*/ 178 h 319"/>
                <a:gd name="T80" fmla="*/ 44 w 194"/>
                <a:gd name="T81" fmla="*/ 168 h 319"/>
                <a:gd name="T82" fmla="*/ 44 w 194"/>
                <a:gd name="T83" fmla="*/ 70 h 319"/>
                <a:gd name="T84" fmla="*/ 56 w 194"/>
                <a:gd name="T85" fmla="*/ 58 h 319"/>
                <a:gd name="T86" fmla="*/ 69 w 194"/>
                <a:gd name="T87" fmla="*/ 49 h 319"/>
                <a:gd name="T88" fmla="*/ 82 w 194"/>
                <a:gd name="T89" fmla="*/ 43 h 319"/>
                <a:gd name="T90" fmla="*/ 96 w 194"/>
                <a:gd name="T91" fmla="*/ 41 h 319"/>
                <a:gd name="T92" fmla="*/ 102 w 194"/>
                <a:gd name="T93" fmla="*/ 42 h 319"/>
                <a:gd name="T94" fmla="*/ 113 w 194"/>
                <a:gd name="T95" fmla="*/ 44 h 319"/>
                <a:gd name="T96" fmla="*/ 124 w 194"/>
                <a:gd name="T97" fmla="*/ 49 h 319"/>
                <a:gd name="T98" fmla="*/ 132 w 194"/>
                <a:gd name="T99" fmla="*/ 56 h 319"/>
                <a:gd name="T100" fmla="*/ 138 w 194"/>
                <a:gd name="T101" fmla="*/ 67 h 319"/>
                <a:gd name="T102" fmla="*/ 145 w 194"/>
                <a:gd name="T103" fmla="*/ 87 h 319"/>
                <a:gd name="T104" fmla="*/ 149 w 194"/>
                <a:gd name="T105" fmla="*/ 124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" h="319">
                  <a:moveTo>
                    <a:pt x="194" y="123"/>
                  </a:moveTo>
                  <a:lnTo>
                    <a:pt x="194" y="123"/>
                  </a:lnTo>
                  <a:lnTo>
                    <a:pt x="193" y="107"/>
                  </a:lnTo>
                  <a:lnTo>
                    <a:pt x="192" y="92"/>
                  </a:lnTo>
                  <a:lnTo>
                    <a:pt x="190" y="79"/>
                  </a:lnTo>
                  <a:lnTo>
                    <a:pt x="187" y="67"/>
                  </a:lnTo>
                  <a:lnTo>
                    <a:pt x="183" y="55"/>
                  </a:lnTo>
                  <a:lnTo>
                    <a:pt x="179" y="45"/>
                  </a:lnTo>
                  <a:lnTo>
                    <a:pt x="174" y="36"/>
                  </a:lnTo>
                  <a:lnTo>
                    <a:pt x="168" y="28"/>
                  </a:lnTo>
                  <a:lnTo>
                    <a:pt x="162" y="22"/>
                  </a:lnTo>
                  <a:lnTo>
                    <a:pt x="155" y="16"/>
                  </a:lnTo>
                  <a:lnTo>
                    <a:pt x="148" y="11"/>
                  </a:lnTo>
                  <a:lnTo>
                    <a:pt x="140" y="7"/>
                  </a:lnTo>
                  <a:lnTo>
                    <a:pt x="132" y="4"/>
                  </a:lnTo>
                  <a:lnTo>
                    <a:pt x="123" y="2"/>
                  </a:lnTo>
                  <a:lnTo>
                    <a:pt x="114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96" y="0"/>
                  </a:lnTo>
                  <a:lnTo>
                    <a:pt x="87" y="2"/>
                  </a:lnTo>
                  <a:lnTo>
                    <a:pt x="79" y="4"/>
                  </a:lnTo>
                  <a:lnTo>
                    <a:pt x="72" y="7"/>
                  </a:lnTo>
                  <a:lnTo>
                    <a:pt x="65" y="11"/>
                  </a:lnTo>
                  <a:lnTo>
                    <a:pt x="58" y="16"/>
                  </a:lnTo>
                  <a:lnTo>
                    <a:pt x="45" y="26"/>
                  </a:lnTo>
                  <a:lnTo>
                    <a:pt x="45" y="5"/>
                  </a:lnTo>
                  <a:lnTo>
                    <a:pt x="0" y="5"/>
                  </a:lnTo>
                  <a:lnTo>
                    <a:pt x="0" y="319"/>
                  </a:lnTo>
                  <a:lnTo>
                    <a:pt x="45" y="296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51" y="219"/>
                  </a:lnTo>
                  <a:lnTo>
                    <a:pt x="58" y="225"/>
                  </a:lnTo>
                  <a:lnTo>
                    <a:pt x="65" y="229"/>
                  </a:lnTo>
                  <a:lnTo>
                    <a:pt x="72" y="233"/>
                  </a:lnTo>
                  <a:lnTo>
                    <a:pt x="80" y="236"/>
                  </a:lnTo>
                  <a:lnTo>
                    <a:pt x="87" y="238"/>
                  </a:lnTo>
                  <a:lnTo>
                    <a:pt x="95" y="239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11" y="239"/>
                  </a:lnTo>
                  <a:lnTo>
                    <a:pt x="121" y="238"/>
                  </a:lnTo>
                  <a:lnTo>
                    <a:pt x="129" y="235"/>
                  </a:lnTo>
                  <a:lnTo>
                    <a:pt x="138" y="232"/>
                  </a:lnTo>
                  <a:lnTo>
                    <a:pt x="145" y="228"/>
                  </a:lnTo>
                  <a:lnTo>
                    <a:pt x="153" y="223"/>
                  </a:lnTo>
                  <a:lnTo>
                    <a:pt x="160" y="218"/>
                  </a:lnTo>
                  <a:lnTo>
                    <a:pt x="166" y="211"/>
                  </a:lnTo>
                  <a:lnTo>
                    <a:pt x="172" y="203"/>
                  </a:lnTo>
                  <a:lnTo>
                    <a:pt x="178" y="195"/>
                  </a:lnTo>
                  <a:lnTo>
                    <a:pt x="182" y="185"/>
                  </a:lnTo>
                  <a:lnTo>
                    <a:pt x="186" y="175"/>
                  </a:lnTo>
                  <a:lnTo>
                    <a:pt x="189" y="164"/>
                  </a:lnTo>
                  <a:lnTo>
                    <a:pt x="192" y="151"/>
                  </a:lnTo>
                  <a:lnTo>
                    <a:pt x="193" y="137"/>
                  </a:lnTo>
                  <a:lnTo>
                    <a:pt x="194" y="123"/>
                  </a:lnTo>
                  <a:lnTo>
                    <a:pt x="194" y="123"/>
                  </a:lnTo>
                  <a:close/>
                  <a:moveTo>
                    <a:pt x="149" y="124"/>
                  </a:moveTo>
                  <a:lnTo>
                    <a:pt x="149" y="124"/>
                  </a:lnTo>
                  <a:lnTo>
                    <a:pt x="148" y="141"/>
                  </a:lnTo>
                  <a:lnTo>
                    <a:pt x="146" y="157"/>
                  </a:lnTo>
                  <a:lnTo>
                    <a:pt x="142" y="169"/>
                  </a:lnTo>
                  <a:lnTo>
                    <a:pt x="139" y="175"/>
                  </a:lnTo>
                  <a:lnTo>
                    <a:pt x="136" y="180"/>
                  </a:lnTo>
                  <a:lnTo>
                    <a:pt x="133" y="184"/>
                  </a:lnTo>
                  <a:lnTo>
                    <a:pt x="129" y="188"/>
                  </a:lnTo>
                  <a:lnTo>
                    <a:pt x="125" y="191"/>
                  </a:lnTo>
                  <a:lnTo>
                    <a:pt x="121" y="193"/>
                  </a:lnTo>
                  <a:lnTo>
                    <a:pt x="116" y="195"/>
                  </a:lnTo>
                  <a:lnTo>
                    <a:pt x="110" y="197"/>
                  </a:lnTo>
                  <a:lnTo>
                    <a:pt x="104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0" y="197"/>
                  </a:lnTo>
                  <a:lnTo>
                    <a:pt x="81" y="195"/>
                  </a:lnTo>
                  <a:lnTo>
                    <a:pt x="74" y="192"/>
                  </a:lnTo>
                  <a:lnTo>
                    <a:pt x="66" y="188"/>
                  </a:lnTo>
                  <a:lnTo>
                    <a:pt x="60" y="183"/>
                  </a:lnTo>
                  <a:lnTo>
                    <a:pt x="54" y="178"/>
                  </a:lnTo>
                  <a:lnTo>
                    <a:pt x="49" y="173"/>
                  </a:lnTo>
                  <a:lnTo>
                    <a:pt x="44" y="168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50" y="64"/>
                  </a:lnTo>
                  <a:lnTo>
                    <a:pt x="56" y="58"/>
                  </a:lnTo>
                  <a:lnTo>
                    <a:pt x="62" y="53"/>
                  </a:lnTo>
                  <a:lnTo>
                    <a:pt x="69" y="49"/>
                  </a:lnTo>
                  <a:lnTo>
                    <a:pt x="75" y="46"/>
                  </a:lnTo>
                  <a:lnTo>
                    <a:pt x="82" y="43"/>
                  </a:lnTo>
                  <a:lnTo>
                    <a:pt x="89" y="42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4" y="49"/>
                  </a:lnTo>
                  <a:lnTo>
                    <a:pt x="128" y="52"/>
                  </a:lnTo>
                  <a:lnTo>
                    <a:pt x="132" y="56"/>
                  </a:lnTo>
                  <a:lnTo>
                    <a:pt x="135" y="61"/>
                  </a:lnTo>
                  <a:lnTo>
                    <a:pt x="138" y="67"/>
                  </a:lnTo>
                  <a:lnTo>
                    <a:pt x="141" y="73"/>
                  </a:lnTo>
                  <a:lnTo>
                    <a:pt x="145" y="87"/>
                  </a:lnTo>
                  <a:lnTo>
                    <a:pt x="148" y="104"/>
                  </a:lnTo>
                  <a:lnTo>
                    <a:pt x="149" y="124"/>
                  </a:lnTo>
                  <a:lnTo>
                    <a:pt x="149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9" name="Freeform 158"/>
            <p:cNvSpPr>
              <a:spLocks/>
            </p:cNvSpPr>
            <p:nvPr userDrawn="1"/>
          </p:nvSpPr>
          <p:spPr bwMode="auto">
            <a:xfrm>
              <a:off x="4560888" y="6430963"/>
              <a:ext cx="26988" cy="26988"/>
            </a:xfrm>
            <a:custGeom>
              <a:avLst/>
              <a:gdLst>
                <a:gd name="T0" fmla="*/ 68 w 68"/>
                <a:gd name="T1" fmla="*/ 35 h 69"/>
                <a:gd name="T2" fmla="*/ 68 w 68"/>
                <a:gd name="T3" fmla="*/ 35 h 69"/>
                <a:gd name="T4" fmla="*/ 68 w 68"/>
                <a:gd name="T5" fmla="*/ 28 h 69"/>
                <a:gd name="T6" fmla="*/ 66 w 68"/>
                <a:gd name="T7" fmla="*/ 21 h 69"/>
                <a:gd name="T8" fmla="*/ 63 w 68"/>
                <a:gd name="T9" fmla="*/ 15 h 69"/>
                <a:gd name="T10" fmla="*/ 58 w 68"/>
                <a:gd name="T11" fmla="*/ 10 h 69"/>
                <a:gd name="T12" fmla="*/ 53 w 68"/>
                <a:gd name="T13" fmla="*/ 6 h 69"/>
                <a:gd name="T14" fmla="*/ 47 w 68"/>
                <a:gd name="T15" fmla="*/ 3 h 69"/>
                <a:gd name="T16" fmla="*/ 41 w 68"/>
                <a:gd name="T17" fmla="*/ 1 h 69"/>
                <a:gd name="T18" fmla="*/ 34 w 68"/>
                <a:gd name="T19" fmla="*/ 0 h 69"/>
                <a:gd name="T20" fmla="*/ 34 w 68"/>
                <a:gd name="T21" fmla="*/ 0 h 69"/>
                <a:gd name="T22" fmla="*/ 27 w 68"/>
                <a:gd name="T23" fmla="*/ 1 h 69"/>
                <a:gd name="T24" fmla="*/ 20 w 68"/>
                <a:gd name="T25" fmla="*/ 3 h 69"/>
                <a:gd name="T26" fmla="*/ 14 w 68"/>
                <a:gd name="T27" fmla="*/ 6 h 69"/>
                <a:gd name="T28" fmla="*/ 9 w 68"/>
                <a:gd name="T29" fmla="*/ 10 h 69"/>
                <a:gd name="T30" fmla="*/ 5 w 68"/>
                <a:gd name="T31" fmla="*/ 15 h 69"/>
                <a:gd name="T32" fmla="*/ 2 w 68"/>
                <a:gd name="T33" fmla="*/ 21 h 69"/>
                <a:gd name="T34" fmla="*/ 0 w 68"/>
                <a:gd name="T35" fmla="*/ 28 h 69"/>
                <a:gd name="T36" fmla="*/ 0 w 68"/>
                <a:gd name="T37" fmla="*/ 35 h 69"/>
                <a:gd name="T38" fmla="*/ 0 w 68"/>
                <a:gd name="T39" fmla="*/ 35 h 69"/>
                <a:gd name="T40" fmla="*/ 0 w 68"/>
                <a:gd name="T41" fmla="*/ 42 h 69"/>
                <a:gd name="T42" fmla="*/ 2 w 68"/>
                <a:gd name="T43" fmla="*/ 49 h 69"/>
                <a:gd name="T44" fmla="*/ 5 w 68"/>
                <a:gd name="T45" fmla="*/ 54 h 69"/>
                <a:gd name="T46" fmla="*/ 9 w 68"/>
                <a:gd name="T47" fmla="*/ 59 h 69"/>
                <a:gd name="T48" fmla="*/ 14 w 68"/>
                <a:gd name="T49" fmla="*/ 64 h 69"/>
                <a:gd name="T50" fmla="*/ 20 w 68"/>
                <a:gd name="T51" fmla="*/ 67 h 69"/>
                <a:gd name="T52" fmla="*/ 27 w 68"/>
                <a:gd name="T53" fmla="*/ 69 h 69"/>
                <a:gd name="T54" fmla="*/ 34 w 68"/>
                <a:gd name="T55" fmla="*/ 69 h 69"/>
                <a:gd name="T56" fmla="*/ 34 w 68"/>
                <a:gd name="T57" fmla="*/ 69 h 69"/>
                <a:gd name="T58" fmla="*/ 41 w 68"/>
                <a:gd name="T59" fmla="*/ 69 h 69"/>
                <a:gd name="T60" fmla="*/ 47 w 68"/>
                <a:gd name="T61" fmla="*/ 67 h 69"/>
                <a:gd name="T62" fmla="*/ 53 w 68"/>
                <a:gd name="T63" fmla="*/ 64 h 69"/>
                <a:gd name="T64" fmla="*/ 58 w 68"/>
                <a:gd name="T65" fmla="*/ 59 h 69"/>
                <a:gd name="T66" fmla="*/ 63 w 68"/>
                <a:gd name="T67" fmla="*/ 54 h 69"/>
                <a:gd name="T68" fmla="*/ 66 w 68"/>
                <a:gd name="T69" fmla="*/ 49 h 69"/>
                <a:gd name="T70" fmla="*/ 68 w 68"/>
                <a:gd name="T71" fmla="*/ 42 h 69"/>
                <a:gd name="T72" fmla="*/ 68 w 68"/>
                <a:gd name="T73" fmla="*/ 35 h 69"/>
                <a:gd name="T74" fmla="*/ 68 w 68"/>
                <a:gd name="T75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8" h="69">
                  <a:moveTo>
                    <a:pt x="68" y="35"/>
                  </a:moveTo>
                  <a:lnTo>
                    <a:pt x="68" y="35"/>
                  </a:lnTo>
                  <a:lnTo>
                    <a:pt x="68" y="28"/>
                  </a:lnTo>
                  <a:lnTo>
                    <a:pt x="66" y="21"/>
                  </a:lnTo>
                  <a:lnTo>
                    <a:pt x="63" y="15"/>
                  </a:lnTo>
                  <a:lnTo>
                    <a:pt x="58" y="10"/>
                  </a:lnTo>
                  <a:lnTo>
                    <a:pt x="53" y="6"/>
                  </a:lnTo>
                  <a:lnTo>
                    <a:pt x="47" y="3"/>
                  </a:lnTo>
                  <a:lnTo>
                    <a:pt x="41" y="1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7" y="1"/>
                  </a:lnTo>
                  <a:lnTo>
                    <a:pt x="20" y="3"/>
                  </a:lnTo>
                  <a:lnTo>
                    <a:pt x="14" y="6"/>
                  </a:lnTo>
                  <a:lnTo>
                    <a:pt x="9" y="10"/>
                  </a:lnTo>
                  <a:lnTo>
                    <a:pt x="5" y="15"/>
                  </a:lnTo>
                  <a:lnTo>
                    <a:pt x="2" y="21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42"/>
                  </a:lnTo>
                  <a:lnTo>
                    <a:pt x="2" y="49"/>
                  </a:lnTo>
                  <a:lnTo>
                    <a:pt x="5" y="54"/>
                  </a:lnTo>
                  <a:lnTo>
                    <a:pt x="9" y="59"/>
                  </a:lnTo>
                  <a:lnTo>
                    <a:pt x="14" y="64"/>
                  </a:lnTo>
                  <a:lnTo>
                    <a:pt x="20" y="67"/>
                  </a:lnTo>
                  <a:lnTo>
                    <a:pt x="27" y="69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41" y="69"/>
                  </a:lnTo>
                  <a:lnTo>
                    <a:pt x="47" y="67"/>
                  </a:lnTo>
                  <a:lnTo>
                    <a:pt x="53" y="64"/>
                  </a:lnTo>
                  <a:lnTo>
                    <a:pt x="58" y="59"/>
                  </a:lnTo>
                  <a:lnTo>
                    <a:pt x="63" y="54"/>
                  </a:lnTo>
                  <a:lnTo>
                    <a:pt x="66" y="49"/>
                  </a:lnTo>
                  <a:lnTo>
                    <a:pt x="68" y="42"/>
                  </a:lnTo>
                  <a:lnTo>
                    <a:pt x="68" y="35"/>
                  </a:lnTo>
                  <a:lnTo>
                    <a:pt x="68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521231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0" y="1628775"/>
            <a:ext cx="12208264" cy="4475445"/>
            <a:chOff x="0" y="1628775"/>
            <a:chExt cx="12208264" cy="4475445"/>
          </a:xfrm>
        </p:grpSpPr>
        <p:pic>
          <p:nvPicPr>
            <p:cNvPr id="13" name="Picture 2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black">
            <a:xfrm>
              <a:off x="0" y="4291200"/>
              <a:ext cx="3088437" cy="18130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3082575" y="1628775"/>
              <a:ext cx="9125689" cy="3318440"/>
            </a:xfrm>
            <a:custGeom>
              <a:avLst/>
              <a:gdLst/>
              <a:ahLst/>
              <a:cxnLst>
                <a:cxn ang="0">
                  <a:pos x="0" y="2464"/>
                </a:cxn>
                <a:cxn ang="0">
                  <a:pos x="6761" y="0"/>
                </a:cxn>
                <a:cxn ang="0">
                  <a:pos x="6761" y="1290"/>
                </a:cxn>
                <a:cxn ang="0">
                  <a:pos x="0" y="2464"/>
                </a:cxn>
              </a:cxnLst>
              <a:rect l="0" t="0" r="r" b="b"/>
              <a:pathLst>
                <a:path w="6761" h="2464">
                  <a:moveTo>
                    <a:pt x="0" y="2464"/>
                  </a:moveTo>
                  <a:lnTo>
                    <a:pt x="6761" y="0"/>
                  </a:lnTo>
                  <a:lnTo>
                    <a:pt x="6761" y="1290"/>
                  </a:lnTo>
                  <a:lnTo>
                    <a:pt x="0" y="246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081528" y="777600"/>
            <a:ext cx="8509385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081528" y="1731938"/>
            <a:ext cx="6222953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8437" y="5751576"/>
            <a:ext cx="1520177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0458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65512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616">
              <a:defRPr/>
            </a:lvl2pPr>
            <a:lvl3pPr marL="713232">
              <a:defRPr/>
            </a:lvl3pPr>
            <a:lvl4pPr marL="1069848">
              <a:defRPr/>
            </a:lvl4pPr>
            <a:lvl5pPr marL="1426464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151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38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425575"/>
            <a:ext cx="5387605" cy="470058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425575"/>
            <a:ext cx="5387605" cy="470058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2130552"/>
            <a:ext cx="5393208" cy="39949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2130552"/>
            <a:ext cx="5393208" cy="39949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2648" y="1425575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425575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802" y="1025526"/>
            <a:ext cx="10978515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616">
              <a:defRPr/>
            </a:lvl2pPr>
            <a:lvl3pPr marL="713232">
              <a:defRPr/>
            </a:lvl3pPr>
            <a:lvl4pPr marL="1069848">
              <a:defRPr/>
            </a:lvl4pPr>
            <a:lvl5pPr marL="1426464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91799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9408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reeform 4"/>
          <p:cNvSpPr>
            <a:spLocks/>
          </p:cNvSpPr>
          <p:nvPr userDrawn="1"/>
        </p:nvSpPr>
        <p:spPr bwMode="gray">
          <a:xfrm>
            <a:off x="594996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tile tx="0" ty="0" sx="100000" sy="100000" flip="none" algn="tl"/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800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/>
          <p:cNvSpPr>
            <a:spLocks noChangeAspect="1"/>
          </p:cNvSpPr>
          <p:nvPr userDrawn="1"/>
        </p:nvSpPr>
        <p:spPr>
          <a:xfrm>
            <a:off x="3853963" y="615950"/>
            <a:ext cx="7735824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151376" y="2240280"/>
            <a:ext cx="722376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4151376" y="3218688"/>
            <a:ext cx="72237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8" y="5340096"/>
            <a:ext cx="1515759" cy="11569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/>
          </p:cNvSpPr>
          <p:nvPr userDrawn="1"/>
        </p:nvSpPr>
        <p:spPr bwMode="gray">
          <a:xfrm rot="10800000">
            <a:off x="4370832" y="457200"/>
            <a:ext cx="7221423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809744" y="1737360"/>
            <a:ext cx="640080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809744" y="2724912"/>
            <a:ext cx="640080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6496" y="5340096"/>
            <a:ext cx="1515759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1080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48" y="612648"/>
            <a:ext cx="7731125" cy="357505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1005840" y="2240280"/>
            <a:ext cx="6879463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1005840" y="3218688"/>
            <a:ext cx="6879463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8" y="5340096"/>
            <a:ext cx="1515759" cy="1156968"/>
          </a:xfrm>
          <a:prstGeom prst="rect">
            <a:avLst/>
          </a:prstGeom>
        </p:spPr>
      </p:pic>
      <p:grpSp>
        <p:nvGrpSpPr>
          <p:cNvPr id="86" name="Group 85"/>
          <p:cNvGrpSpPr/>
          <p:nvPr userDrawn="1"/>
        </p:nvGrpSpPr>
        <p:grpSpPr>
          <a:xfrm>
            <a:off x="601662" y="5892019"/>
            <a:ext cx="4152900" cy="603250"/>
            <a:chOff x="457200" y="5894388"/>
            <a:chExt cx="4152900" cy="603250"/>
          </a:xfrm>
        </p:grpSpPr>
        <p:sp>
          <p:nvSpPr>
            <p:cNvPr id="8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57200" y="5894388"/>
              <a:ext cx="4152900" cy="603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88" name="Rectangle 87"/>
            <p:cNvSpPr>
              <a:spLocks noChangeArrowheads="1"/>
            </p:cNvSpPr>
            <p:nvPr userDrawn="1"/>
          </p:nvSpPr>
          <p:spPr bwMode="auto">
            <a:xfrm>
              <a:off x="465138" y="5894388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89" name="Rectangle 88"/>
            <p:cNvSpPr>
              <a:spLocks noChangeArrowheads="1"/>
            </p:cNvSpPr>
            <p:nvPr userDrawn="1"/>
          </p:nvSpPr>
          <p:spPr bwMode="auto">
            <a:xfrm>
              <a:off x="631825" y="5894388"/>
              <a:ext cx="101600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0" name="Rectangle 89"/>
            <p:cNvSpPr>
              <a:spLocks noChangeArrowheads="1"/>
            </p:cNvSpPr>
            <p:nvPr userDrawn="1"/>
          </p:nvSpPr>
          <p:spPr bwMode="auto">
            <a:xfrm>
              <a:off x="801688" y="5894388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1" name="Freeform 90"/>
            <p:cNvSpPr>
              <a:spLocks/>
            </p:cNvSpPr>
            <p:nvPr userDrawn="1"/>
          </p:nvSpPr>
          <p:spPr bwMode="auto">
            <a:xfrm>
              <a:off x="461963" y="6122988"/>
              <a:ext cx="104775" cy="122238"/>
            </a:xfrm>
            <a:custGeom>
              <a:avLst/>
              <a:gdLst>
                <a:gd name="T0" fmla="*/ 120 w 264"/>
                <a:gd name="T1" fmla="*/ 305 h 305"/>
                <a:gd name="T2" fmla="*/ 264 w 264"/>
                <a:gd name="T3" fmla="*/ 0 h 305"/>
                <a:gd name="T4" fmla="*/ 212 w 264"/>
                <a:gd name="T5" fmla="*/ 0 h 305"/>
                <a:gd name="T6" fmla="*/ 170 w 264"/>
                <a:gd name="T7" fmla="*/ 98 h 305"/>
                <a:gd name="T8" fmla="*/ 170 w 264"/>
                <a:gd name="T9" fmla="*/ 98 h 305"/>
                <a:gd name="T10" fmla="*/ 153 w 264"/>
                <a:gd name="T11" fmla="*/ 136 h 305"/>
                <a:gd name="T12" fmla="*/ 140 w 264"/>
                <a:gd name="T13" fmla="*/ 167 h 305"/>
                <a:gd name="T14" fmla="*/ 140 w 264"/>
                <a:gd name="T15" fmla="*/ 167 h 305"/>
                <a:gd name="T16" fmla="*/ 126 w 264"/>
                <a:gd name="T17" fmla="*/ 135 h 305"/>
                <a:gd name="T18" fmla="*/ 106 w 264"/>
                <a:gd name="T19" fmla="*/ 97 h 305"/>
                <a:gd name="T20" fmla="*/ 56 w 264"/>
                <a:gd name="T21" fmla="*/ 0 h 305"/>
                <a:gd name="T22" fmla="*/ 0 w 264"/>
                <a:gd name="T23" fmla="*/ 0 h 305"/>
                <a:gd name="T24" fmla="*/ 114 w 264"/>
                <a:gd name="T25" fmla="*/ 213 h 305"/>
                <a:gd name="T26" fmla="*/ 68 w 264"/>
                <a:gd name="T27" fmla="*/ 305 h 305"/>
                <a:gd name="T28" fmla="*/ 120 w 264"/>
                <a:gd name="T29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305">
                  <a:moveTo>
                    <a:pt x="120" y="305"/>
                  </a:moveTo>
                  <a:lnTo>
                    <a:pt x="264" y="0"/>
                  </a:lnTo>
                  <a:lnTo>
                    <a:pt x="212" y="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53" y="136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26" y="135"/>
                  </a:lnTo>
                  <a:lnTo>
                    <a:pt x="106" y="97"/>
                  </a:lnTo>
                  <a:lnTo>
                    <a:pt x="56" y="0"/>
                  </a:lnTo>
                  <a:lnTo>
                    <a:pt x="0" y="0"/>
                  </a:lnTo>
                  <a:lnTo>
                    <a:pt x="114" y="213"/>
                  </a:lnTo>
                  <a:lnTo>
                    <a:pt x="68" y="305"/>
                  </a:lnTo>
                  <a:lnTo>
                    <a:pt x="120" y="3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2" name="Freeform 91"/>
            <p:cNvSpPr>
              <a:spLocks noEditPoints="1"/>
            </p:cNvSpPr>
            <p:nvPr userDrawn="1"/>
          </p:nvSpPr>
          <p:spPr bwMode="auto">
            <a:xfrm>
              <a:off x="623888" y="6153151"/>
              <a:ext cx="73025" cy="92075"/>
            </a:xfrm>
            <a:custGeom>
              <a:avLst/>
              <a:gdLst>
                <a:gd name="T0" fmla="*/ 0 w 184"/>
                <a:gd name="T1" fmla="*/ 229 h 229"/>
                <a:gd name="T2" fmla="*/ 106 w 184"/>
                <a:gd name="T3" fmla="*/ 229 h 229"/>
                <a:gd name="T4" fmla="*/ 132 w 184"/>
                <a:gd name="T5" fmla="*/ 227 h 229"/>
                <a:gd name="T6" fmla="*/ 146 w 184"/>
                <a:gd name="T7" fmla="*/ 222 h 229"/>
                <a:gd name="T8" fmla="*/ 159 w 184"/>
                <a:gd name="T9" fmla="*/ 215 h 229"/>
                <a:gd name="T10" fmla="*/ 169 w 184"/>
                <a:gd name="T11" fmla="*/ 207 h 229"/>
                <a:gd name="T12" fmla="*/ 176 w 184"/>
                <a:gd name="T13" fmla="*/ 196 h 229"/>
                <a:gd name="T14" fmla="*/ 182 w 184"/>
                <a:gd name="T15" fmla="*/ 182 h 229"/>
                <a:gd name="T16" fmla="*/ 184 w 184"/>
                <a:gd name="T17" fmla="*/ 167 h 229"/>
                <a:gd name="T18" fmla="*/ 184 w 184"/>
                <a:gd name="T19" fmla="*/ 159 h 229"/>
                <a:gd name="T20" fmla="*/ 181 w 184"/>
                <a:gd name="T21" fmla="*/ 138 h 229"/>
                <a:gd name="T22" fmla="*/ 172 w 184"/>
                <a:gd name="T23" fmla="*/ 122 h 229"/>
                <a:gd name="T24" fmla="*/ 161 w 184"/>
                <a:gd name="T25" fmla="*/ 112 h 229"/>
                <a:gd name="T26" fmla="*/ 147 w 184"/>
                <a:gd name="T27" fmla="*/ 106 h 229"/>
                <a:gd name="T28" fmla="*/ 154 w 184"/>
                <a:gd name="T29" fmla="*/ 102 h 229"/>
                <a:gd name="T30" fmla="*/ 164 w 184"/>
                <a:gd name="T31" fmla="*/ 94 h 229"/>
                <a:gd name="T32" fmla="*/ 172 w 184"/>
                <a:gd name="T33" fmla="*/ 82 h 229"/>
                <a:gd name="T34" fmla="*/ 177 w 184"/>
                <a:gd name="T35" fmla="*/ 68 h 229"/>
                <a:gd name="T36" fmla="*/ 177 w 184"/>
                <a:gd name="T37" fmla="*/ 60 h 229"/>
                <a:gd name="T38" fmla="*/ 176 w 184"/>
                <a:gd name="T39" fmla="*/ 46 h 229"/>
                <a:gd name="T40" fmla="*/ 173 w 184"/>
                <a:gd name="T41" fmla="*/ 34 h 229"/>
                <a:gd name="T42" fmla="*/ 167 w 184"/>
                <a:gd name="T43" fmla="*/ 24 h 229"/>
                <a:gd name="T44" fmla="*/ 159 w 184"/>
                <a:gd name="T45" fmla="*/ 15 h 229"/>
                <a:gd name="T46" fmla="*/ 150 w 184"/>
                <a:gd name="T47" fmla="*/ 9 h 229"/>
                <a:gd name="T48" fmla="*/ 126 w 184"/>
                <a:gd name="T49" fmla="*/ 1 h 229"/>
                <a:gd name="T50" fmla="*/ 0 w 184"/>
                <a:gd name="T51" fmla="*/ 0 h 229"/>
                <a:gd name="T52" fmla="*/ 45 w 184"/>
                <a:gd name="T53" fmla="*/ 37 h 229"/>
                <a:gd name="T54" fmla="*/ 104 w 184"/>
                <a:gd name="T55" fmla="*/ 37 h 229"/>
                <a:gd name="T56" fmla="*/ 117 w 184"/>
                <a:gd name="T57" fmla="*/ 39 h 229"/>
                <a:gd name="T58" fmla="*/ 126 w 184"/>
                <a:gd name="T59" fmla="*/ 45 h 229"/>
                <a:gd name="T60" fmla="*/ 131 w 184"/>
                <a:gd name="T61" fmla="*/ 53 h 229"/>
                <a:gd name="T62" fmla="*/ 133 w 184"/>
                <a:gd name="T63" fmla="*/ 64 h 229"/>
                <a:gd name="T64" fmla="*/ 132 w 184"/>
                <a:gd name="T65" fmla="*/ 69 h 229"/>
                <a:gd name="T66" fmla="*/ 129 w 184"/>
                <a:gd name="T67" fmla="*/ 78 h 229"/>
                <a:gd name="T68" fmla="*/ 122 w 184"/>
                <a:gd name="T69" fmla="*/ 85 h 229"/>
                <a:gd name="T70" fmla="*/ 111 w 184"/>
                <a:gd name="T71" fmla="*/ 89 h 229"/>
                <a:gd name="T72" fmla="*/ 45 w 184"/>
                <a:gd name="T73" fmla="*/ 90 h 229"/>
                <a:gd name="T74" fmla="*/ 45 w 184"/>
                <a:gd name="T75" fmla="*/ 127 h 229"/>
                <a:gd name="T76" fmla="*/ 105 w 184"/>
                <a:gd name="T77" fmla="*/ 127 h 229"/>
                <a:gd name="T78" fmla="*/ 120 w 184"/>
                <a:gd name="T79" fmla="*/ 129 h 229"/>
                <a:gd name="T80" fmla="*/ 130 w 184"/>
                <a:gd name="T81" fmla="*/ 136 h 229"/>
                <a:gd name="T82" fmla="*/ 137 w 184"/>
                <a:gd name="T83" fmla="*/ 146 h 229"/>
                <a:gd name="T84" fmla="*/ 140 w 184"/>
                <a:gd name="T85" fmla="*/ 160 h 229"/>
                <a:gd name="T86" fmla="*/ 139 w 184"/>
                <a:gd name="T87" fmla="*/ 167 h 229"/>
                <a:gd name="T88" fmla="*/ 135 w 184"/>
                <a:gd name="T89" fmla="*/ 178 h 229"/>
                <a:gd name="T90" fmla="*/ 127 w 184"/>
                <a:gd name="T91" fmla="*/ 187 h 229"/>
                <a:gd name="T92" fmla="*/ 113 w 184"/>
                <a:gd name="T93" fmla="*/ 191 h 229"/>
                <a:gd name="T94" fmla="*/ 45 w 184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4" h="229">
                  <a:moveTo>
                    <a:pt x="0" y="0"/>
                  </a:move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24" y="228"/>
                  </a:lnTo>
                  <a:lnTo>
                    <a:pt x="132" y="227"/>
                  </a:lnTo>
                  <a:lnTo>
                    <a:pt x="139" y="225"/>
                  </a:lnTo>
                  <a:lnTo>
                    <a:pt x="146" y="222"/>
                  </a:lnTo>
                  <a:lnTo>
                    <a:pt x="153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6" y="196"/>
                  </a:lnTo>
                  <a:lnTo>
                    <a:pt x="179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4" y="159"/>
                  </a:lnTo>
                  <a:lnTo>
                    <a:pt x="184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7" y="129"/>
                  </a:lnTo>
                  <a:lnTo>
                    <a:pt x="172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4" y="108"/>
                  </a:lnTo>
                  <a:lnTo>
                    <a:pt x="147" y="106"/>
                  </a:lnTo>
                  <a:lnTo>
                    <a:pt x="147" y="106"/>
                  </a:lnTo>
                  <a:lnTo>
                    <a:pt x="154" y="102"/>
                  </a:lnTo>
                  <a:lnTo>
                    <a:pt x="159" y="98"/>
                  </a:lnTo>
                  <a:lnTo>
                    <a:pt x="164" y="94"/>
                  </a:lnTo>
                  <a:lnTo>
                    <a:pt x="169" y="88"/>
                  </a:lnTo>
                  <a:lnTo>
                    <a:pt x="172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7" y="60"/>
                  </a:lnTo>
                  <a:lnTo>
                    <a:pt x="177" y="60"/>
                  </a:lnTo>
                  <a:lnTo>
                    <a:pt x="177" y="53"/>
                  </a:lnTo>
                  <a:lnTo>
                    <a:pt x="176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0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59" y="15"/>
                  </a:lnTo>
                  <a:lnTo>
                    <a:pt x="155" y="12"/>
                  </a:lnTo>
                  <a:lnTo>
                    <a:pt x="150" y="9"/>
                  </a:lnTo>
                  <a:lnTo>
                    <a:pt x="139" y="4"/>
                  </a:lnTo>
                  <a:lnTo>
                    <a:pt x="126" y="1"/>
                  </a:lnTo>
                  <a:lnTo>
                    <a:pt x="112" y="0"/>
                  </a:lnTo>
                  <a:lnTo>
                    <a:pt x="0" y="0"/>
                  </a:lnTo>
                  <a:close/>
                  <a:moveTo>
                    <a:pt x="45" y="90"/>
                  </a:moveTo>
                  <a:lnTo>
                    <a:pt x="45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1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6" y="45"/>
                  </a:lnTo>
                  <a:lnTo>
                    <a:pt x="129" y="49"/>
                  </a:lnTo>
                  <a:lnTo>
                    <a:pt x="131" y="53"/>
                  </a:lnTo>
                  <a:lnTo>
                    <a:pt x="132" y="58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9"/>
                  </a:lnTo>
                  <a:lnTo>
                    <a:pt x="131" y="74"/>
                  </a:lnTo>
                  <a:lnTo>
                    <a:pt x="129" y="78"/>
                  </a:lnTo>
                  <a:lnTo>
                    <a:pt x="126" y="82"/>
                  </a:lnTo>
                  <a:lnTo>
                    <a:pt x="122" y="85"/>
                  </a:lnTo>
                  <a:lnTo>
                    <a:pt x="117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5" y="90"/>
                  </a:lnTo>
                  <a:close/>
                  <a:moveTo>
                    <a:pt x="45" y="192"/>
                  </a:moveTo>
                  <a:lnTo>
                    <a:pt x="45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13" y="128"/>
                  </a:lnTo>
                  <a:lnTo>
                    <a:pt x="120" y="129"/>
                  </a:lnTo>
                  <a:lnTo>
                    <a:pt x="125" y="132"/>
                  </a:lnTo>
                  <a:lnTo>
                    <a:pt x="130" y="136"/>
                  </a:lnTo>
                  <a:lnTo>
                    <a:pt x="134" y="141"/>
                  </a:lnTo>
                  <a:lnTo>
                    <a:pt x="137" y="146"/>
                  </a:lnTo>
                  <a:lnTo>
                    <a:pt x="139" y="153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9" y="167"/>
                  </a:lnTo>
                  <a:lnTo>
                    <a:pt x="138" y="173"/>
                  </a:lnTo>
                  <a:lnTo>
                    <a:pt x="135" y="178"/>
                  </a:lnTo>
                  <a:lnTo>
                    <a:pt x="131" y="183"/>
                  </a:lnTo>
                  <a:lnTo>
                    <a:pt x="127" y="187"/>
                  </a:lnTo>
                  <a:lnTo>
                    <a:pt x="120" y="190"/>
                  </a:lnTo>
                  <a:lnTo>
                    <a:pt x="113" y="191"/>
                  </a:lnTo>
                  <a:lnTo>
                    <a:pt x="104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3" name="Freeform 92"/>
            <p:cNvSpPr>
              <a:spLocks noEditPoints="1"/>
            </p:cNvSpPr>
            <p:nvPr userDrawn="1"/>
          </p:nvSpPr>
          <p:spPr bwMode="auto">
            <a:xfrm>
              <a:off x="711200" y="6151563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6 w 187"/>
                <a:gd name="T3" fmla="*/ 68 h 239"/>
                <a:gd name="T4" fmla="*/ 183 w 187"/>
                <a:gd name="T5" fmla="*/ 51 h 239"/>
                <a:gd name="T6" fmla="*/ 177 w 187"/>
                <a:gd name="T7" fmla="*/ 36 h 239"/>
                <a:gd name="T8" fmla="*/ 168 w 187"/>
                <a:gd name="T9" fmla="*/ 24 h 239"/>
                <a:gd name="T10" fmla="*/ 157 w 187"/>
                <a:gd name="T11" fmla="*/ 15 h 239"/>
                <a:gd name="T12" fmla="*/ 143 w 187"/>
                <a:gd name="T13" fmla="*/ 8 h 239"/>
                <a:gd name="T14" fmla="*/ 128 w 187"/>
                <a:gd name="T15" fmla="*/ 3 h 239"/>
                <a:gd name="T16" fmla="*/ 110 w 187"/>
                <a:gd name="T17" fmla="*/ 1 h 239"/>
                <a:gd name="T18" fmla="*/ 100 w 187"/>
                <a:gd name="T19" fmla="*/ 0 h 239"/>
                <a:gd name="T20" fmla="*/ 77 w 187"/>
                <a:gd name="T21" fmla="*/ 2 h 239"/>
                <a:gd name="T22" fmla="*/ 57 w 187"/>
                <a:gd name="T23" fmla="*/ 6 h 239"/>
                <a:gd name="T24" fmla="*/ 38 w 187"/>
                <a:gd name="T25" fmla="*/ 12 h 239"/>
                <a:gd name="T26" fmla="*/ 21 w 187"/>
                <a:gd name="T27" fmla="*/ 21 h 239"/>
                <a:gd name="T28" fmla="*/ 39 w 187"/>
                <a:gd name="T29" fmla="*/ 55 h 239"/>
                <a:gd name="T30" fmla="*/ 67 w 187"/>
                <a:gd name="T31" fmla="*/ 44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2 w 187"/>
                <a:gd name="T41" fmla="*/ 70 h 239"/>
                <a:gd name="T42" fmla="*/ 143 w 187"/>
                <a:gd name="T43" fmla="*/ 96 h 239"/>
                <a:gd name="T44" fmla="*/ 134 w 187"/>
                <a:gd name="T45" fmla="*/ 93 h 239"/>
                <a:gd name="T46" fmla="*/ 107 w 187"/>
                <a:gd name="T47" fmla="*/ 88 h 239"/>
                <a:gd name="T48" fmla="*/ 91 w 187"/>
                <a:gd name="T49" fmla="*/ 88 h 239"/>
                <a:gd name="T50" fmla="*/ 63 w 187"/>
                <a:gd name="T51" fmla="*/ 90 h 239"/>
                <a:gd name="T52" fmla="*/ 47 w 187"/>
                <a:gd name="T53" fmla="*/ 94 h 239"/>
                <a:gd name="T54" fmla="*/ 32 w 187"/>
                <a:gd name="T55" fmla="*/ 101 h 239"/>
                <a:gd name="T56" fmla="*/ 20 w 187"/>
                <a:gd name="T57" fmla="*/ 110 h 239"/>
                <a:gd name="T58" fmla="*/ 10 w 187"/>
                <a:gd name="T59" fmla="*/ 122 h 239"/>
                <a:gd name="T60" fmla="*/ 4 w 187"/>
                <a:gd name="T61" fmla="*/ 136 h 239"/>
                <a:gd name="T62" fmla="*/ 0 w 187"/>
                <a:gd name="T63" fmla="*/ 152 h 239"/>
                <a:gd name="T64" fmla="*/ 0 w 187"/>
                <a:gd name="T65" fmla="*/ 162 h 239"/>
                <a:gd name="T66" fmla="*/ 1 w 187"/>
                <a:gd name="T67" fmla="*/ 181 h 239"/>
                <a:gd name="T68" fmla="*/ 7 w 187"/>
                <a:gd name="T69" fmla="*/ 197 h 239"/>
                <a:gd name="T70" fmla="*/ 15 w 187"/>
                <a:gd name="T71" fmla="*/ 211 h 239"/>
                <a:gd name="T72" fmla="*/ 25 w 187"/>
                <a:gd name="T73" fmla="*/ 221 h 239"/>
                <a:gd name="T74" fmla="*/ 38 w 187"/>
                <a:gd name="T75" fmla="*/ 229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8 h 239"/>
                <a:gd name="T82" fmla="*/ 109 w 187"/>
                <a:gd name="T83" fmla="*/ 234 h 239"/>
                <a:gd name="T84" fmla="*/ 116 w 187"/>
                <a:gd name="T85" fmla="*/ 231 h 239"/>
                <a:gd name="T86" fmla="*/ 135 w 187"/>
                <a:gd name="T87" fmla="*/ 218 h 239"/>
                <a:gd name="T88" fmla="*/ 143 w 187"/>
                <a:gd name="T89" fmla="*/ 234 h 239"/>
                <a:gd name="T90" fmla="*/ 143 w 187"/>
                <a:gd name="T91" fmla="*/ 169 h 239"/>
                <a:gd name="T92" fmla="*/ 138 w 187"/>
                <a:gd name="T93" fmla="*/ 174 h 239"/>
                <a:gd name="T94" fmla="*/ 127 w 187"/>
                <a:gd name="T95" fmla="*/ 185 h 239"/>
                <a:gd name="T96" fmla="*/ 113 w 187"/>
                <a:gd name="T97" fmla="*/ 193 h 239"/>
                <a:gd name="T98" fmla="*/ 95 w 187"/>
                <a:gd name="T99" fmla="*/ 198 h 239"/>
                <a:gd name="T100" fmla="*/ 86 w 187"/>
                <a:gd name="T101" fmla="*/ 198 h 239"/>
                <a:gd name="T102" fmla="*/ 68 w 187"/>
                <a:gd name="T103" fmla="*/ 196 h 239"/>
                <a:gd name="T104" fmla="*/ 55 w 187"/>
                <a:gd name="T105" fmla="*/ 189 h 239"/>
                <a:gd name="T106" fmla="*/ 50 w 187"/>
                <a:gd name="T107" fmla="*/ 184 h 239"/>
                <a:gd name="T108" fmla="*/ 43 w 187"/>
                <a:gd name="T109" fmla="*/ 170 h 239"/>
                <a:gd name="T110" fmla="*/ 42 w 187"/>
                <a:gd name="T111" fmla="*/ 160 h 239"/>
                <a:gd name="T112" fmla="*/ 46 w 187"/>
                <a:gd name="T113" fmla="*/ 146 h 239"/>
                <a:gd name="T114" fmla="*/ 55 w 187"/>
                <a:gd name="T115" fmla="*/ 136 h 239"/>
                <a:gd name="T116" fmla="*/ 70 w 187"/>
                <a:gd name="T117" fmla="*/ 129 h 239"/>
                <a:gd name="T118" fmla="*/ 89 w 187"/>
                <a:gd name="T119" fmla="*/ 126 h 239"/>
                <a:gd name="T120" fmla="*/ 106 w 187"/>
                <a:gd name="T121" fmla="*/ 127 h 239"/>
                <a:gd name="T122" fmla="*/ 120 w 187"/>
                <a:gd name="T123" fmla="*/ 129 h 239"/>
                <a:gd name="T124" fmla="*/ 143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4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6" y="68"/>
                  </a:lnTo>
                  <a:lnTo>
                    <a:pt x="185" y="59"/>
                  </a:lnTo>
                  <a:lnTo>
                    <a:pt x="183" y="51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30"/>
                  </a:lnTo>
                  <a:lnTo>
                    <a:pt x="168" y="24"/>
                  </a:lnTo>
                  <a:lnTo>
                    <a:pt x="163" y="19"/>
                  </a:lnTo>
                  <a:lnTo>
                    <a:pt x="157" y="15"/>
                  </a:lnTo>
                  <a:lnTo>
                    <a:pt x="150" y="11"/>
                  </a:lnTo>
                  <a:lnTo>
                    <a:pt x="143" y="8"/>
                  </a:lnTo>
                  <a:lnTo>
                    <a:pt x="136" y="5"/>
                  </a:lnTo>
                  <a:lnTo>
                    <a:pt x="128" y="3"/>
                  </a:lnTo>
                  <a:lnTo>
                    <a:pt x="119" y="2"/>
                  </a:lnTo>
                  <a:lnTo>
                    <a:pt x="110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1"/>
                  </a:lnTo>
                  <a:lnTo>
                    <a:pt x="77" y="2"/>
                  </a:lnTo>
                  <a:lnTo>
                    <a:pt x="67" y="3"/>
                  </a:lnTo>
                  <a:lnTo>
                    <a:pt x="57" y="6"/>
                  </a:lnTo>
                  <a:lnTo>
                    <a:pt x="47" y="8"/>
                  </a:lnTo>
                  <a:lnTo>
                    <a:pt x="38" y="12"/>
                  </a:lnTo>
                  <a:lnTo>
                    <a:pt x="30" y="16"/>
                  </a:lnTo>
                  <a:lnTo>
                    <a:pt x="21" y="21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52" y="48"/>
                  </a:lnTo>
                  <a:lnTo>
                    <a:pt x="67" y="44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2" y="51"/>
                  </a:lnTo>
                  <a:lnTo>
                    <a:pt x="136" y="56"/>
                  </a:lnTo>
                  <a:lnTo>
                    <a:pt x="140" y="63"/>
                  </a:lnTo>
                  <a:lnTo>
                    <a:pt x="142" y="70"/>
                  </a:lnTo>
                  <a:lnTo>
                    <a:pt x="143" y="79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34" y="93"/>
                  </a:lnTo>
                  <a:lnTo>
                    <a:pt x="122" y="90"/>
                  </a:lnTo>
                  <a:lnTo>
                    <a:pt x="107" y="88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72" y="89"/>
                  </a:lnTo>
                  <a:lnTo>
                    <a:pt x="63" y="90"/>
                  </a:lnTo>
                  <a:lnTo>
                    <a:pt x="55" y="92"/>
                  </a:lnTo>
                  <a:lnTo>
                    <a:pt x="47" y="94"/>
                  </a:lnTo>
                  <a:lnTo>
                    <a:pt x="39" y="98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6"/>
                  </a:lnTo>
                  <a:lnTo>
                    <a:pt x="10" y="122"/>
                  </a:lnTo>
                  <a:lnTo>
                    <a:pt x="7" y="129"/>
                  </a:lnTo>
                  <a:lnTo>
                    <a:pt x="4" y="136"/>
                  </a:lnTo>
                  <a:lnTo>
                    <a:pt x="1" y="144"/>
                  </a:lnTo>
                  <a:lnTo>
                    <a:pt x="0" y="152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1" y="181"/>
                  </a:lnTo>
                  <a:lnTo>
                    <a:pt x="4" y="190"/>
                  </a:lnTo>
                  <a:lnTo>
                    <a:pt x="7" y="197"/>
                  </a:lnTo>
                  <a:lnTo>
                    <a:pt x="11" y="204"/>
                  </a:lnTo>
                  <a:lnTo>
                    <a:pt x="15" y="211"/>
                  </a:lnTo>
                  <a:lnTo>
                    <a:pt x="20" y="216"/>
                  </a:lnTo>
                  <a:lnTo>
                    <a:pt x="25" y="221"/>
                  </a:lnTo>
                  <a:lnTo>
                    <a:pt x="31" y="226"/>
                  </a:lnTo>
                  <a:lnTo>
                    <a:pt x="38" y="229"/>
                  </a:lnTo>
                  <a:lnTo>
                    <a:pt x="44" y="232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8"/>
                  </a:lnTo>
                  <a:lnTo>
                    <a:pt x="100" y="236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3"/>
                  </a:lnTo>
                  <a:lnTo>
                    <a:pt x="135" y="218"/>
                  </a:lnTo>
                  <a:lnTo>
                    <a:pt x="143" y="211"/>
                  </a:lnTo>
                  <a:lnTo>
                    <a:pt x="143" y="234"/>
                  </a:lnTo>
                  <a:lnTo>
                    <a:pt x="187" y="234"/>
                  </a:lnTo>
                  <a:close/>
                  <a:moveTo>
                    <a:pt x="143" y="169"/>
                  </a:moveTo>
                  <a:lnTo>
                    <a:pt x="143" y="169"/>
                  </a:lnTo>
                  <a:lnTo>
                    <a:pt x="138" y="174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89"/>
                  </a:lnTo>
                  <a:lnTo>
                    <a:pt x="113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3"/>
                  </a:lnTo>
                  <a:lnTo>
                    <a:pt x="55" y="189"/>
                  </a:lnTo>
                  <a:lnTo>
                    <a:pt x="55" y="189"/>
                  </a:lnTo>
                  <a:lnTo>
                    <a:pt x="50" y="184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6"/>
                  </a:lnTo>
                  <a:lnTo>
                    <a:pt x="62" y="132"/>
                  </a:lnTo>
                  <a:lnTo>
                    <a:pt x="70" y="129"/>
                  </a:lnTo>
                  <a:lnTo>
                    <a:pt x="79" y="127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7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31" y="132"/>
                  </a:lnTo>
                  <a:lnTo>
                    <a:pt x="143" y="136"/>
                  </a:lnTo>
                  <a:lnTo>
                    <a:pt x="143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4" name="Freeform 93"/>
            <p:cNvSpPr>
              <a:spLocks/>
            </p:cNvSpPr>
            <p:nvPr userDrawn="1"/>
          </p:nvSpPr>
          <p:spPr bwMode="auto">
            <a:xfrm>
              <a:off x="803275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5 w 181"/>
                <a:gd name="T3" fmla="*/ 22 h 239"/>
                <a:gd name="T4" fmla="*/ 146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5 w 181"/>
                <a:gd name="T23" fmla="*/ 81 h 239"/>
                <a:gd name="T24" fmla="*/ 1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8 w 181"/>
                <a:gd name="T31" fmla="*/ 169 h 239"/>
                <a:gd name="T32" fmla="*/ 17 w 181"/>
                <a:gd name="T33" fmla="*/ 189 h 239"/>
                <a:gd name="T34" fmla="*/ 29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9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40 w 181"/>
                <a:gd name="T55" fmla="*/ 180 h 239"/>
                <a:gd name="T56" fmla="*/ 128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4 h 239"/>
                <a:gd name="T82" fmla="*/ 68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7 w 181"/>
                <a:gd name="T91" fmla="*/ 43 h 239"/>
                <a:gd name="T92" fmla="*/ 121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6"/>
                  </a:lnTo>
                  <a:lnTo>
                    <a:pt x="146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5"/>
                  </a:lnTo>
                  <a:lnTo>
                    <a:pt x="139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0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0"/>
                  </a:lnTo>
                  <a:lnTo>
                    <a:pt x="72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60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5"/>
                  </a:lnTo>
                  <a:lnTo>
                    <a:pt x="121" y="47"/>
                  </a:lnTo>
                  <a:lnTo>
                    <a:pt x="128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5" name="Freeform 94"/>
            <p:cNvSpPr>
              <a:spLocks noEditPoints="1"/>
            </p:cNvSpPr>
            <p:nvPr userDrawn="1"/>
          </p:nvSpPr>
          <p:spPr bwMode="auto">
            <a:xfrm>
              <a:off x="933450" y="6151563"/>
              <a:ext cx="77788" cy="95250"/>
            </a:xfrm>
            <a:custGeom>
              <a:avLst/>
              <a:gdLst>
                <a:gd name="T0" fmla="*/ 197 w 197"/>
                <a:gd name="T1" fmla="*/ 115 h 239"/>
                <a:gd name="T2" fmla="*/ 196 w 197"/>
                <a:gd name="T3" fmla="*/ 92 h 239"/>
                <a:gd name="T4" fmla="*/ 192 w 197"/>
                <a:gd name="T5" fmla="*/ 71 h 239"/>
                <a:gd name="T6" fmla="*/ 184 w 197"/>
                <a:gd name="T7" fmla="*/ 52 h 239"/>
                <a:gd name="T8" fmla="*/ 174 w 197"/>
                <a:gd name="T9" fmla="*/ 34 h 239"/>
                <a:gd name="T10" fmla="*/ 160 w 197"/>
                <a:gd name="T11" fmla="*/ 20 h 239"/>
                <a:gd name="T12" fmla="*/ 144 w 197"/>
                <a:gd name="T13" fmla="*/ 10 h 239"/>
                <a:gd name="T14" fmla="*/ 124 w 197"/>
                <a:gd name="T15" fmla="*/ 3 h 239"/>
                <a:gd name="T16" fmla="*/ 101 w 197"/>
                <a:gd name="T17" fmla="*/ 0 h 239"/>
                <a:gd name="T18" fmla="*/ 90 w 197"/>
                <a:gd name="T19" fmla="*/ 1 h 239"/>
                <a:gd name="T20" fmla="*/ 70 w 197"/>
                <a:gd name="T21" fmla="*/ 5 h 239"/>
                <a:gd name="T22" fmla="*/ 52 w 197"/>
                <a:gd name="T23" fmla="*/ 12 h 239"/>
                <a:gd name="T24" fmla="*/ 35 w 197"/>
                <a:gd name="T25" fmla="*/ 24 h 239"/>
                <a:gd name="T26" fmla="*/ 21 w 197"/>
                <a:gd name="T27" fmla="*/ 39 h 239"/>
                <a:gd name="T28" fmla="*/ 11 w 197"/>
                <a:gd name="T29" fmla="*/ 58 h 239"/>
                <a:gd name="T30" fmla="*/ 4 w 197"/>
                <a:gd name="T31" fmla="*/ 80 h 239"/>
                <a:gd name="T32" fmla="*/ 0 w 197"/>
                <a:gd name="T33" fmla="*/ 106 h 239"/>
                <a:gd name="T34" fmla="*/ 0 w 197"/>
                <a:gd name="T35" fmla="*/ 120 h 239"/>
                <a:gd name="T36" fmla="*/ 2 w 197"/>
                <a:gd name="T37" fmla="*/ 148 h 239"/>
                <a:gd name="T38" fmla="*/ 9 w 197"/>
                <a:gd name="T39" fmla="*/ 172 h 239"/>
                <a:gd name="T40" fmla="*/ 18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2 w 197"/>
                <a:gd name="T47" fmla="*/ 226 h 239"/>
                <a:gd name="T48" fmla="*/ 69 w 197"/>
                <a:gd name="T49" fmla="*/ 234 h 239"/>
                <a:gd name="T50" fmla="*/ 89 w 197"/>
                <a:gd name="T51" fmla="*/ 238 h 239"/>
                <a:gd name="T52" fmla="*/ 100 w 197"/>
                <a:gd name="T53" fmla="*/ 239 h 239"/>
                <a:gd name="T54" fmla="*/ 125 w 197"/>
                <a:gd name="T55" fmla="*/ 237 h 239"/>
                <a:gd name="T56" fmla="*/ 146 w 197"/>
                <a:gd name="T57" fmla="*/ 231 h 239"/>
                <a:gd name="T58" fmla="*/ 154 w 197"/>
                <a:gd name="T59" fmla="*/ 227 h 239"/>
                <a:gd name="T60" fmla="*/ 170 w 197"/>
                <a:gd name="T61" fmla="*/ 216 h 239"/>
                <a:gd name="T62" fmla="*/ 152 w 197"/>
                <a:gd name="T63" fmla="*/ 180 h 239"/>
                <a:gd name="T64" fmla="*/ 140 w 197"/>
                <a:gd name="T65" fmla="*/ 188 h 239"/>
                <a:gd name="T66" fmla="*/ 129 w 197"/>
                <a:gd name="T67" fmla="*/ 193 h 239"/>
                <a:gd name="T68" fmla="*/ 117 w 197"/>
                <a:gd name="T69" fmla="*/ 197 h 239"/>
                <a:gd name="T70" fmla="*/ 102 w 197"/>
                <a:gd name="T71" fmla="*/ 198 h 239"/>
                <a:gd name="T72" fmla="*/ 92 w 197"/>
                <a:gd name="T73" fmla="*/ 197 h 239"/>
                <a:gd name="T74" fmla="*/ 73 w 197"/>
                <a:gd name="T75" fmla="*/ 190 h 239"/>
                <a:gd name="T76" fmla="*/ 58 w 197"/>
                <a:gd name="T77" fmla="*/ 175 h 239"/>
                <a:gd name="T78" fmla="*/ 48 w 197"/>
                <a:gd name="T79" fmla="*/ 151 h 239"/>
                <a:gd name="T80" fmla="*/ 196 w 197"/>
                <a:gd name="T81" fmla="*/ 136 h 239"/>
                <a:gd name="T82" fmla="*/ 197 w 197"/>
                <a:gd name="T83" fmla="*/ 127 h 239"/>
                <a:gd name="T84" fmla="*/ 197 w 197"/>
                <a:gd name="T85" fmla="*/ 115 h 239"/>
                <a:gd name="T86" fmla="*/ 45 w 197"/>
                <a:gd name="T87" fmla="*/ 98 h 239"/>
                <a:gd name="T88" fmla="*/ 51 w 197"/>
                <a:gd name="T89" fmla="*/ 74 h 239"/>
                <a:gd name="T90" fmla="*/ 62 w 197"/>
                <a:gd name="T91" fmla="*/ 56 h 239"/>
                <a:gd name="T92" fmla="*/ 77 w 197"/>
                <a:gd name="T93" fmla="*/ 45 h 239"/>
                <a:gd name="T94" fmla="*/ 98 w 197"/>
                <a:gd name="T95" fmla="*/ 41 h 239"/>
                <a:gd name="T96" fmla="*/ 105 w 197"/>
                <a:gd name="T97" fmla="*/ 41 h 239"/>
                <a:gd name="T98" fmla="*/ 117 w 197"/>
                <a:gd name="T99" fmla="*/ 44 h 239"/>
                <a:gd name="T100" fmla="*/ 127 w 197"/>
                <a:gd name="T101" fmla="*/ 48 h 239"/>
                <a:gd name="T102" fmla="*/ 138 w 197"/>
                <a:gd name="T103" fmla="*/ 58 h 239"/>
                <a:gd name="T104" fmla="*/ 148 w 197"/>
                <a:gd name="T105" fmla="*/ 76 h 239"/>
                <a:gd name="T106" fmla="*/ 152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5"/>
                  </a:moveTo>
                  <a:lnTo>
                    <a:pt x="197" y="115"/>
                  </a:lnTo>
                  <a:lnTo>
                    <a:pt x="197" y="104"/>
                  </a:lnTo>
                  <a:lnTo>
                    <a:pt x="196" y="92"/>
                  </a:lnTo>
                  <a:lnTo>
                    <a:pt x="194" y="81"/>
                  </a:lnTo>
                  <a:lnTo>
                    <a:pt x="192" y="71"/>
                  </a:lnTo>
                  <a:lnTo>
                    <a:pt x="188" y="61"/>
                  </a:lnTo>
                  <a:lnTo>
                    <a:pt x="184" y="52"/>
                  </a:lnTo>
                  <a:lnTo>
                    <a:pt x="179" y="43"/>
                  </a:lnTo>
                  <a:lnTo>
                    <a:pt x="174" y="34"/>
                  </a:lnTo>
                  <a:lnTo>
                    <a:pt x="167" y="27"/>
                  </a:lnTo>
                  <a:lnTo>
                    <a:pt x="160" y="20"/>
                  </a:lnTo>
                  <a:lnTo>
                    <a:pt x="152" y="14"/>
                  </a:lnTo>
                  <a:lnTo>
                    <a:pt x="144" y="10"/>
                  </a:lnTo>
                  <a:lnTo>
                    <a:pt x="134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0" y="8"/>
                  </a:lnTo>
                  <a:lnTo>
                    <a:pt x="52" y="12"/>
                  </a:lnTo>
                  <a:lnTo>
                    <a:pt x="42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1" y="39"/>
                  </a:lnTo>
                  <a:lnTo>
                    <a:pt x="16" y="48"/>
                  </a:lnTo>
                  <a:lnTo>
                    <a:pt x="11" y="58"/>
                  </a:lnTo>
                  <a:lnTo>
                    <a:pt x="7" y="68"/>
                  </a:lnTo>
                  <a:lnTo>
                    <a:pt x="4" y="80"/>
                  </a:lnTo>
                  <a:lnTo>
                    <a:pt x="2" y="92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4"/>
                  </a:lnTo>
                  <a:lnTo>
                    <a:pt x="2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3" y="183"/>
                  </a:lnTo>
                  <a:lnTo>
                    <a:pt x="18" y="193"/>
                  </a:lnTo>
                  <a:lnTo>
                    <a:pt x="24" y="201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0"/>
                  </a:lnTo>
                  <a:lnTo>
                    <a:pt x="52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6"/>
                  </a:lnTo>
                  <a:lnTo>
                    <a:pt x="89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3" y="238"/>
                  </a:lnTo>
                  <a:lnTo>
                    <a:pt x="125" y="237"/>
                  </a:lnTo>
                  <a:lnTo>
                    <a:pt x="136" y="234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6"/>
                  </a:lnTo>
                  <a:lnTo>
                    <a:pt x="179" y="209"/>
                  </a:lnTo>
                  <a:lnTo>
                    <a:pt x="152" y="180"/>
                  </a:lnTo>
                  <a:lnTo>
                    <a:pt x="152" y="180"/>
                  </a:lnTo>
                  <a:lnTo>
                    <a:pt x="140" y="188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3" y="195"/>
                  </a:lnTo>
                  <a:lnTo>
                    <a:pt x="117" y="197"/>
                  </a:lnTo>
                  <a:lnTo>
                    <a:pt x="110" y="198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92" y="197"/>
                  </a:lnTo>
                  <a:lnTo>
                    <a:pt x="82" y="195"/>
                  </a:lnTo>
                  <a:lnTo>
                    <a:pt x="73" y="190"/>
                  </a:lnTo>
                  <a:lnTo>
                    <a:pt x="65" y="183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8" y="151"/>
                  </a:lnTo>
                  <a:lnTo>
                    <a:pt x="44" y="136"/>
                  </a:lnTo>
                  <a:lnTo>
                    <a:pt x="196" y="136"/>
                  </a:lnTo>
                  <a:lnTo>
                    <a:pt x="196" y="136"/>
                  </a:lnTo>
                  <a:lnTo>
                    <a:pt x="197" y="127"/>
                  </a:lnTo>
                  <a:lnTo>
                    <a:pt x="197" y="115"/>
                  </a:lnTo>
                  <a:lnTo>
                    <a:pt x="197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8" y="85"/>
                  </a:lnTo>
                  <a:lnTo>
                    <a:pt x="51" y="74"/>
                  </a:lnTo>
                  <a:lnTo>
                    <a:pt x="56" y="64"/>
                  </a:lnTo>
                  <a:lnTo>
                    <a:pt x="62" y="56"/>
                  </a:lnTo>
                  <a:lnTo>
                    <a:pt x="69" y="49"/>
                  </a:lnTo>
                  <a:lnTo>
                    <a:pt x="77" y="45"/>
                  </a:lnTo>
                  <a:lnTo>
                    <a:pt x="87" y="42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105" y="41"/>
                  </a:lnTo>
                  <a:lnTo>
                    <a:pt x="111" y="42"/>
                  </a:lnTo>
                  <a:lnTo>
                    <a:pt x="117" y="44"/>
                  </a:lnTo>
                  <a:lnTo>
                    <a:pt x="122" y="45"/>
                  </a:lnTo>
                  <a:lnTo>
                    <a:pt x="127" y="48"/>
                  </a:lnTo>
                  <a:lnTo>
                    <a:pt x="131" y="51"/>
                  </a:lnTo>
                  <a:lnTo>
                    <a:pt x="138" y="58"/>
                  </a:lnTo>
                  <a:lnTo>
                    <a:pt x="144" y="66"/>
                  </a:lnTo>
                  <a:lnTo>
                    <a:pt x="148" y="76"/>
                  </a:lnTo>
                  <a:lnTo>
                    <a:pt x="151" y="87"/>
                  </a:lnTo>
                  <a:lnTo>
                    <a:pt x="152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6" name="Freeform 95"/>
            <p:cNvSpPr>
              <a:spLocks/>
            </p:cNvSpPr>
            <p:nvPr userDrawn="1"/>
          </p:nvSpPr>
          <p:spPr bwMode="auto">
            <a:xfrm>
              <a:off x="1025525" y="6151563"/>
              <a:ext cx="73025" cy="95250"/>
            </a:xfrm>
            <a:custGeom>
              <a:avLst/>
              <a:gdLst>
                <a:gd name="T0" fmla="*/ 181 w 181"/>
                <a:gd name="T1" fmla="*/ 39 h 239"/>
                <a:gd name="T2" fmla="*/ 165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5 w 181"/>
                <a:gd name="T23" fmla="*/ 81 h 239"/>
                <a:gd name="T24" fmla="*/ 1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8 w 181"/>
                <a:gd name="T31" fmla="*/ 169 h 239"/>
                <a:gd name="T32" fmla="*/ 17 w 181"/>
                <a:gd name="T33" fmla="*/ 189 h 239"/>
                <a:gd name="T34" fmla="*/ 29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40 w 181"/>
                <a:gd name="T55" fmla="*/ 180 h 239"/>
                <a:gd name="T56" fmla="*/ 128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4 h 239"/>
                <a:gd name="T82" fmla="*/ 68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7 w 181"/>
                <a:gd name="T91" fmla="*/ 43 h 239"/>
                <a:gd name="T92" fmla="*/ 121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0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0"/>
                  </a:lnTo>
                  <a:lnTo>
                    <a:pt x="72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60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5"/>
                  </a:lnTo>
                  <a:lnTo>
                    <a:pt x="121" y="47"/>
                  </a:lnTo>
                  <a:lnTo>
                    <a:pt x="128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7" name="Freeform 96"/>
            <p:cNvSpPr>
              <a:spLocks/>
            </p:cNvSpPr>
            <p:nvPr userDrawn="1"/>
          </p:nvSpPr>
          <p:spPr bwMode="auto">
            <a:xfrm>
              <a:off x="1108075" y="6153151"/>
              <a:ext cx="73025" cy="92075"/>
            </a:xfrm>
            <a:custGeom>
              <a:avLst/>
              <a:gdLst>
                <a:gd name="T0" fmla="*/ 185 w 185"/>
                <a:gd name="T1" fmla="*/ 39 h 229"/>
                <a:gd name="T2" fmla="*/ 185 w 185"/>
                <a:gd name="T3" fmla="*/ 0 h 229"/>
                <a:gd name="T4" fmla="*/ 0 w 185"/>
                <a:gd name="T5" fmla="*/ 0 h 229"/>
                <a:gd name="T6" fmla="*/ 0 w 185"/>
                <a:gd name="T7" fmla="*/ 39 h 229"/>
                <a:gd name="T8" fmla="*/ 70 w 185"/>
                <a:gd name="T9" fmla="*/ 39 h 229"/>
                <a:gd name="T10" fmla="*/ 70 w 185"/>
                <a:gd name="T11" fmla="*/ 229 h 229"/>
                <a:gd name="T12" fmla="*/ 116 w 185"/>
                <a:gd name="T13" fmla="*/ 229 h 229"/>
                <a:gd name="T14" fmla="*/ 116 w 185"/>
                <a:gd name="T15" fmla="*/ 39 h 229"/>
                <a:gd name="T16" fmla="*/ 185 w 185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185" y="39"/>
                  </a:moveTo>
                  <a:lnTo>
                    <a:pt x="185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229"/>
                  </a:lnTo>
                  <a:lnTo>
                    <a:pt x="116" y="229"/>
                  </a:lnTo>
                  <a:lnTo>
                    <a:pt x="116" y="39"/>
                  </a:lnTo>
                  <a:lnTo>
                    <a:pt x="185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8" name="Freeform 97"/>
            <p:cNvSpPr>
              <a:spLocks noEditPoints="1"/>
            </p:cNvSpPr>
            <p:nvPr userDrawn="1"/>
          </p:nvSpPr>
          <p:spPr bwMode="auto">
            <a:xfrm>
              <a:off x="1193800" y="6153151"/>
              <a:ext cx="74613" cy="92075"/>
            </a:xfrm>
            <a:custGeom>
              <a:avLst/>
              <a:gdLst>
                <a:gd name="T0" fmla="*/ 44 w 184"/>
                <a:gd name="T1" fmla="*/ 0 h 229"/>
                <a:gd name="T2" fmla="*/ 0 w 184"/>
                <a:gd name="T3" fmla="*/ 0 h 229"/>
                <a:gd name="T4" fmla="*/ 0 w 184"/>
                <a:gd name="T5" fmla="*/ 229 h 229"/>
                <a:gd name="T6" fmla="*/ 105 w 184"/>
                <a:gd name="T7" fmla="*/ 229 h 229"/>
                <a:gd name="T8" fmla="*/ 105 w 184"/>
                <a:gd name="T9" fmla="*/ 229 h 229"/>
                <a:gd name="T10" fmla="*/ 114 w 184"/>
                <a:gd name="T11" fmla="*/ 229 h 229"/>
                <a:gd name="T12" fmla="*/ 122 w 184"/>
                <a:gd name="T13" fmla="*/ 228 h 229"/>
                <a:gd name="T14" fmla="*/ 129 w 184"/>
                <a:gd name="T15" fmla="*/ 226 h 229"/>
                <a:gd name="T16" fmla="*/ 137 w 184"/>
                <a:gd name="T17" fmla="*/ 224 h 229"/>
                <a:gd name="T18" fmla="*/ 144 w 184"/>
                <a:gd name="T19" fmla="*/ 222 h 229"/>
                <a:gd name="T20" fmla="*/ 150 w 184"/>
                <a:gd name="T21" fmla="*/ 218 h 229"/>
                <a:gd name="T22" fmla="*/ 156 w 184"/>
                <a:gd name="T23" fmla="*/ 214 h 229"/>
                <a:gd name="T24" fmla="*/ 162 w 184"/>
                <a:gd name="T25" fmla="*/ 210 h 229"/>
                <a:gd name="T26" fmla="*/ 167 w 184"/>
                <a:gd name="T27" fmla="*/ 205 h 229"/>
                <a:gd name="T28" fmla="*/ 171 w 184"/>
                <a:gd name="T29" fmla="*/ 200 h 229"/>
                <a:gd name="T30" fmla="*/ 175 w 184"/>
                <a:gd name="T31" fmla="*/ 193 h 229"/>
                <a:gd name="T32" fmla="*/ 178 w 184"/>
                <a:gd name="T33" fmla="*/ 187 h 229"/>
                <a:gd name="T34" fmla="*/ 180 w 184"/>
                <a:gd name="T35" fmla="*/ 180 h 229"/>
                <a:gd name="T36" fmla="*/ 182 w 184"/>
                <a:gd name="T37" fmla="*/ 172 h 229"/>
                <a:gd name="T38" fmla="*/ 183 w 184"/>
                <a:gd name="T39" fmla="*/ 163 h 229"/>
                <a:gd name="T40" fmla="*/ 184 w 184"/>
                <a:gd name="T41" fmla="*/ 154 h 229"/>
                <a:gd name="T42" fmla="*/ 184 w 184"/>
                <a:gd name="T43" fmla="*/ 154 h 229"/>
                <a:gd name="T44" fmla="*/ 183 w 184"/>
                <a:gd name="T45" fmla="*/ 146 h 229"/>
                <a:gd name="T46" fmla="*/ 182 w 184"/>
                <a:gd name="T47" fmla="*/ 137 h 229"/>
                <a:gd name="T48" fmla="*/ 180 w 184"/>
                <a:gd name="T49" fmla="*/ 130 h 229"/>
                <a:gd name="T50" fmla="*/ 178 w 184"/>
                <a:gd name="T51" fmla="*/ 122 h 229"/>
                <a:gd name="T52" fmla="*/ 175 w 184"/>
                <a:gd name="T53" fmla="*/ 116 h 229"/>
                <a:gd name="T54" fmla="*/ 171 w 184"/>
                <a:gd name="T55" fmla="*/ 110 h 229"/>
                <a:gd name="T56" fmla="*/ 167 w 184"/>
                <a:gd name="T57" fmla="*/ 104 h 229"/>
                <a:gd name="T58" fmla="*/ 162 w 184"/>
                <a:gd name="T59" fmla="*/ 99 h 229"/>
                <a:gd name="T60" fmla="*/ 157 w 184"/>
                <a:gd name="T61" fmla="*/ 95 h 229"/>
                <a:gd name="T62" fmla="*/ 151 w 184"/>
                <a:gd name="T63" fmla="*/ 91 h 229"/>
                <a:gd name="T64" fmla="*/ 145 w 184"/>
                <a:gd name="T65" fmla="*/ 88 h 229"/>
                <a:gd name="T66" fmla="*/ 138 w 184"/>
                <a:gd name="T67" fmla="*/ 85 h 229"/>
                <a:gd name="T68" fmla="*/ 131 w 184"/>
                <a:gd name="T69" fmla="*/ 83 h 229"/>
                <a:gd name="T70" fmla="*/ 123 w 184"/>
                <a:gd name="T71" fmla="*/ 82 h 229"/>
                <a:gd name="T72" fmla="*/ 116 w 184"/>
                <a:gd name="T73" fmla="*/ 81 h 229"/>
                <a:gd name="T74" fmla="*/ 108 w 184"/>
                <a:gd name="T75" fmla="*/ 81 h 229"/>
                <a:gd name="T76" fmla="*/ 44 w 184"/>
                <a:gd name="T77" fmla="*/ 81 h 229"/>
                <a:gd name="T78" fmla="*/ 44 w 184"/>
                <a:gd name="T79" fmla="*/ 0 h 229"/>
                <a:gd name="T80" fmla="*/ 44 w 184"/>
                <a:gd name="T81" fmla="*/ 192 h 229"/>
                <a:gd name="T82" fmla="*/ 44 w 184"/>
                <a:gd name="T83" fmla="*/ 118 h 229"/>
                <a:gd name="T84" fmla="*/ 102 w 184"/>
                <a:gd name="T85" fmla="*/ 118 h 229"/>
                <a:gd name="T86" fmla="*/ 102 w 184"/>
                <a:gd name="T87" fmla="*/ 118 h 229"/>
                <a:gd name="T88" fmla="*/ 110 w 184"/>
                <a:gd name="T89" fmla="*/ 118 h 229"/>
                <a:gd name="T90" fmla="*/ 117 w 184"/>
                <a:gd name="T91" fmla="*/ 120 h 229"/>
                <a:gd name="T92" fmla="*/ 123 w 184"/>
                <a:gd name="T93" fmla="*/ 123 h 229"/>
                <a:gd name="T94" fmla="*/ 129 w 184"/>
                <a:gd name="T95" fmla="*/ 127 h 229"/>
                <a:gd name="T96" fmla="*/ 133 w 184"/>
                <a:gd name="T97" fmla="*/ 133 h 229"/>
                <a:gd name="T98" fmla="*/ 136 w 184"/>
                <a:gd name="T99" fmla="*/ 139 h 229"/>
                <a:gd name="T100" fmla="*/ 138 w 184"/>
                <a:gd name="T101" fmla="*/ 146 h 229"/>
                <a:gd name="T102" fmla="*/ 139 w 184"/>
                <a:gd name="T103" fmla="*/ 155 h 229"/>
                <a:gd name="T104" fmla="*/ 139 w 184"/>
                <a:gd name="T105" fmla="*/ 155 h 229"/>
                <a:gd name="T106" fmla="*/ 138 w 184"/>
                <a:gd name="T107" fmla="*/ 163 h 229"/>
                <a:gd name="T108" fmla="*/ 136 w 184"/>
                <a:gd name="T109" fmla="*/ 170 h 229"/>
                <a:gd name="T110" fmla="*/ 133 w 184"/>
                <a:gd name="T111" fmla="*/ 177 h 229"/>
                <a:gd name="T112" fmla="*/ 129 w 184"/>
                <a:gd name="T113" fmla="*/ 182 h 229"/>
                <a:gd name="T114" fmla="*/ 124 w 184"/>
                <a:gd name="T115" fmla="*/ 186 h 229"/>
                <a:gd name="T116" fmla="*/ 118 w 184"/>
                <a:gd name="T117" fmla="*/ 189 h 229"/>
                <a:gd name="T118" fmla="*/ 110 w 184"/>
                <a:gd name="T119" fmla="*/ 191 h 229"/>
                <a:gd name="T120" fmla="*/ 102 w 184"/>
                <a:gd name="T121" fmla="*/ 192 h 229"/>
                <a:gd name="T122" fmla="*/ 44 w 184"/>
                <a:gd name="T123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4" h="229">
                  <a:moveTo>
                    <a:pt x="44" y="0"/>
                  </a:moveTo>
                  <a:lnTo>
                    <a:pt x="0" y="0"/>
                  </a:lnTo>
                  <a:lnTo>
                    <a:pt x="0" y="229"/>
                  </a:lnTo>
                  <a:lnTo>
                    <a:pt x="105" y="229"/>
                  </a:lnTo>
                  <a:lnTo>
                    <a:pt x="105" y="229"/>
                  </a:lnTo>
                  <a:lnTo>
                    <a:pt x="114" y="229"/>
                  </a:lnTo>
                  <a:lnTo>
                    <a:pt x="122" y="228"/>
                  </a:lnTo>
                  <a:lnTo>
                    <a:pt x="129" y="226"/>
                  </a:lnTo>
                  <a:lnTo>
                    <a:pt x="137" y="224"/>
                  </a:lnTo>
                  <a:lnTo>
                    <a:pt x="144" y="222"/>
                  </a:lnTo>
                  <a:lnTo>
                    <a:pt x="150" y="218"/>
                  </a:lnTo>
                  <a:lnTo>
                    <a:pt x="156" y="214"/>
                  </a:lnTo>
                  <a:lnTo>
                    <a:pt x="162" y="210"/>
                  </a:lnTo>
                  <a:lnTo>
                    <a:pt x="167" y="205"/>
                  </a:lnTo>
                  <a:lnTo>
                    <a:pt x="171" y="200"/>
                  </a:lnTo>
                  <a:lnTo>
                    <a:pt x="175" y="193"/>
                  </a:lnTo>
                  <a:lnTo>
                    <a:pt x="178" y="187"/>
                  </a:lnTo>
                  <a:lnTo>
                    <a:pt x="180" y="180"/>
                  </a:lnTo>
                  <a:lnTo>
                    <a:pt x="182" y="172"/>
                  </a:lnTo>
                  <a:lnTo>
                    <a:pt x="183" y="163"/>
                  </a:lnTo>
                  <a:lnTo>
                    <a:pt x="184" y="154"/>
                  </a:lnTo>
                  <a:lnTo>
                    <a:pt x="184" y="154"/>
                  </a:lnTo>
                  <a:lnTo>
                    <a:pt x="183" y="146"/>
                  </a:lnTo>
                  <a:lnTo>
                    <a:pt x="182" y="137"/>
                  </a:lnTo>
                  <a:lnTo>
                    <a:pt x="180" y="130"/>
                  </a:lnTo>
                  <a:lnTo>
                    <a:pt x="178" y="122"/>
                  </a:lnTo>
                  <a:lnTo>
                    <a:pt x="175" y="116"/>
                  </a:lnTo>
                  <a:lnTo>
                    <a:pt x="171" y="110"/>
                  </a:lnTo>
                  <a:lnTo>
                    <a:pt x="167" y="104"/>
                  </a:lnTo>
                  <a:lnTo>
                    <a:pt x="162" y="99"/>
                  </a:lnTo>
                  <a:lnTo>
                    <a:pt x="157" y="95"/>
                  </a:lnTo>
                  <a:lnTo>
                    <a:pt x="151" y="91"/>
                  </a:lnTo>
                  <a:lnTo>
                    <a:pt x="145" y="88"/>
                  </a:lnTo>
                  <a:lnTo>
                    <a:pt x="138" y="85"/>
                  </a:lnTo>
                  <a:lnTo>
                    <a:pt x="131" y="83"/>
                  </a:lnTo>
                  <a:lnTo>
                    <a:pt x="123" y="82"/>
                  </a:lnTo>
                  <a:lnTo>
                    <a:pt x="116" y="81"/>
                  </a:lnTo>
                  <a:lnTo>
                    <a:pt x="108" y="81"/>
                  </a:lnTo>
                  <a:lnTo>
                    <a:pt x="44" y="81"/>
                  </a:lnTo>
                  <a:lnTo>
                    <a:pt x="44" y="0"/>
                  </a:lnTo>
                  <a:close/>
                  <a:moveTo>
                    <a:pt x="44" y="192"/>
                  </a:moveTo>
                  <a:lnTo>
                    <a:pt x="44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10" y="118"/>
                  </a:lnTo>
                  <a:lnTo>
                    <a:pt x="117" y="120"/>
                  </a:lnTo>
                  <a:lnTo>
                    <a:pt x="123" y="123"/>
                  </a:lnTo>
                  <a:lnTo>
                    <a:pt x="129" y="127"/>
                  </a:lnTo>
                  <a:lnTo>
                    <a:pt x="133" y="133"/>
                  </a:lnTo>
                  <a:lnTo>
                    <a:pt x="136" y="139"/>
                  </a:lnTo>
                  <a:lnTo>
                    <a:pt x="138" y="146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8" y="163"/>
                  </a:lnTo>
                  <a:lnTo>
                    <a:pt x="136" y="170"/>
                  </a:lnTo>
                  <a:lnTo>
                    <a:pt x="133" y="177"/>
                  </a:lnTo>
                  <a:lnTo>
                    <a:pt x="129" y="182"/>
                  </a:lnTo>
                  <a:lnTo>
                    <a:pt x="124" y="186"/>
                  </a:lnTo>
                  <a:lnTo>
                    <a:pt x="118" y="189"/>
                  </a:lnTo>
                  <a:lnTo>
                    <a:pt x="110" y="191"/>
                  </a:lnTo>
                  <a:lnTo>
                    <a:pt x="102" y="192"/>
                  </a:lnTo>
                  <a:lnTo>
                    <a:pt x="44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9" name="Freeform 98"/>
            <p:cNvSpPr>
              <a:spLocks noEditPoints="1"/>
            </p:cNvSpPr>
            <p:nvPr userDrawn="1"/>
          </p:nvSpPr>
          <p:spPr bwMode="auto">
            <a:xfrm>
              <a:off x="1330325" y="6153151"/>
              <a:ext cx="73025" cy="92075"/>
            </a:xfrm>
            <a:custGeom>
              <a:avLst/>
              <a:gdLst>
                <a:gd name="T0" fmla="*/ 0 w 185"/>
                <a:gd name="T1" fmla="*/ 229 h 229"/>
                <a:gd name="T2" fmla="*/ 106 w 185"/>
                <a:gd name="T3" fmla="*/ 229 h 229"/>
                <a:gd name="T4" fmla="*/ 132 w 185"/>
                <a:gd name="T5" fmla="*/ 227 h 229"/>
                <a:gd name="T6" fmla="*/ 147 w 185"/>
                <a:gd name="T7" fmla="*/ 222 h 229"/>
                <a:gd name="T8" fmla="*/ 159 w 185"/>
                <a:gd name="T9" fmla="*/ 215 h 229"/>
                <a:gd name="T10" fmla="*/ 169 w 185"/>
                <a:gd name="T11" fmla="*/ 207 h 229"/>
                <a:gd name="T12" fmla="*/ 177 w 185"/>
                <a:gd name="T13" fmla="*/ 196 h 229"/>
                <a:gd name="T14" fmla="*/ 182 w 185"/>
                <a:gd name="T15" fmla="*/ 182 h 229"/>
                <a:gd name="T16" fmla="*/ 184 w 185"/>
                <a:gd name="T17" fmla="*/ 167 h 229"/>
                <a:gd name="T18" fmla="*/ 185 w 185"/>
                <a:gd name="T19" fmla="*/ 159 h 229"/>
                <a:gd name="T20" fmla="*/ 181 w 185"/>
                <a:gd name="T21" fmla="*/ 138 h 229"/>
                <a:gd name="T22" fmla="*/ 173 w 185"/>
                <a:gd name="T23" fmla="*/ 122 h 229"/>
                <a:gd name="T24" fmla="*/ 161 w 185"/>
                <a:gd name="T25" fmla="*/ 112 h 229"/>
                <a:gd name="T26" fmla="*/ 148 w 185"/>
                <a:gd name="T27" fmla="*/ 106 h 229"/>
                <a:gd name="T28" fmla="*/ 154 w 185"/>
                <a:gd name="T29" fmla="*/ 102 h 229"/>
                <a:gd name="T30" fmla="*/ 165 w 185"/>
                <a:gd name="T31" fmla="*/ 94 h 229"/>
                <a:gd name="T32" fmla="*/ 173 w 185"/>
                <a:gd name="T33" fmla="*/ 82 h 229"/>
                <a:gd name="T34" fmla="*/ 177 w 185"/>
                <a:gd name="T35" fmla="*/ 68 h 229"/>
                <a:gd name="T36" fmla="*/ 178 w 185"/>
                <a:gd name="T37" fmla="*/ 60 h 229"/>
                <a:gd name="T38" fmla="*/ 176 w 185"/>
                <a:gd name="T39" fmla="*/ 46 h 229"/>
                <a:gd name="T40" fmla="*/ 173 w 185"/>
                <a:gd name="T41" fmla="*/ 34 h 229"/>
                <a:gd name="T42" fmla="*/ 167 w 185"/>
                <a:gd name="T43" fmla="*/ 24 h 229"/>
                <a:gd name="T44" fmla="*/ 160 w 185"/>
                <a:gd name="T45" fmla="*/ 15 h 229"/>
                <a:gd name="T46" fmla="*/ 150 w 185"/>
                <a:gd name="T47" fmla="*/ 9 h 229"/>
                <a:gd name="T48" fmla="*/ 126 w 185"/>
                <a:gd name="T49" fmla="*/ 1 h 229"/>
                <a:gd name="T50" fmla="*/ 0 w 185"/>
                <a:gd name="T51" fmla="*/ 0 h 229"/>
                <a:gd name="T52" fmla="*/ 45 w 185"/>
                <a:gd name="T53" fmla="*/ 37 h 229"/>
                <a:gd name="T54" fmla="*/ 104 w 185"/>
                <a:gd name="T55" fmla="*/ 37 h 229"/>
                <a:gd name="T56" fmla="*/ 117 w 185"/>
                <a:gd name="T57" fmla="*/ 39 h 229"/>
                <a:gd name="T58" fmla="*/ 126 w 185"/>
                <a:gd name="T59" fmla="*/ 45 h 229"/>
                <a:gd name="T60" fmla="*/ 131 w 185"/>
                <a:gd name="T61" fmla="*/ 53 h 229"/>
                <a:gd name="T62" fmla="*/ 133 w 185"/>
                <a:gd name="T63" fmla="*/ 64 h 229"/>
                <a:gd name="T64" fmla="*/ 132 w 185"/>
                <a:gd name="T65" fmla="*/ 69 h 229"/>
                <a:gd name="T66" fmla="*/ 129 w 185"/>
                <a:gd name="T67" fmla="*/ 78 h 229"/>
                <a:gd name="T68" fmla="*/ 122 w 185"/>
                <a:gd name="T69" fmla="*/ 85 h 229"/>
                <a:gd name="T70" fmla="*/ 111 w 185"/>
                <a:gd name="T71" fmla="*/ 89 h 229"/>
                <a:gd name="T72" fmla="*/ 45 w 185"/>
                <a:gd name="T73" fmla="*/ 90 h 229"/>
                <a:gd name="T74" fmla="*/ 45 w 185"/>
                <a:gd name="T75" fmla="*/ 127 h 229"/>
                <a:gd name="T76" fmla="*/ 105 w 185"/>
                <a:gd name="T77" fmla="*/ 127 h 229"/>
                <a:gd name="T78" fmla="*/ 120 w 185"/>
                <a:gd name="T79" fmla="*/ 129 h 229"/>
                <a:gd name="T80" fmla="*/ 131 w 185"/>
                <a:gd name="T81" fmla="*/ 136 h 229"/>
                <a:gd name="T82" fmla="*/ 137 w 185"/>
                <a:gd name="T83" fmla="*/ 146 h 229"/>
                <a:gd name="T84" fmla="*/ 140 w 185"/>
                <a:gd name="T85" fmla="*/ 160 h 229"/>
                <a:gd name="T86" fmla="*/ 139 w 185"/>
                <a:gd name="T87" fmla="*/ 167 h 229"/>
                <a:gd name="T88" fmla="*/ 135 w 185"/>
                <a:gd name="T89" fmla="*/ 178 h 229"/>
                <a:gd name="T90" fmla="*/ 127 w 185"/>
                <a:gd name="T91" fmla="*/ 187 h 229"/>
                <a:gd name="T92" fmla="*/ 113 w 185"/>
                <a:gd name="T93" fmla="*/ 191 h 229"/>
                <a:gd name="T94" fmla="*/ 45 w 185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24" y="228"/>
                  </a:lnTo>
                  <a:lnTo>
                    <a:pt x="132" y="227"/>
                  </a:lnTo>
                  <a:lnTo>
                    <a:pt x="140" y="225"/>
                  </a:lnTo>
                  <a:lnTo>
                    <a:pt x="147" y="222"/>
                  </a:lnTo>
                  <a:lnTo>
                    <a:pt x="153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7" y="196"/>
                  </a:lnTo>
                  <a:lnTo>
                    <a:pt x="179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8" y="129"/>
                  </a:lnTo>
                  <a:lnTo>
                    <a:pt x="173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4" y="108"/>
                  </a:lnTo>
                  <a:lnTo>
                    <a:pt x="148" y="106"/>
                  </a:lnTo>
                  <a:lnTo>
                    <a:pt x="148" y="106"/>
                  </a:lnTo>
                  <a:lnTo>
                    <a:pt x="154" y="102"/>
                  </a:lnTo>
                  <a:lnTo>
                    <a:pt x="159" y="98"/>
                  </a:lnTo>
                  <a:lnTo>
                    <a:pt x="165" y="94"/>
                  </a:lnTo>
                  <a:lnTo>
                    <a:pt x="169" y="88"/>
                  </a:lnTo>
                  <a:lnTo>
                    <a:pt x="173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7" y="53"/>
                  </a:lnTo>
                  <a:lnTo>
                    <a:pt x="176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0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60" y="15"/>
                  </a:lnTo>
                  <a:lnTo>
                    <a:pt x="155" y="12"/>
                  </a:lnTo>
                  <a:lnTo>
                    <a:pt x="150" y="9"/>
                  </a:lnTo>
                  <a:lnTo>
                    <a:pt x="139" y="4"/>
                  </a:lnTo>
                  <a:lnTo>
                    <a:pt x="126" y="1"/>
                  </a:lnTo>
                  <a:lnTo>
                    <a:pt x="112" y="0"/>
                  </a:lnTo>
                  <a:lnTo>
                    <a:pt x="0" y="0"/>
                  </a:lnTo>
                  <a:close/>
                  <a:moveTo>
                    <a:pt x="45" y="90"/>
                  </a:moveTo>
                  <a:lnTo>
                    <a:pt x="45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2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6" y="45"/>
                  </a:lnTo>
                  <a:lnTo>
                    <a:pt x="129" y="49"/>
                  </a:lnTo>
                  <a:lnTo>
                    <a:pt x="131" y="53"/>
                  </a:lnTo>
                  <a:lnTo>
                    <a:pt x="132" y="58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9"/>
                  </a:lnTo>
                  <a:lnTo>
                    <a:pt x="131" y="74"/>
                  </a:lnTo>
                  <a:lnTo>
                    <a:pt x="129" y="78"/>
                  </a:lnTo>
                  <a:lnTo>
                    <a:pt x="126" y="82"/>
                  </a:lnTo>
                  <a:lnTo>
                    <a:pt x="122" y="85"/>
                  </a:lnTo>
                  <a:lnTo>
                    <a:pt x="117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5" y="90"/>
                  </a:lnTo>
                  <a:close/>
                  <a:moveTo>
                    <a:pt x="45" y="192"/>
                  </a:moveTo>
                  <a:lnTo>
                    <a:pt x="45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13" y="128"/>
                  </a:lnTo>
                  <a:lnTo>
                    <a:pt x="120" y="129"/>
                  </a:lnTo>
                  <a:lnTo>
                    <a:pt x="126" y="132"/>
                  </a:lnTo>
                  <a:lnTo>
                    <a:pt x="131" y="136"/>
                  </a:lnTo>
                  <a:lnTo>
                    <a:pt x="135" y="141"/>
                  </a:lnTo>
                  <a:lnTo>
                    <a:pt x="137" y="146"/>
                  </a:lnTo>
                  <a:lnTo>
                    <a:pt x="139" y="153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9" y="167"/>
                  </a:lnTo>
                  <a:lnTo>
                    <a:pt x="138" y="173"/>
                  </a:lnTo>
                  <a:lnTo>
                    <a:pt x="135" y="178"/>
                  </a:lnTo>
                  <a:lnTo>
                    <a:pt x="132" y="183"/>
                  </a:lnTo>
                  <a:lnTo>
                    <a:pt x="127" y="187"/>
                  </a:lnTo>
                  <a:lnTo>
                    <a:pt x="121" y="190"/>
                  </a:lnTo>
                  <a:lnTo>
                    <a:pt x="113" y="191"/>
                  </a:lnTo>
                  <a:lnTo>
                    <a:pt x="104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0" name="Freeform 99"/>
            <p:cNvSpPr>
              <a:spLocks noEditPoints="1"/>
            </p:cNvSpPr>
            <p:nvPr userDrawn="1"/>
          </p:nvSpPr>
          <p:spPr bwMode="auto">
            <a:xfrm>
              <a:off x="1416050" y="6151563"/>
              <a:ext cx="80963" cy="95250"/>
            </a:xfrm>
            <a:custGeom>
              <a:avLst/>
              <a:gdLst>
                <a:gd name="T0" fmla="*/ 203 w 204"/>
                <a:gd name="T1" fmla="*/ 105 h 239"/>
                <a:gd name="T2" fmla="*/ 196 w 204"/>
                <a:gd name="T3" fmla="*/ 70 h 239"/>
                <a:gd name="T4" fmla="*/ 181 w 204"/>
                <a:gd name="T5" fmla="*/ 41 h 239"/>
                <a:gd name="T6" fmla="*/ 160 w 204"/>
                <a:gd name="T7" fmla="*/ 19 h 239"/>
                <a:gd name="T8" fmla="*/ 133 w 204"/>
                <a:gd name="T9" fmla="*/ 5 h 239"/>
                <a:gd name="T10" fmla="*/ 102 w 204"/>
                <a:gd name="T11" fmla="*/ 0 h 239"/>
                <a:gd name="T12" fmla="*/ 81 w 204"/>
                <a:gd name="T13" fmla="*/ 2 h 239"/>
                <a:gd name="T14" fmla="*/ 53 w 204"/>
                <a:gd name="T15" fmla="*/ 13 h 239"/>
                <a:gd name="T16" fmla="*/ 29 w 204"/>
                <a:gd name="T17" fmla="*/ 32 h 239"/>
                <a:gd name="T18" fmla="*/ 12 w 204"/>
                <a:gd name="T19" fmla="*/ 59 h 239"/>
                <a:gd name="T20" fmla="*/ 2 w 204"/>
                <a:gd name="T21" fmla="*/ 93 h 239"/>
                <a:gd name="T22" fmla="*/ 0 w 204"/>
                <a:gd name="T23" fmla="*/ 120 h 239"/>
                <a:gd name="T24" fmla="*/ 4 w 204"/>
                <a:gd name="T25" fmla="*/ 157 h 239"/>
                <a:gd name="T26" fmla="*/ 16 w 204"/>
                <a:gd name="T27" fmla="*/ 189 h 239"/>
                <a:gd name="T28" fmla="*/ 36 w 204"/>
                <a:gd name="T29" fmla="*/ 214 h 239"/>
                <a:gd name="T30" fmla="*/ 60 w 204"/>
                <a:gd name="T31" fmla="*/ 230 h 239"/>
                <a:gd name="T32" fmla="*/ 90 w 204"/>
                <a:gd name="T33" fmla="*/ 238 h 239"/>
                <a:gd name="T34" fmla="*/ 111 w 204"/>
                <a:gd name="T35" fmla="*/ 238 h 239"/>
                <a:gd name="T36" fmla="*/ 141 w 204"/>
                <a:gd name="T37" fmla="*/ 231 h 239"/>
                <a:gd name="T38" fmla="*/ 167 w 204"/>
                <a:gd name="T39" fmla="*/ 214 h 239"/>
                <a:gd name="T40" fmla="*/ 187 w 204"/>
                <a:gd name="T41" fmla="*/ 190 h 239"/>
                <a:gd name="T42" fmla="*/ 199 w 204"/>
                <a:gd name="T43" fmla="*/ 158 h 239"/>
                <a:gd name="T44" fmla="*/ 204 w 204"/>
                <a:gd name="T45" fmla="*/ 119 h 239"/>
                <a:gd name="T46" fmla="*/ 158 w 204"/>
                <a:gd name="T47" fmla="*/ 120 h 239"/>
                <a:gd name="T48" fmla="*/ 150 w 204"/>
                <a:gd name="T49" fmla="*/ 162 h 239"/>
                <a:gd name="T50" fmla="*/ 135 w 204"/>
                <a:gd name="T51" fmla="*/ 183 h 239"/>
                <a:gd name="T52" fmla="*/ 120 w 204"/>
                <a:gd name="T53" fmla="*/ 193 h 239"/>
                <a:gd name="T54" fmla="*/ 102 w 204"/>
                <a:gd name="T55" fmla="*/ 196 h 239"/>
                <a:gd name="T56" fmla="*/ 90 w 204"/>
                <a:gd name="T57" fmla="*/ 195 h 239"/>
                <a:gd name="T58" fmla="*/ 74 w 204"/>
                <a:gd name="T59" fmla="*/ 188 h 239"/>
                <a:gd name="T60" fmla="*/ 61 w 204"/>
                <a:gd name="T61" fmla="*/ 176 h 239"/>
                <a:gd name="T62" fmla="*/ 52 w 204"/>
                <a:gd name="T63" fmla="*/ 159 h 239"/>
                <a:gd name="T64" fmla="*/ 45 w 204"/>
                <a:gd name="T65" fmla="*/ 119 h 239"/>
                <a:gd name="T66" fmla="*/ 49 w 204"/>
                <a:gd name="T67" fmla="*/ 88 h 239"/>
                <a:gd name="T68" fmla="*/ 60 w 204"/>
                <a:gd name="T69" fmla="*/ 64 h 239"/>
                <a:gd name="T70" fmla="*/ 72 w 204"/>
                <a:gd name="T71" fmla="*/ 51 h 239"/>
                <a:gd name="T72" fmla="*/ 88 w 204"/>
                <a:gd name="T73" fmla="*/ 44 h 239"/>
                <a:gd name="T74" fmla="*/ 100 w 204"/>
                <a:gd name="T75" fmla="*/ 43 h 239"/>
                <a:gd name="T76" fmla="*/ 119 w 204"/>
                <a:gd name="T77" fmla="*/ 46 h 239"/>
                <a:gd name="T78" fmla="*/ 134 w 204"/>
                <a:gd name="T79" fmla="*/ 55 h 239"/>
                <a:gd name="T80" fmla="*/ 146 w 204"/>
                <a:gd name="T81" fmla="*/ 69 h 239"/>
                <a:gd name="T82" fmla="*/ 154 w 204"/>
                <a:gd name="T83" fmla="*/ 88 h 239"/>
                <a:gd name="T84" fmla="*/ 158 w 204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4" h="239">
                  <a:moveTo>
                    <a:pt x="204" y="119"/>
                  </a:moveTo>
                  <a:lnTo>
                    <a:pt x="204" y="119"/>
                  </a:lnTo>
                  <a:lnTo>
                    <a:pt x="203" y="105"/>
                  </a:lnTo>
                  <a:lnTo>
                    <a:pt x="202" y="93"/>
                  </a:lnTo>
                  <a:lnTo>
                    <a:pt x="199" y="81"/>
                  </a:lnTo>
                  <a:lnTo>
                    <a:pt x="196" y="70"/>
                  </a:lnTo>
                  <a:lnTo>
                    <a:pt x="192" y="59"/>
                  </a:lnTo>
                  <a:lnTo>
                    <a:pt x="187" y="50"/>
                  </a:lnTo>
                  <a:lnTo>
                    <a:pt x="181" y="41"/>
                  </a:lnTo>
                  <a:lnTo>
                    <a:pt x="175" y="33"/>
                  </a:lnTo>
                  <a:lnTo>
                    <a:pt x="168" y="25"/>
                  </a:lnTo>
                  <a:lnTo>
                    <a:pt x="160" y="19"/>
                  </a:lnTo>
                  <a:lnTo>
                    <a:pt x="151" y="13"/>
                  </a:lnTo>
                  <a:lnTo>
                    <a:pt x="142" y="9"/>
                  </a:lnTo>
                  <a:lnTo>
                    <a:pt x="133" y="5"/>
                  </a:lnTo>
                  <a:lnTo>
                    <a:pt x="123" y="3"/>
                  </a:lnTo>
                  <a:lnTo>
                    <a:pt x="113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1" y="1"/>
                  </a:lnTo>
                  <a:lnTo>
                    <a:pt x="81" y="2"/>
                  </a:lnTo>
                  <a:lnTo>
                    <a:pt x="71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5"/>
                  </a:lnTo>
                  <a:lnTo>
                    <a:pt x="4" y="157"/>
                  </a:lnTo>
                  <a:lnTo>
                    <a:pt x="7" y="169"/>
                  </a:lnTo>
                  <a:lnTo>
                    <a:pt x="12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2" y="226"/>
                  </a:lnTo>
                  <a:lnTo>
                    <a:pt x="60" y="230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1" y="238"/>
                  </a:lnTo>
                  <a:lnTo>
                    <a:pt x="122" y="237"/>
                  </a:lnTo>
                  <a:lnTo>
                    <a:pt x="132" y="234"/>
                  </a:lnTo>
                  <a:lnTo>
                    <a:pt x="141" y="231"/>
                  </a:lnTo>
                  <a:lnTo>
                    <a:pt x="151" y="226"/>
                  </a:lnTo>
                  <a:lnTo>
                    <a:pt x="159" y="221"/>
                  </a:lnTo>
                  <a:lnTo>
                    <a:pt x="167" y="214"/>
                  </a:lnTo>
                  <a:lnTo>
                    <a:pt x="174" y="207"/>
                  </a:lnTo>
                  <a:lnTo>
                    <a:pt x="181" y="199"/>
                  </a:lnTo>
                  <a:lnTo>
                    <a:pt x="187" y="190"/>
                  </a:lnTo>
                  <a:lnTo>
                    <a:pt x="192" y="180"/>
                  </a:lnTo>
                  <a:lnTo>
                    <a:pt x="196" y="169"/>
                  </a:lnTo>
                  <a:lnTo>
                    <a:pt x="199" y="158"/>
                  </a:lnTo>
                  <a:lnTo>
                    <a:pt x="202" y="145"/>
                  </a:lnTo>
                  <a:lnTo>
                    <a:pt x="203" y="132"/>
                  </a:lnTo>
                  <a:lnTo>
                    <a:pt x="204" y="119"/>
                  </a:lnTo>
                  <a:lnTo>
                    <a:pt x="204" y="119"/>
                  </a:lnTo>
                  <a:close/>
                  <a:moveTo>
                    <a:pt x="158" y="120"/>
                  </a:moveTo>
                  <a:lnTo>
                    <a:pt x="158" y="120"/>
                  </a:lnTo>
                  <a:lnTo>
                    <a:pt x="157" y="135"/>
                  </a:lnTo>
                  <a:lnTo>
                    <a:pt x="154" y="149"/>
                  </a:lnTo>
                  <a:lnTo>
                    <a:pt x="150" y="162"/>
                  </a:lnTo>
                  <a:lnTo>
                    <a:pt x="143" y="174"/>
                  </a:lnTo>
                  <a:lnTo>
                    <a:pt x="139" y="179"/>
                  </a:lnTo>
                  <a:lnTo>
                    <a:pt x="135" y="183"/>
                  </a:lnTo>
                  <a:lnTo>
                    <a:pt x="130" y="187"/>
                  </a:lnTo>
                  <a:lnTo>
                    <a:pt x="125" y="190"/>
                  </a:lnTo>
                  <a:lnTo>
                    <a:pt x="120" y="193"/>
                  </a:lnTo>
                  <a:lnTo>
                    <a:pt x="114" y="195"/>
                  </a:lnTo>
                  <a:lnTo>
                    <a:pt x="108" y="196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96" y="196"/>
                  </a:lnTo>
                  <a:lnTo>
                    <a:pt x="90" y="195"/>
                  </a:lnTo>
                  <a:lnTo>
                    <a:pt x="84" y="193"/>
                  </a:lnTo>
                  <a:lnTo>
                    <a:pt x="79" y="191"/>
                  </a:lnTo>
                  <a:lnTo>
                    <a:pt x="74" y="188"/>
                  </a:lnTo>
                  <a:lnTo>
                    <a:pt x="69" y="185"/>
                  </a:lnTo>
                  <a:lnTo>
                    <a:pt x="65" y="181"/>
                  </a:lnTo>
                  <a:lnTo>
                    <a:pt x="61" y="176"/>
                  </a:lnTo>
                  <a:lnTo>
                    <a:pt x="57" y="171"/>
                  </a:lnTo>
                  <a:lnTo>
                    <a:pt x="54" y="165"/>
                  </a:lnTo>
                  <a:lnTo>
                    <a:pt x="52" y="159"/>
                  </a:lnTo>
                  <a:lnTo>
                    <a:pt x="49" y="152"/>
                  </a:lnTo>
                  <a:lnTo>
                    <a:pt x="46" y="136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8"/>
                  </a:lnTo>
                  <a:lnTo>
                    <a:pt x="54" y="75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8" y="44"/>
                  </a:lnTo>
                  <a:lnTo>
                    <a:pt x="94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7" y="43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4" y="49"/>
                  </a:lnTo>
                  <a:lnTo>
                    <a:pt x="130" y="51"/>
                  </a:lnTo>
                  <a:lnTo>
                    <a:pt x="134" y="55"/>
                  </a:lnTo>
                  <a:lnTo>
                    <a:pt x="139" y="59"/>
                  </a:lnTo>
                  <a:lnTo>
                    <a:pt x="143" y="64"/>
                  </a:lnTo>
                  <a:lnTo>
                    <a:pt x="146" y="69"/>
                  </a:lnTo>
                  <a:lnTo>
                    <a:pt x="150" y="75"/>
                  </a:lnTo>
                  <a:lnTo>
                    <a:pt x="152" y="81"/>
                  </a:lnTo>
                  <a:lnTo>
                    <a:pt x="154" y="88"/>
                  </a:lnTo>
                  <a:lnTo>
                    <a:pt x="157" y="103"/>
                  </a:lnTo>
                  <a:lnTo>
                    <a:pt x="158" y="120"/>
                  </a:lnTo>
                  <a:lnTo>
                    <a:pt x="158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1" name="Freeform 100"/>
            <p:cNvSpPr>
              <a:spLocks/>
            </p:cNvSpPr>
            <p:nvPr userDrawn="1"/>
          </p:nvSpPr>
          <p:spPr bwMode="auto">
            <a:xfrm>
              <a:off x="1516063" y="6153151"/>
              <a:ext cx="73025" cy="92075"/>
            </a:xfrm>
            <a:custGeom>
              <a:avLst/>
              <a:gdLst>
                <a:gd name="T0" fmla="*/ 0 w 185"/>
                <a:gd name="T1" fmla="*/ 0 h 229"/>
                <a:gd name="T2" fmla="*/ 0 w 185"/>
                <a:gd name="T3" fmla="*/ 229 h 229"/>
                <a:gd name="T4" fmla="*/ 45 w 185"/>
                <a:gd name="T5" fmla="*/ 229 h 229"/>
                <a:gd name="T6" fmla="*/ 45 w 185"/>
                <a:gd name="T7" fmla="*/ 39 h 229"/>
                <a:gd name="T8" fmla="*/ 140 w 185"/>
                <a:gd name="T9" fmla="*/ 39 h 229"/>
                <a:gd name="T10" fmla="*/ 140 w 185"/>
                <a:gd name="T11" fmla="*/ 229 h 229"/>
                <a:gd name="T12" fmla="*/ 185 w 185"/>
                <a:gd name="T13" fmla="*/ 229 h 229"/>
                <a:gd name="T14" fmla="*/ 185 w 185"/>
                <a:gd name="T15" fmla="*/ 0 h 229"/>
                <a:gd name="T16" fmla="*/ 0 w 185"/>
                <a:gd name="T17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45" y="229"/>
                  </a:lnTo>
                  <a:lnTo>
                    <a:pt x="45" y="39"/>
                  </a:lnTo>
                  <a:lnTo>
                    <a:pt x="140" y="39"/>
                  </a:lnTo>
                  <a:lnTo>
                    <a:pt x="140" y="229"/>
                  </a:lnTo>
                  <a:lnTo>
                    <a:pt x="185" y="229"/>
                  </a:lnTo>
                  <a:lnTo>
                    <a:pt x="1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2" name="Freeform 101"/>
            <p:cNvSpPr>
              <a:spLocks noEditPoints="1"/>
            </p:cNvSpPr>
            <p:nvPr userDrawn="1"/>
          </p:nvSpPr>
          <p:spPr bwMode="auto">
            <a:xfrm>
              <a:off x="1611313" y="6151563"/>
              <a:ext cx="76200" cy="127000"/>
            </a:xfrm>
            <a:custGeom>
              <a:avLst/>
              <a:gdLst>
                <a:gd name="T0" fmla="*/ 192 w 192"/>
                <a:gd name="T1" fmla="*/ 123 h 319"/>
                <a:gd name="T2" fmla="*/ 191 w 192"/>
                <a:gd name="T3" fmla="*/ 93 h 319"/>
                <a:gd name="T4" fmla="*/ 186 w 192"/>
                <a:gd name="T5" fmla="*/ 67 h 319"/>
                <a:gd name="T6" fmla="*/ 178 w 192"/>
                <a:gd name="T7" fmla="*/ 46 h 319"/>
                <a:gd name="T8" fmla="*/ 167 w 192"/>
                <a:gd name="T9" fmla="*/ 29 h 319"/>
                <a:gd name="T10" fmla="*/ 154 w 192"/>
                <a:gd name="T11" fmla="*/ 16 h 319"/>
                <a:gd name="T12" fmla="*/ 139 w 192"/>
                <a:gd name="T13" fmla="*/ 7 h 319"/>
                <a:gd name="T14" fmla="*/ 122 w 192"/>
                <a:gd name="T15" fmla="*/ 2 h 319"/>
                <a:gd name="T16" fmla="*/ 104 w 192"/>
                <a:gd name="T17" fmla="*/ 0 h 319"/>
                <a:gd name="T18" fmla="*/ 96 w 192"/>
                <a:gd name="T19" fmla="*/ 1 h 319"/>
                <a:gd name="T20" fmla="*/ 79 w 192"/>
                <a:gd name="T21" fmla="*/ 5 h 319"/>
                <a:gd name="T22" fmla="*/ 64 w 192"/>
                <a:gd name="T23" fmla="*/ 12 h 319"/>
                <a:gd name="T24" fmla="*/ 45 w 192"/>
                <a:gd name="T25" fmla="*/ 27 h 319"/>
                <a:gd name="T26" fmla="*/ 0 w 192"/>
                <a:gd name="T27" fmla="*/ 5 h 319"/>
                <a:gd name="T28" fmla="*/ 45 w 192"/>
                <a:gd name="T29" fmla="*/ 295 h 319"/>
                <a:gd name="T30" fmla="*/ 45 w 192"/>
                <a:gd name="T31" fmla="*/ 213 h 319"/>
                <a:gd name="T32" fmla="*/ 58 w 192"/>
                <a:gd name="T33" fmla="*/ 224 h 319"/>
                <a:gd name="T34" fmla="*/ 72 w 192"/>
                <a:gd name="T35" fmla="*/ 232 h 319"/>
                <a:gd name="T36" fmla="*/ 87 w 192"/>
                <a:gd name="T37" fmla="*/ 237 h 319"/>
                <a:gd name="T38" fmla="*/ 102 w 192"/>
                <a:gd name="T39" fmla="*/ 239 h 319"/>
                <a:gd name="T40" fmla="*/ 111 w 192"/>
                <a:gd name="T41" fmla="*/ 238 h 319"/>
                <a:gd name="T42" fmla="*/ 128 w 192"/>
                <a:gd name="T43" fmla="*/ 235 h 319"/>
                <a:gd name="T44" fmla="*/ 144 w 192"/>
                <a:gd name="T45" fmla="*/ 228 h 319"/>
                <a:gd name="T46" fmla="*/ 159 w 192"/>
                <a:gd name="T47" fmla="*/ 217 h 319"/>
                <a:gd name="T48" fmla="*/ 171 w 192"/>
                <a:gd name="T49" fmla="*/ 203 h 319"/>
                <a:gd name="T50" fmla="*/ 181 w 192"/>
                <a:gd name="T51" fmla="*/ 185 h 319"/>
                <a:gd name="T52" fmla="*/ 188 w 192"/>
                <a:gd name="T53" fmla="*/ 163 h 319"/>
                <a:gd name="T54" fmla="*/ 192 w 192"/>
                <a:gd name="T55" fmla="*/ 138 h 319"/>
                <a:gd name="T56" fmla="*/ 192 w 192"/>
                <a:gd name="T57" fmla="*/ 123 h 319"/>
                <a:gd name="T58" fmla="*/ 147 w 192"/>
                <a:gd name="T59" fmla="*/ 125 h 319"/>
                <a:gd name="T60" fmla="*/ 144 w 192"/>
                <a:gd name="T61" fmla="*/ 156 h 319"/>
                <a:gd name="T62" fmla="*/ 138 w 192"/>
                <a:gd name="T63" fmla="*/ 174 h 319"/>
                <a:gd name="T64" fmla="*/ 132 w 192"/>
                <a:gd name="T65" fmla="*/ 183 h 319"/>
                <a:gd name="T66" fmla="*/ 124 w 192"/>
                <a:gd name="T67" fmla="*/ 190 h 319"/>
                <a:gd name="T68" fmla="*/ 115 w 192"/>
                <a:gd name="T69" fmla="*/ 195 h 319"/>
                <a:gd name="T70" fmla="*/ 104 w 192"/>
                <a:gd name="T71" fmla="*/ 197 h 319"/>
                <a:gd name="T72" fmla="*/ 98 w 192"/>
                <a:gd name="T73" fmla="*/ 197 h 319"/>
                <a:gd name="T74" fmla="*/ 81 w 192"/>
                <a:gd name="T75" fmla="*/ 195 h 319"/>
                <a:gd name="T76" fmla="*/ 66 w 192"/>
                <a:gd name="T77" fmla="*/ 187 h 319"/>
                <a:gd name="T78" fmla="*/ 54 w 192"/>
                <a:gd name="T79" fmla="*/ 178 h 319"/>
                <a:gd name="T80" fmla="*/ 44 w 192"/>
                <a:gd name="T81" fmla="*/ 167 h 319"/>
                <a:gd name="T82" fmla="*/ 44 w 192"/>
                <a:gd name="T83" fmla="*/ 71 h 319"/>
                <a:gd name="T84" fmla="*/ 56 w 192"/>
                <a:gd name="T85" fmla="*/ 59 h 319"/>
                <a:gd name="T86" fmla="*/ 68 w 192"/>
                <a:gd name="T87" fmla="*/ 50 h 319"/>
                <a:gd name="T88" fmla="*/ 82 w 192"/>
                <a:gd name="T89" fmla="*/ 44 h 319"/>
                <a:gd name="T90" fmla="*/ 96 w 192"/>
                <a:gd name="T91" fmla="*/ 42 h 319"/>
                <a:gd name="T92" fmla="*/ 102 w 192"/>
                <a:gd name="T93" fmla="*/ 42 h 319"/>
                <a:gd name="T94" fmla="*/ 113 w 192"/>
                <a:gd name="T95" fmla="*/ 45 h 319"/>
                <a:gd name="T96" fmla="*/ 123 w 192"/>
                <a:gd name="T97" fmla="*/ 49 h 319"/>
                <a:gd name="T98" fmla="*/ 131 w 192"/>
                <a:gd name="T99" fmla="*/ 57 h 319"/>
                <a:gd name="T100" fmla="*/ 137 w 192"/>
                <a:gd name="T101" fmla="*/ 67 h 319"/>
                <a:gd name="T102" fmla="*/ 144 w 192"/>
                <a:gd name="T103" fmla="*/ 88 h 319"/>
                <a:gd name="T104" fmla="*/ 147 w 192"/>
                <a:gd name="T105" fmla="*/ 125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2" h="319">
                  <a:moveTo>
                    <a:pt x="192" y="123"/>
                  </a:moveTo>
                  <a:lnTo>
                    <a:pt x="192" y="123"/>
                  </a:lnTo>
                  <a:lnTo>
                    <a:pt x="192" y="107"/>
                  </a:lnTo>
                  <a:lnTo>
                    <a:pt x="191" y="93"/>
                  </a:lnTo>
                  <a:lnTo>
                    <a:pt x="188" y="79"/>
                  </a:lnTo>
                  <a:lnTo>
                    <a:pt x="186" y="67"/>
                  </a:lnTo>
                  <a:lnTo>
                    <a:pt x="182" y="56"/>
                  </a:lnTo>
                  <a:lnTo>
                    <a:pt x="178" y="46"/>
                  </a:lnTo>
                  <a:lnTo>
                    <a:pt x="172" y="37"/>
                  </a:lnTo>
                  <a:lnTo>
                    <a:pt x="167" y="29"/>
                  </a:lnTo>
                  <a:lnTo>
                    <a:pt x="161" y="22"/>
                  </a:lnTo>
                  <a:lnTo>
                    <a:pt x="154" y="16"/>
                  </a:lnTo>
                  <a:lnTo>
                    <a:pt x="147" y="11"/>
                  </a:lnTo>
                  <a:lnTo>
                    <a:pt x="139" y="7"/>
                  </a:lnTo>
                  <a:lnTo>
                    <a:pt x="131" y="4"/>
                  </a:lnTo>
                  <a:lnTo>
                    <a:pt x="122" y="2"/>
                  </a:lnTo>
                  <a:lnTo>
                    <a:pt x="113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6" y="1"/>
                  </a:lnTo>
                  <a:lnTo>
                    <a:pt x="87" y="2"/>
                  </a:lnTo>
                  <a:lnTo>
                    <a:pt x="79" y="5"/>
                  </a:lnTo>
                  <a:lnTo>
                    <a:pt x="72" y="8"/>
                  </a:lnTo>
                  <a:lnTo>
                    <a:pt x="64" y="12"/>
                  </a:lnTo>
                  <a:lnTo>
                    <a:pt x="58" y="16"/>
                  </a:lnTo>
                  <a:lnTo>
                    <a:pt x="45" y="27"/>
                  </a:lnTo>
                  <a:lnTo>
                    <a:pt x="45" y="5"/>
                  </a:lnTo>
                  <a:lnTo>
                    <a:pt x="0" y="5"/>
                  </a:lnTo>
                  <a:lnTo>
                    <a:pt x="0" y="319"/>
                  </a:lnTo>
                  <a:lnTo>
                    <a:pt x="45" y="295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51" y="219"/>
                  </a:lnTo>
                  <a:lnTo>
                    <a:pt x="58" y="224"/>
                  </a:lnTo>
                  <a:lnTo>
                    <a:pt x="65" y="229"/>
                  </a:lnTo>
                  <a:lnTo>
                    <a:pt x="72" y="232"/>
                  </a:lnTo>
                  <a:lnTo>
                    <a:pt x="79" y="235"/>
                  </a:lnTo>
                  <a:lnTo>
                    <a:pt x="87" y="237"/>
                  </a:lnTo>
                  <a:lnTo>
                    <a:pt x="95" y="238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11" y="238"/>
                  </a:lnTo>
                  <a:lnTo>
                    <a:pt x="120" y="237"/>
                  </a:lnTo>
                  <a:lnTo>
                    <a:pt x="128" y="235"/>
                  </a:lnTo>
                  <a:lnTo>
                    <a:pt x="136" y="232"/>
                  </a:lnTo>
                  <a:lnTo>
                    <a:pt x="144" y="228"/>
                  </a:lnTo>
                  <a:lnTo>
                    <a:pt x="152" y="223"/>
                  </a:lnTo>
                  <a:lnTo>
                    <a:pt x="159" y="217"/>
                  </a:lnTo>
                  <a:lnTo>
                    <a:pt x="165" y="211"/>
                  </a:lnTo>
                  <a:lnTo>
                    <a:pt x="171" y="203"/>
                  </a:lnTo>
                  <a:lnTo>
                    <a:pt x="176" y="194"/>
                  </a:lnTo>
                  <a:lnTo>
                    <a:pt x="181" y="185"/>
                  </a:lnTo>
                  <a:lnTo>
                    <a:pt x="185" y="174"/>
                  </a:lnTo>
                  <a:lnTo>
                    <a:pt x="188" y="163"/>
                  </a:lnTo>
                  <a:lnTo>
                    <a:pt x="190" y="151"/>
                  </a:lnTo>
                  <a:lnTo>
                    <a:pt x="192" y="138"/>
                  </a:lnTo>
                  <a:lnTo>
                    <a:pt x="192" y="123"/>
                  </a:lnTo>
                  <a:lnTo>
                    <a:pt x="192" y="123"/>
                  </a:lnTo>
                  <a:close/>
                  <a:moveTo>
                    <a:pt x="147" y="125"/>
                  </a:moveTo>
                  <a:lnTo>
                    <a:pt x="147" y="125"/>
                  </a:lnTo>
                  <a:lnTo>
                    <a:pt x="147" y="142"/>
                  </a:lnTo>
                  <a:lnTo>
                    <a:pt x="144" y="156"/>
                  </a:lnTo>
                  <a:lnTo>
                    <a:pt x="140" y="169"/>
                  </a:lnTo>
                  <a:lnTo>
                    <a:pt x="138" y="174"/>
                  </a:lnTo>
                  <a:lnTo>
                    <a:pt x="135" y="179"/>
                  </a:lnTo>
                  <a:lnTo>
                    <a:pt x="132" y="183"/>
                  </a:lnTo>
                  <a:lnTo>
                    <a:pt x="128" y="187"/>
                  </a:lnTo>
                  <a:lnTo>
                    <a:pt x="124" y="190"/>
                  </a:lnTo>
                  <a:lnTo>
                    <a:pt x="119" y="193"/>
                  </a:lnTo>
                  <a:lnTo>
                    <a:pt x="115" y="195"/>
                  </a:lnTo>
                  <a:lnTo>
                    <a:pt x="109" y="196"/>
                  </a:lnTo>
                  <a:lnTo>
                    <a:pt x="104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89" y="197"/>
                  </a:lnTo>
                  <a:lnTo>
                    <a:pt x="81" y="195"/>
                  </a:lnTo>
                  <a:lnTo>
                    <a:pt x="74" y="191"/>
                  </a:lnTo>
                  <a:lnTo>
                    <a:pt x="66" y="187"/>
                  </a:lnTo>
                  <a:lnTo>
                    <a:pt x="60" y="183"/>
                  </a:lnTo>
                  <a:lnTo>
                    <a:pt x="54" y="178"/>
                  </a:lnTo>
                  <a:lnTo>
                    <a:pt x="48" y="173"/>
                  </a:lnTo>
                  <a:lnTo>
                    <a:pt x="44" y="167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50" y="64"/>
                  </a:lnTo>
                  <a:lnTo>
                    <a:pt x="56" y="59"/>
                  </a:lnTo>
                  <a:lnTo>
                    <a:pt x="62" y="54"/>
                  </a:lnTo>
                  <a:lnTo>
                    <a:pt x="68" y="50"/>
                  </a:lnTo>
                  <a:lnTo>
                    <a:pt x="75" y="46"/>
                  </a:lnTo>
                  <a:lnTo>
                    <a:pt x="82" y="44"/>
                  </a:lnTo>
                  <a:lnTo>
                    <a:pt x="89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102" y="42"/>
                  </a:lnTo>
                  <a:lnTo>
                    <a:pt x="108" y="43"/>
                  </a:lnTo>
                  <a:lnTo>
                    <a:pt x="113" y="45"/>
                  </a:lnTo>
                  <a:lnTo>
                    <a:pt x="118" y="47"/>
                  </a:lnTo>
                  <a:lnTo>
                    <a:pt x="123" y="49"/>
                  </a:lnTo>
                  <a:lnTo>
                    <a:pt x="127" y="53"/>
                  </a:lnTo>
                  <a:lnTo>
                    <a:pt x="131" y="57"/>
                  </a:lnTo>
                  <a:lnTo>
                    <a:pt x="134" y="62"/>
                  </a:lnTo>
                  <a:lnTo>
                    <a:pt x="137" y="67"/>
                  </a:lnTo>
                  <a:lnTo>
                    <a:pt x="140" y="73"/>
                  </a:lnTo>
                  <a:lnTo>
                    <a:pt x="144" y="88"/>
                  </a:lnTo>
                  <a:lnTo>
                    <a:pt x="147" y="105"/>
                  </a:lnTo>
                  <a:lnTo>
                    <a:pt x="147" y="125"/>
                  </a:lnTo>
                  <a:lnTo>
                    <a:pt x="147" y="1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3" name="Freeform 102"/>
            <p:cNvSpPr>
              <a:spLocks noEditPoints="1"/>
            </p:cNvSpPr>
            <p:nvPr userDrawn="1"/>
          </p:nvSpPr>
          <p:spPr bwMode="auto">
            <a:xfrm>
              <a:off x="1701800" y="6151563"/>
              <a:ext cx="82550" cy="95250"/>
            </a:xfrm>
            <a:custGeom>
              <a:avLst/>
              <a:gdLst>
                <a:gd name="T0" fmla="*/ 205 w 206"/>
                <a:gd name="T1" fmla="*/ 105 h 239"/>
                <a:gd name="T2" fmla="*/ 198 w 206"/>
                <a:gd name="T3" fmla="*/ 70 h 239"/>
                <a:gd name="T4" fmla="*/ 183 w 206"/>
                <a:gd name="T5" fmla="*/ 41 h 239"/>
                <a:gd name="T6" fmla="*/ 161 w 206"/>
                <a:gd name="T7" fmla="*/ 19 h 239"/>
                <a:gd name="T8" fmla="*/ 135 w 206"/>
                <a:gd name="T9" fmla="*/ 5 h 239"/>
                <a:gd name="T10" fmla="*/ 103 w 206"/>
                <a:gd name="T11" fmla="*/ 0 h 239"/>
                <a:gd name="T12" fmla="*/ 82 w 206"/>
                <a:gd name="T13" fmla="*/ 2 h 239"/>
                <a:gd name="T14" fmla="*/ 53 w 206"/>
                <a:gd name="T15" fmla="*/ 13 h 239"/>
                <a:gd name="T16" fmla="*/ 30 w 206"/>
                <a:gd name="T17" fmla="*/ 32 h 239"/>
                <a:gd name="T18" fmla="*/ 13 w 206"/>
                <a:gd name="T19" fmla="*/ 59 h 239"/>
                <a:gd name="T20" fmla="*/ 2 w 206"/>
                <a:gd name="T21" fmla="*/ 93 h 239"/>
                <a:gd name="T22" fmla="*/ 0 w 206"/>
                <a:gd name="T23" fmla="*/ 120 h 239"/>
                <a:gd name="T24" fmla="*/ 5 w 206"/>
                <a:gd name="T25" fmla="*/ 157 h 239"/>
                <a:gd name="T26" fmla="*/ 17 w 206"/>
                <a:gd name="T27" fmla="*/ 189 h 239"/>
                <a:gd name="T28" fmla="*/ 36 w 206"/>
                <a:gd name="T29" fmla="*/ 214 h 239"/>
                <a:gd name="T30" fmla="*/ 61 w 206"/>
                <a:gd name="T31" fmla="*/ 230 h 239"/>
                <a:gd name="T32" fmla="*/ 91 w 206"/>
                <a:gd name="T33" fmla="*/ 238 h 239"/>
                <a:gd name="T34" fmla="*/ 113 w 206"/>
                <a:gd name="T35" fmla="*/ 238 h 239"/>
                <a:gd name="T36" fmla="*/ 143 w 206"/>
                <a:gd name="T37" fmla="*/ 231 h 239"/>
                <a:gd name="T38" fmla="*/ 169 w 206"/>
                <a:gd name="T39" fmla="*/ 214 h 239"/>
                <a:gd name="T40" fmla="*/ 188 w 206"/>
                <a:gd name="T41" fmla="*/ 190 h 239"/>
                <a:gd name="T42" fmla="*/ 201 w 206"/>
                <a:gd name="T43" fmla="*/ 158 h 239"/>
                <a:gd name="T44" fmla="*/ 206 w 206"/>
                <a:gd name="T45" fmla="*/ 119 h 239"/>
                <a:gd name="T46" fmla="*/ 160 w 206"/>
                <a:gd name="T47" fmla="*/ 120 h 239"/>
                <a:gd name="T48" fmla="*/ 151 w 206"/>
                <a:gd name="T49" fmla="*/ 162 h 239"/>
                <a:gd name="T50" fmla="*/ 137 w 206"/>
                <a:gd name="T51" fmla="*/ 183 h 239"/>
                <a:gd name="T52" fmla="*/ 122 w 206"/>
                <a:gd name="T53" fmla="*/ 193 h 239"/>
                <a:gd name="T54" fmla="*/ 104 w 206"/>
                <a:gd name="T55" fmla="*/ 196 h 239"/>
                <a:gd name="T56" fmla="*/ 91 w 206"/>
                <a:gd name="T57" fmla="*/ 195 h 239"/>
                <a:gd name="T58" fmla="*/ 75 w 206"/>
                <a:gd name="T59" fmla="*/ 188 h 239"/>
                <a:gd name="T60" fmla="*/ 62 w 206"/>
                <a:gd name="T61" fmla="*/ 176 h 239"/>
                <a:gd name="T62" fmla="*/ 52 w 206"/>
                <a:gd name="T63" fmla="*/ 159 h 239"/>
                <a:gd name="T64" fmla="*/ 46 w 206"/>
                <a:gd name="T65" fmla="*/ 119 h 239"/>
                <a:gd name="T66" fmla="*/ 50 w 206"/>
                <a:gd name="T67" fmla="*/ 88 h 239"/>
                <a:gd name="T68" fmla="*/ 61 w 206"/>
                <a:gd name="T69" fmla="*/ 64 h 239"/>
                <a:gd name="T70" fmla="*/ 73 w 206"/>
                <a:gd name="T71" fmla="*/ 51 h 239"/>
                <a:gd name="T72" fmla="*/ 89 w 206"/>
                <a:gd name="T73" fmla="*/ 44 h 239"/>
                <a:gd name="T74" fmla="*/ 101 w 206"/>
                <a:gd name="T75" fmla="*/ 43 h 239"/>
                <a:gd name="T76" fmla="*/ 121 w 206"/>
                <a:gd name="T77" fmla="*/ 46 h 239"/>
                <a:gd name="T78" fmla="*/ 136 w 206"/>
                <a:gd name="T79" fmla="*/ 55 h 239"/>
                <a:gd name="T80" fmla="*/ 148 w 206"/>
                <a:gd name="T81" fmla="*/ 69 h 239"/>
                <a:gd name="T82" fmla="*/ 156 w 206"/>
                <a:gd name="T83" fmla="*/ 88 h 239"/>
                <a:gd name="T84" fmla="*/ 160 w 206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6" h="239">
                  <a:moveTo>
                    <a:pt x="206" y="119"/>
                  </a:moveTo>
                  <a:lnTo>
                    <a:pt x="206" y="119"/>
                  </a:lnTo>
                  <a:lnTo>
                    <a:pt x="205" y="105"/>
                  </a:lnTo>
                  <a:lnTo>
                    <a:pt x="204" y="93"/>
                  </a:lnTo>
                  <a:lnTo>
                    <a:pt x="201" y="81"/>
                  </a:lnTo>
                  <a:lnTo>
                    <a:pt x="198" y="70"/>
                  </a:lnTo>
                  <a:lnTo>
                    <a:pt x="194" y="59"/>
                  </a:lnTo>
                  <a:lnTo>
                    <a:pt x="189" y="50"/>
                  </a:lnTo>
                  <a:lnTo>
                    <a:pt x="183" y="41"/>
                  </a:lnTo>
                  <a:lnTo>
                    <a:pt x="176" y="33"/>
                  </a:lnTo>
                  <a:lnTo>
                    <a:pt x="169" y="25"/>
                  </a:lnTo>
                  <a:lnTo>
                    <a:pt x="161" y="19"/>
                  </a:lnTo>
                  <a:lnTo>
                    <a:pt x="153" y="13"/>
                  </a:lnTo>
                  <a:lnTo>
                    <a:pt x="144" y="9"/>
                  </a:lnTo>
                  <a:lnTo>
                    <a:pt x="135" y="5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92" y="1"/>
                  </a:lnTo>
                  <a:lnTo>
                    <a:pt x="82" y="2"/>
                  </a:lnTo>
                  <a:lnTo>
                    <a:pt x="72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0" y="32"/>
                  </a:lnTo>
                  <a:lnTo>
                    <a:pt x="23" y="40"/>
                  </a:lnTo>
                  <a:lnTo>
                    <a:pt x="18" y="49"/>
                  </a:lnTo>
                  <a:lnTo>
                    <a:pt x="13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4" y="220"/>
                  </a:lnTo>
                  <a:lnTo>
                    <a:pt x="52" y="226"/>
                  </a:lnTo>
                  <a:lnTo>
                    <a:pt x="61" y="230"/>
                  </a:lnTo>
                  <a:lnTo>
                    <a:pt x="71" y="234"/>
                  </a:lnTo>
                  <a:lnTo>
                    <a:pt x="80" y="237"/>
                  </a:lnTo>
                  <a:lnTo>
                    <a:pt x="91" y="238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3" y="238"/>
                  </a:lnTo>
                  <a:lnTo>
                    <a:pt x="124" y="237"/>
                  </a:lnTo>
                  <a:lnTo>
                    <a:pt x="134" y="234"/>
                  </a:lnTo>
                  <a:lnTo>
                    <a:pt x="143" y="231"/>
                  </a:lnTo>
                  <a:lnTo>
                    <a:pt x="152" y="226"/>
                  </a:lnTo>
                  <a:lnTo>
                    <a:pt x="161" y="221"/>
                  </a:lnTo>
                  <a:lnTo>
                    <a:pt x="169" y="214"/>
                  </a:lnTo>
                  <a:lnTo>
                    <a:pt x="176" y="207"/>
                  </a:lnTo>
                  <a:lnTo>
                    <a:pt x="182" y="199"/>
                  </a:lnTo>
                  <a:lnTo>
                    <a:pt x="188" y="190"/>
                  </a:lnTo>
                  <a:lnTo>
                    <a:pt x="193" y="180"/>
                  </a:lnTo>
                  <a:lnTo>
                    <a:pt x="198" y="169"/>
                  </a:lnTo>
                  <a:lnTo>
                    <a:pt x="201" y="158"/>
                  </a:lnTo>
                  <a:lnTo>
                    <a:pt x="203" y="145"/>
                  </a:lnTo>
                  <a:lnTo>
                    <a:pt x="205" y="132"/>
                  </a:lnTo>
                  <a:lnTo>
                    <a:pt x="206" y="119"/>
                  </a:lnTo>
                  <a:lnTo>
                    <a:pt x="206" y="119"/>
                  </a:lnTo>
                  <a:close/>
                  <a:moveTo>
                    <a:pt x="160" y="120"/>
                  </a:moveTo>
                  <a:lnTo>
                    <a:pt x="160" y="120"/>
                  </a:lnTo>
                  <a:lnTo>
                    <a:pt x="159" y="135"/>
                  </a:lnTo>
                  <a:lnTo>
                    <a:pt x="156" y="149"/>
                  </a:lnTo>
                  <a:lnTo>
                    <a:pt x="151" y="162"/>
                  </a:lnTo>
                  <a:lnTo>
                    <a:pt x="145" y="174"/>
                  </a:lnTo>
                  <a:lnTo>
                    <a:pt x="141" y="179"/>
                  </a:lnTo>
                  <a:lnTo>
                    <a:pt x="137" y="183"/>
                  </a:lnTo>
                  <a:lnTo>
                    <a:pt x="132" y="187"/>
                  </a:lnTo>
                  <a:lnTo>
                    <a:pt x="127" y="190"/>
                  </a:lnTo>
                  <a:lnTo>
                    <a:pt x="122" y="193"/>
                  </a:lnTo>
                  <a:lnTo>
                    <a:pt x="116" y="195"/>
                  </a:lnTo>
                  <a:lnTo>
                    <a:pt x="110" y="196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97" y="196"/>
                  </a:lnTo>
                  <a:lnTo>
                    <a:pt x="91" y="195"/>
                  </a:lnTo>
                  <a:lnTo>
                    <a:pt x="85" y="193"/>
                  </a:lnTo>
                  <a:lnTo>
                    <a:pt x="80" y="191"/>
                  </a:lnTo>
                  <a:lnTo>
                    <a:pt x="75" y="188"/>
                  </a:lnTo>
                  <a:lnTo>
                    <a:pt x="70" y="185"/>
                  </a:lnTo>
                  <a:lnTo>
                    <a:pt x="66" y="181"/>
                  </a:lnTo>
                  <a:lnTo>
                    <a:pt x="62" y="176"/>
                  </a:lnTo>
                  <a:lnTo>
                    <a:pt x="58" y="171"/>
                  </a:lnTo>
                  <a:lnTo>
                    <a:pt x="55" y="165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7" y="102"/>
                  </a:lnTo>
                  <a:lnTo>
                    <a:pt x="50" y="88"/>
                  </a:lnTo>
                  <a:lnTo>
                    <a:pt x="54" y="75"/>
                  </a:lnTo>
                  <a:lnTo>
                    <a:pt x="57" y="69"/>
                  </a:lnTo>
                  <a:lnTo>
                    <a:pt x="61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3" y="51"/>
                  </a:lnTo>
                  <a:lnTo>
                    <a:pt x="78" y="48"/>
                  </a:lnTo>
                  <a:lnTo>
                    <a:pt x="83" y="46"/>
                  </a:lnTo>
                  <a:lnTo>
                    <a:pt x="89" y="44"/>
                  </a:lnTo>
                  <a:lnTo>
                    <a:pt x="95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8" y="43"/>
                  </a:lnTo>
                  <a:lnTo>
                    <a:pt x="115" y="44"/>
                  </a:lnTo>
                  <a:lnTo>
                    <a:pt x="121" y="46"/>
                  </a:lnTo>
                  <a:lnTo>
                    <a:pt x="126" y="49"/>
                  </a:lnTo>
                  <a:lnTo>
                    <a:pt x="131" y="51"/>
                  </a:lnTo>
                  <a:lnTo>
                    <a:pt x="136" y="55"/>
                  </a:lnTo>
                  <a:lnTo>
                    <a:pt x="141" y="59"/>
                  </a:lnTo>
                  <a:lnTo>
                    <a:pt x="145" y="64"/>
                  </a:lnTo>
                  <a:lnTo>
                    <a:pt x="148" y="69"/>
                  </a:lnTo>
                  <a:lnTo>
                    <a:pt x="151" y="75"/>
                  </a:lnTo>
                  <a:lnTo>
                    <a:pt x="154" y="81"/>
                  </a:lnTo>
                  <a:lnTo>
                    <a:pt x="156" y="88"/>
                  </a:lnTo>
                  <a:lnTo>
                    <a:pt x="159" y="103"/>
                  </a:lnTo>
                  <a:lnTo>
                    <a:pt x="160" y="120"/>
                  </a:lnTo>
                  <a:lnTo>
                    <a:pt x="160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4" name="Freeform 103"/>
            <p:cNvSpPr>
              <a:spLocks/>
            </p:cNvSpPr>
            <p:nvPr userDrawn="1"/>
          </p:nvSpPr>
          <p:spPr bwMode="auto">
            <a:xfrm>
              <a:off x="1798638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2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3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6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2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8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3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6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4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5" name="Freeform 104"/>
            <p:cNvSpPr>
              <a:spLocks noEditPoints="1"/>
            </p:cNvSpPr>
            <p:nvPr userDrawn="1"/>
          </p:nvSpPr>
          <p:spPr bwMode="auto">
            <a:xfrm>
              <a:off x="1882775" y="6121401"/>
              <a:ext cx="82550" cy="125413"/>
            </a:xfrm>
            <a:custGeom>
              <a:avLst/>
              <a:gdLst>
                <a:gd name="T0" fmla="*/ 211 w 211"/>
                <a:gd name="T1" fmla="*/ 81 h 315"/>
                <a:gd name="T2" fmla="*/ 209 w 211"/>
                <a:gd name="T3" fmla="*/ 62 h 315"/>
                <a:gd name="T4" fmla="*/ 204 w 211"/>
                <a:gd name="T5" fmla="*/ 46 h 315"/>
                <a:gd name="T6" fmla="*/ 195 w 211"/>
                <a:gd name="T7" fmla="*/ 32 h 315"/>
                <a:gd name="T8" fmla="*/ 182 w 211"/>
                <a:gd name="T9" fmla="*/ 21 h 315"/>
                <a:gd name="T10" fmla="*/ 167 w 211"/>
                <a:gd name="T11" fmla="*/ 12 h 315"/>
                <a:gd name="T12" fmla="*/ 149 w 211"/>
                <a:gd name="T13" fmla="*/ 5 h 315"/>
                <a:gd name="T14" fmla="*/ 128 w 211"/>
                <a:gd name="T15" fmla="*/ 1 h 315"/>
                <a:gd name="T16" fmla="*/ 106 w 211"/>
                <a:gd name="T17" fmla="*/ 0 h 315"/>
                <a:gd name="T18" fmla="*/ 89 w 211"/>
                <a:gd name="T19" fmla="*/ 1 h 315"/>
                <a:gd name="T20" fmla="*/ 59 w 211"/>
                <a:gd name="T21" fmla="*/ 8 h 315"/>
                <a:gd name="T22" fmla="*/ 32 w 211"/>
                <a:gd name="T23" fmla="*/ 20 h 315"/>
                <a:gd name="T24" fmla="*/ 9 w 211"/>
                <a:gd name="T25" fmla="*/ 36 h 315"/>
                <a:gd name="T26" fmla="*/ 29 w 211"/>
                <a:gd name="T27" fmla="*/ 79 h 315"/>
                <a:gd name="T28" fmla="*/ 38 w 211"/>
                <a:gd name="T29" fmla="*/ 71 h 315"/>
                <a:gd name="T30" fmla="*/ 56 w 211"/>
                <a:gd name="T31" fmla="*/ 58 h 315"/>
                <a:gd name="T32" fmla="*/ 74 w 211"/>
                <a:gd name="T33" fmla="*/ 50 h 315"/>
                <a:gd name="T34" fmla="*/ 94 w 211"/>
                <a:gd name="T35" fmla="*/ 46 h 315"/>
                <a:gd name="T36" fmla="*/ 105 w 211"/>
                <a:gd name="T37" fmla="*/ 45 h 315"/>
                <a:gd name="T38" fmla="*/ 130 w 211"/>
                <a:gd name="T39" fmla="*/ 48 h 315"/>
                <a:gd name="T40" fmla="*/ 149 w 211"/>
                <a:gd name="T41" fmla="*/ 55 h 315"/>
                <a:gd name="T42" fmla="*/ 161 w 211"/>
                <a:gd name="T43" fmla="*/ 67 h 315"/>
                <a:gd name="T44" fmla="*/ 165 w 211"/>
                <a:gd name="T45" fmla="*/ 84 h 315"/>
                <a:gd name="T46" fmla="*/ 164 w 211"/>
                <a:gd name="T47" fmla="*/ 91 h 315"/>
                <a:gd name="T48" fmla="*/ 160 w 211"/>
                <a:gd name="T49" fmla="*/ 103 h 315"/>
                <a:gd name="T50" fmla="*/ 152 w 211"/>
                <a:gd name="T51" fmla="*/ 113 h 315"/>
                <a:gd name="T52" fmla="*/ 131 w 211"/>
                <a:gd name="T53" fmla="*/ 127 h 315"/>
                <a:gd name="T54" fmla="*/ 115 w 211"/>
                <a:gd name="T55" fmla="*/ 137 h 315"/>
                <a:gd name="T56" fmla="*/ 92 w 211"/>
                <a:gd name="T57" fmla="*/ 155 h 315"/>
                <a:gd name="T58" fmla="*/ 84 w 211"/>
                <a:gd name="T59" fmla="*/ 165 h 315"/>
                <a:gd name="T60" fmla="*/ 79 w 211"/>
                <a:gd name="T61" fmla="*/ 177 h 315"/>
                <a:gd name="T62" fmla="*/ 74 w 211"/>
                <a:gd name="T63" fmla="*/ 204 h 315"/>
                <a:gd name="T64" fmla="*/ 121 w 211"/>
                <a:gd name="T65" fmla="*/ 222 h 315"/>
                <a:gd name="T66" fmla="*/ 121 w 211"/>
                <a:gd name="T67" fmla="*/ 211 h 315"/>
                <a:gd name="T68" fmla="*/ 124 w 211"/>
                <a:gd name="T69" fmla="*/ 193 h 315"/>
                <a:gd name="T70" fmla="*/ 131 w 211"/>
                <a:gd name="T71" fmla="*/ 180 h 315"/>
                <a:gd name="T72" fmla="*/ 145 w 211"/>
                <a:gd name="T73" fmla="*/ 168 h 315"/>
                <a:gd name="T74" fmla="*/ 155 w 211"/>
                <a:gd name="T75" fmla="*/ 163 h 315"/>
                <a:gd name="T76" fmla="*/ 179 w 211"/>
                <a:gd name="T77" fmla="*/ 147 h 315"/>
                <a:gd name="T78" fmla="*/ 197 w 211"/>
                <a:gd name="T79" fmla="*/ 130 h 315"/>
                <a:gd name="T80" fmla="*/ 208 w 211"/>
                <a:gd name="T81" fmla="*/ 109 h 315"/>
                <a:gd name="T82" fmla="*/ 211 w 211"/>
                <a:gd name="T83" fmla="*/ 81 h 315"/>
                <a:gd name="T84" fmla="*/ 130 w 211"/>
                <a:gd name="T85" fmla="*/ 282 h 315"/>
                <a:gd name="T86" fmla="*/ 129 w 211"/>
                <a:gd name="T87" fmla="*/ 276 h 315"/>
                <a:gd name="T88" fmla="*/ 124 w 211"/>
                <a:gd name="T89" fmla="*/ 264 h 315"/>
                <a:gd name="T90" fmla="*/ 115 w 211"/>
                <a:gd name="T91" fmla="*/ 255 h 315"/>
                <a:gd name="T92" fmla="*/ 104 w 211"/>
                <a:gd name="T93" fmla="*/ 250 h 315"/>
                <a:gd name="T94" fmla="*/ 97 w 211"/>
                <a:gd name="T95" fmla="*/ 249 h 315"/>
                <a:gd name="T96" fmla="*/ 85 w 211"/>
                <a:gd name="T97" fmla="*/ 252 h 315"/>
                <a:gd name="T98" fmla="*/ 74 w 211"/>
                <a:gd name="T99" fmla="*/ 259 h 315"/>
                <a:gd name="T100" fmla="*/ 67 w 211"/>
                <a:gd name="T101" fmla="*/ 269 h 315"/>
                <a:gd name="T102" fmla="*/ 65 w 211"/>
                <a:gd name="T103" fmla="*/ 282 h 315"/>
                <a:gd name="T104" fmla="*/ 65 w 211"/>
                <a:gd name="T105" fmla="*/ 289 h 315"/>
                <a:gd name="T106" fmla="*/ 70 w 211"/>
                <a:gd name="T107" fmla="*/ 301 h 315"/>
                <a:gd name="T108" fmla="*/ 79 w 211"/>
                <a:gd name="T109" fmla="*/ 309 h 315"/>
                <a:gd name="T110" fmla="*/ 91 w 211"/>
                <a:gd name="T111" fmla="*/ 314 h 315"/>
                <a:gd name="T112" fmla="*/ 97 w 211"/>
                <a:gd name="T113" fmla="*/ 315 h 315"/>
                <a:gd name="T114" fmla="*/ 110 w 211"/>
                <a:gd name="T115" fmla="*/ 312 h 315"/>
                <a:gd name="T116" fmla="*/ 120 w 211"/>
                <a:gd name="T117" fmla="*/ 305 h 315"/>
                <a:gd name="T118" fmla="*/ 127 w 211"/>
                <a:gd name="T119" fmla="*/ 295 h 315"/>
                <a:gd name="T120" fmla="*/ 130 w 211"/>
                <a:gd name="T121" fmla="*/ 28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1" h="315">
                  <a:moveTo>
                    <a:pt x="211" y="81"/>
                  </a:moveTo>
                  <a:lnTo>
                    <a:pt x="211" y="81"/>
                  </a:lnTo>
                  <a:lnTo>
                    <a:pt x="211" y="71"/>
                  </a:lnTo>
                  <a:lnTo>
                    <a:pt x="209" y="62"/>
                  </a:lnTo>
                  <a:lnTo>
                    <a:pt x="207" y="54"/>
                  </a:lnTo>
                  <a:lnTo>
                    <a:pt x="204" y="46"/>
                  </a:lnTo>
                  <a:lnTo>
                    <a:pt x="199" y="39"/>
                  </a:lnTo>
                  <a:lnTo>
                    <a:pt x="195" y="32"/>
                  </a:lnTo>
                  <a:lnTo>
                    <a:pt x="189" y="26"/>
                  </a:lnTo>
                  <a:lnTo>
                    <a:pt x="182" y="21"/>
                  </a:lnTo>
                  <a:lnTo>
                    <a:pt x="175" y="16"/>
                  </a:lnTo>
                  <a:lnTo>
                    <a:pt x="167" y="12"/>
                  </a:lnTo>
                  <a:lnTo>
                    <a:pt x="159" y="8"/>
                  </a:lnTo>
                  <a:lnTo>
                    <a:pt x="149" y="5"/>
                  </a:lnTo>
                  <a:lnTo>
                    <a:pt x="139" y="3"/>
                  </a:lnTo>
                  <a:lnTo>
                    <a:pt x="128" y="1"/>
                  </a:lnTo>
                  <a:lnTo>
                    <a:pt x="117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89" y="1"/>
                  </a:lnTo>
                  <a:lnTo>
                    <a:pt x="74" y="4"/>
                  </a:lnTo>
                  <a:lnTo>
                    <a:pt x="59" y="8"/>
                  </a:lnTo>
                  <a:lnTo>
                    <a:pt x="45" y="13"/>
                  </a:lnTo>
                  <a:lnTo>
                    <a:pt x="32" y="20"/>
                  </a:lnTo>
                  <a:lnTo>
                    <a:pt x="20" y="27"/>
                  </a:lnTo>
                  <a:lnTo>
                    <a:pt x="9" y="36"/>
                  </a:lnTo>
                  <a:lnTo>
                    <a:pt x="0" y="45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8" y="71"/>
                  </a:lnTo>
                  <a:lnTo>
                    <a:pt x="47" y="64"/>
                  </a:lnTo>
                  <a:lnTo>
                    <a:pt x="56" y="58"/>
                  </a:lnTo>
                  <a:lnTo>
                    <a:pt x="65" y="54"/>
                  </a:lnTo>
                  <a:lnTo>
                    <a:pt x="74" y="50"/>
                  </a:lnTo>
                  <a:lnTo>
                    <a:pt x="84" y="47"/>
                  </a:lnTo>
                  <a:lnTo>
                    <a:pt x="94" y="46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18" y="46"/>
                  </a:lnTo>
                  <a:lnTo>
                    <a:pt x="130" y="48"/>
                  </a:lnTo>
                  <a:lnTo>
                    <a:pt x="140" y="51"/>
                  </a:lnTo>
                  <a:lnTo>
                    <a:pt x="149" y="55"/>
                  </a:lnTo>
                  <a:lnTo>
                    <a:pt x="156" y="61"/>
                  </a:lnTo>
                  <a:lnTo>
                    <a:pt x="161" y="67"/>
                  </a:lnTo>
                  <a:lnTo>
                    <a:pt x="164" y="75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4" y="91"/>
                  </a:lnTo>
                  <a:lnTo>
                    <a:pt x="163" y="98"/>
                  </a:lnTo>
                  <a:lnTo>
                    <a:pt x="160" y="103"/>
                  </a:lnTo>
                  <a:lnTo>
                    <a:pt x="157" y="108"/>
                  </a:lnTo>
                  <a:lnTo>
                    <a:pt x="152" y="113"/>
                  </a:lnTo>
                  <a:lnTo>
                    <a:pt x="147" y="118"/>
                  </a:lnTo>
                  <a:lnTo>
                    <a:pt x="131" y="127"/>
                  </a:lnTo>
                  <a:lnTo>
                    <a:pt x="131" y="127"/>
                  </a:lnTo>
                  <a:lnTo>
                    <a:pt x="115" y="137"/>
                  </a:lnTo>
                  <a:lnTo>
                    <a:pt x="102" y="146"/>
                  </a:lnTo>
                  <a:lnTo>
                    <a:pt x="92" y="155"/>
                  </a:lnTo>
                  <a:lnTo>
                    <a:pt x="88" y="160"/>
                  </a:lnTo>
                  <a:lnTo>
                    <a:pt x="84" y="165"/>
                  </a:lnTo>
                  <a:lnTo>
                    <a:pt x="81" y="171"/>
                  </a:lnTo>
                  <a:lnTo>
                    <a:pt x="79" y="177"/>
                  </a:lnTo>
                  <a:lnTo>
                    <a:pt x="76" y="189"/>
                  </a:lnTo>
                  <a:lnTo>
                    <a:pt x="74" y="204"/>
                  </a:lnTo>
                  <a:lnTo>
                    <a:pt x="74" y="222"/>
                  </a:lnTo>
                  <a:lnTo>
                    <a:pt x="121" y="222"/>
                  </a:lnTo>
                  <a:lnTo>
                    <a:pt x="121" y="222"/>
                  </a:lnTo>
                  <a:lnTo>
                    <a:pt x="121" y="211"/>
                  </a:lnTo>
                  <a:lnTo>
                    <a:pt x="122" y="201"/>
                  </a:lnTo>
                  <a:lnTo>
                    <a:pt x="124" y="193"/>
                  </a:lnTo>
                  <a:lnTo>
                    <a:pt x="127" y="186"/>
                  </a:lnTo>
                  <a:lnTo>
                    <a:pt x="131" y="180"/>
                  </a:lnTo>
                  <a:lnTo>
                    <a:pt x="137" y="174"/>
                  </a:lnTo>
                  <a:lnTo>
                    <a:pt x="145" y="168"/>
                  </a:lnTo>
                  <a:lnTo>
                    <a:pt x="155" y="163"/>
                  </a:lnTo>
                  <a:lnTo>
                    <a:pt x="155" y="163"/>
                  </a:lnTo>
                  <a:lnTo>
                    <a:pt x="168" y="155"/>
                  </a:lnTo>
                  <a:lnTo>
                    <a:pt x="179" y="147"/>
                  </a:lnTo>
                  <a:lnTo>
                    <a:pt x="189" y="139"/>
                  </a:lnTo>
                  <a:lnTo>
                    <a:pt x="197" y="130"/>
                  </a:lnTo>
                  <a:lnTo>
                    <a:pt x="203" y="120"/>
                  </a:lnTo>
                  <a:lnTo>
                    <a:pt x="208" y="109"/>
                  </a:lnTo>
                  <a:lnTo>
                    <a:pt x="210" y="96"/>
                  </a:lnTo>
                  <a:lnTo>
                    <a:pt x="211" y="81"/>
                  </a:lnTo>
                  <a:lnTo>
                    <a:pt x="211" y="81"/>
                  </a:lnTo>
                  <a:close/>
                  <a:moveTo>
                    <a:pt x="130" y="282"/>
                  </a:moveTo>
                  <a:lnTo>
                    <a:pt x="130" y="282"/>
                  </a:lnTo>
                  <a:lnTo>
                    <a:pt x="129" y="276"/>
                  </a:lnTo>
                  <a:lnTo>
                    <a:pt x="127" y="269"/>
                  </a:lnTo>
                  <a:lnTo>
                    <a:pt x="124" y="264"/>
                  </a:lnTo>
                  <a:lnTo>
                    <a:pt x="120" y="259"/>
                  </a:lnTo>
                  <a:lnTo>
                    <a:pt x="115" y="255"/>
                  </a:lnTo>
                  <a:lnTo>
                    <a:pt x="110" y="252"/>
                  </a:lnTo>
                  <a:lnTo>
                    <a:pt x="104" y="250"/>
                  </a:lnTo>
                  <a:lnTo>
                    <a:pt x="97" y="249"/>
                  </a:lnTo>
                  <a:lnTo>
                    <a:pt x="97" y="249"/>
                  </a:lnTo>
                  <a:lnTo>
                    <a:pt x="91" y="250"/>
                  </a:lnTo>
                  <a:lnTo>
                    <a:pt x="85" y="252"/>
                  </a:lnTo>
                  <a:lnTo>
                    <a:pt x="79" y="255"/>
                  </a:lnTo>
                  <a:lnTo>
                    <a:pt x="74" y="259"/>
                  </a:lnTo>
                  <a:lnTo>
                    <a:pt x="70" y="264"/>
                  </a:lnTo>
                  <a:lnTo>
                    <a:pt x="67" y="269"/>
                  </a:lnTo>
                  <a:lnTo>
                    <a:pt x="65" y="276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65" y="289"/>
                  </a:lnTo>
                  <a:lnTo>
                    <a:pt x="67" y="295"/>
                  </a:lnTo>
                  <a:lnTo>
                    <a:pt x="70" y="301"/>
                  </a:lnTo>
                  <a:lnTo>
                    <a:pt x="74" y="305"/>
                  </a:lnTo>
                  <a:lnTo>
                    <a:pt x="79" y="309"/>
                  </a:lnTo>
                  <a:lnTo>
                    <a:pt x="85" y="312"/>
                  </a:lnTo>
                  <a:lnTo>
                    <a:pt x="91" y="314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104" y="314"/>
                  </a:lnTo>
                  <a:lnTo>
                    <a:pt x="110" y="312"/>
                  </a:lnTo>
                  <a:lnTo>
                    <a:pt x="115" y="309"/>
                  </a:lnTo>
                  <a:lnTo>
                    <a:pt x="120" y="305"/>
                  </a:lnTo>
                  <a:lnTo>
                    <a:pt x="124" y="301"/>
                  </a:lnTo>
                  <a:lnTo>
                    <a:pt x="127" y="295"/>
                  </a:lnTo>
                  <a:lnTo>
                    <a:pt x="129" y="289"/>
                  </a:lnTo>
                  <a:lnTo>
                    <a:pt x="130" y="282"/>
                  </a:lnTo>
                  <a:lnTo>
                    <a:pt x="130" y="2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6" name="Freeform 105"/>
            <p:cNvSpPr>
              <a:spLocks/>
            </p:cNvSpPr>
            <p:nvPr userDrawn="1"/>
          </p:nvSpPr>
          <p:spPr bwMode="auto">
            <a:xfrm>
              <a:off x="2019300" y="6122988"/>
              <a:ext cx="104775" cy="122238"/>
            </a:xfrm>
            <a:custGeom>
              <a:avLst/>
              <a:gdLst>
                <a:gd name="T0" fmla="*/ 120 w 264"/>
                <a:gd name="T1" fmla="*/ 305 h 305"/>
                <a:gd name="T2" fmla="*/ 264 w 264"/>
                <a:gd name="T3" fmla="*/ 0 h 305"/>
                <a:gd name="T4" fmla="*/ 212 w 264"/>
                <a:gd name="T5" fmla="*/ 0 h 305"/>
                <a:gd name="T6" fmla="*/ 170 w 264"/>
                <a:gd name="T7" fmla="*/ 98 h 305"/>
                <a:gd name="T8" fmla="*/ 170 w 264"/>
                <a:gd name="T9" fmla="*/ 98 h 305"/>
                <a:gd name="T10" fmla="*/ 154 w 264"/>
                <a:gd name="T11" fmla="*/ 136 h 305"/>
                <a:gd name="T12" fmla="*/ 141 w 264"/>
                <a:gd name="T13" fmla="*/ 167 h 305"/>
                <a:gd name="T14" fmla="*/ 141 w 264"/>
                <a:gd name="T15" fmla="*/ 167 h 305"/>
                <a:gd name="T16" fmla="*/ 126 w 264"/>
                <a:gd name="T17" fmla="*/ 135 h 305"/>
                <a:gd name="T18" fmla="*/ 107 w 264"/>
                <a:gd name="T19" fmla="*/ 97 h 305"/>
                <a:gd name="T20" fmla="*/ 57 w 264"/>
                <a:gd name="T21" fmla="*/ 0 h 305"/>
                <a:gd name="T22" fmla="*/ 0 w 264"/>
                <a:gd name="T23" fmla="*/ 0 h 305"/>
                <a:gd name="T24" fmla="*/ 115 w 264"/>
                <a:gd name="T25" fmla="*/ 213 h 305"/>
                <a:gd name="T26" fmla="*/ 69 w 264"/>
                <a:gd name="T27" fmla="*/ 305 h 305"/>
                <a:gd name="T28" fmla="*/ 120 w 264"/>
                <a:gd name="T29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305">
                  <a:moveTo>
                    <a:pt x="120" y="305"/>
                  </a:moveTo>
                  <a:lnTo>
                    <a:pt x="264" y="0"/>
                  </a:lnTo>
                  <a:lnTo>
                    <a:pt x="212" y="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54" y="136"/>
                  </a:lnTo>
                  <a:lnTo>
                    <a:pt x="141" y="167"/>
                  </a:lnTo>
                  <a:lnTo>
                    <a:pt x="141" y="167"/>
                  </a:lnTo>
                  <a:lnTo>
                    <a:pt x="126" y="135"/>
                  </a:lnTo>
                  <a:lnTo>
                    <a:pt x="107" y="97"/>
                  </a:lnTo>
                  <a:lnTo>
                    <a:pt x="57" y="0"/>
                  </a:lnTo>
                  <a:lnTo>
                    <a:pt x="0" y="0"/>
                  </a:lnTo>
                  <a:lnTo>
                    <a:pt x="115" y="213"/>
                  </a:lnTo>
                  <a:lnTo>
                    <a:pt x="69" y="305"/>
                  </a:lnTo>
                  <a:lnTo>
                    <a:pt x="120" y="3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7" name="Freeform 106"/>
            <p:cNvSpPr>
              <a:spLocks/>
            </p:cNvSpPr>
            <p:nvPr userDrawn="1"/>
          </p:nvSpPr>
          <p:spPr bwMode="auto">
            <a:xfrm>
              <a:off x="2182813" y="6153151"/>
              <a:ext cx="73025" cy="92075"/>
            </a:xfrm>
            <a:custGeom>
              <a:avLst/>
              <a:gdLst>
                <a:gd name="T0" fmla="*/ 139 w 184"/>
                <a:gd name="T1" fmla="*/ 0 h 229"/>
                <a:gd name="T2" fmla="*/ 139 w 184"/>
                <a:gd name="T3" fmla="*/ 88 h 229"/>
                <a:gd name="T4" fmla="*/ 45 w 184"/>
                <a:gd name="T5" fmla="*/ 88 h 229"/>
                <a:gd name="T6" fmla="*/ 45 w 184"/>
                <a:gd name="T7" fmla="*/ 0 h 229"/>
                <a:gd name="T8" fmla="*/ 0 w 184"/>
                <a:gd name="T9" fmla="*/ 0 h 229"/>
                <a:gd name="T10" fmla="*/ 0 w 184"/>
                <a:gd name="T11" fmla="*/ 229 h 229"/>
                <a:gd name="T12" fmla="*/ 45 w 184"/>
                <a:gd name="T13" fmla="*/ 229 h 229"/>
                <a:gd name="T14" fmla="*/ 45 w 184"/>
                <a:gd name="T15" fmla="*/ 127 h 229"/>
                <a:gd name="T16" fmla="*/ 139 w 184"/>
                <a:gd name="T17" fmla="*/ 127 h 229"/>
                <a:gd name="T18" fmla="*/ 139 w 184"/>
                <a:gd name="T19" fmla="*/ 229 h 229"/>
                <a:gd name="T20" fmla="*/ 184 w 184"/>
                <a:gd name="T21" fmla="*/ 229 h 229"/>
                <a:gd name="T22" fmla="*/ 184 w 184"/>
                <a:gd name="T23" fmla="*/ 0 h 229"/>
                <a:gd name="T24" fmla="*/ 139 w 184"/>
                <a:gd name="T25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29">
                  <a:moveTo>
                    <a:pt x="139" y="0"/>
                  </a:moveTo>
                  <a:lnTo>
                    <a:pt x="139" y="88"/>
                  </a:lnTo>
                  <a:lnTo>
                    <a:pt x="45" y="88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29"/>
                  </a:lnTo>
                  <a:lnTo>
                    <a:pt x="45" y="229"/>
                  </a:lnTo>
                  <a:lnTo>
                    <a:pt x="45" y="127"/>
                  </a:lnTo>
                  <a:lnTo>
                    <a:pt x="139" y="127"/>
                  </a:lnTo>
                  <a:lnTo>
                    <a:pt x="139" y="229"/>
                  </a:lnTo>
                  <a:lnTo>
                    <a:pt x="184" y="229"/>
                  </a:lnTo>
                  <a:lnTo>
                    <a:pt x="184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8" name="Freeform 107"/>
            <p:cNvSpPr>
              <a:spLocks noEditPoints="1"/>
            </p:cNvSpPr>
            <p:nvPr userDrawn="1"/>
          </p:nvSpPr>
          <p:spPr bwMode="auto">
            <a:xfrm>
              <a:off x="2274888" y="6151563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8 h 239"/>
                <a:gd name="T4" fmla="*/ 184 w 187"/>
                <a:gd name="T5" fmla="*/ 51 h 239"/>
                <a:gd name="T6" fmla="*/ 178 w 187"/>
                <a:gd name="T7" fmla="*/ 36 h 239"/>
                <a:gd name="T8" fmla="*/ 169 w 187"/>
                <a:gd name="T9" fmla="*/ 24 h 239"/>
                <a:gd name="T10" fmla="*/ 158 w 187"/>
                <a:gd name="T11" fmla="*/ 15 h 239"/>
                <a:gd name="T12" fmla="*/ 143 w 187"/>
                <a:gd name="T13" fmla="*/ 8 h 239"/>
                <a:gd name="T14" fmla="*/ 127 w 187"/>
                <a:gd name="T15" fmla="*/ 3 h 239"/>
                <a:gd name="T16" fmla="*/ 110 w 187"/>
                <a:gd name="T17" fmla="*/ 1 h 239"/>
                <a:gd name="T18" fmla="*/ 101 w 187"/>
                <a:gd name="T19" fmla="*/ 0 h 239"/>
                <a:gd name="T20" fmla="*/ 78 w 187"/>
                <a:gd name="T21" fmla="*/ 2 h 239"/>
                <a:gd name="T22" fmla="*/ 57 w 187"/>
                <a:gd name="T23" fmla="*/ 6 h 239"/>
                <a:gd name="T24" fmla="*/ 39 w 187"/>
                <a:gd name="T25" fmla="*/ 12 h 239"/>
                <a:gd name="T26" fmla="*/ 22 w 187"/>
                <a:gd name="T27" fmla="*/ 21 h 239"/>
                <a:gd name="T28" fmla="*/ 39 w 187"/>
                <a:gd name="T29" fmla="*/ 55 h 239"/>
                <a:gd name="T30" fmla="*/ 67 w 187"/>
                <a:gd name="T31" fmla="*/ 44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2 w 187"/>
                <a:gd name="T41" fmla="*/ 70 h 239"/>
                <a:gd name="T42" fmla="*/ 142 w 187"/>
                <a:gd name="T43" fmla="*/ 96 h 239"/>
                <a:gd name="T44" fmla="*/ 133 w 187"/>
                <a:gd name="T45" fmla="*/ 93 h 239"/>
                <a:gd name="T46" fmla="*/ 108 w 187"/>
                <a:gd name="T47" fmla="*/ 88 h 239"/>
                <a:gd name="T48" fmla="*/ 91 w 187"/>
                <a:gd name="T49" fmla="*/ 88 h 239"/>
                <a:gd name="T50" fmla="*/ 64 w 187"/>
                <a:gd name="T51" fmla="*/ 90 h 239"/>
                <a:gd name="T52" fmla="*/ 47 w 187"/>
                <a:gd name="T53" fmla="*/ 94 h 239"/>
                <a:gd name="T54" fmla="*/ 33 w 187"/>
                <a:gd name="T55" fmla="*/ 101 h 239"/>
                <a:gd name="T56" fmla="*/ 21 w 187"/>
                <a:gd name="T57" fmla="*/ 110 h 239"/>
                <a:gd name="T58" fmla="*/ 11 w 187"/>
                <a:gd name="T59" fmla="*/ 122 h 239"/>
                <a:gd name="T60" fmla="*/ 4 w 187"/>
                <a:gd name="T61" fmla="*/ 136 h 239"/>
                <a:gd name="T62" fmla="*/ 1 w 187"/>
                <a:gd name="T63" fmla="*/ 152 h 239"/>
                <a:gd name="T64" fmla="*/ 0 w 187"/>
                <a:gd name="T65" fmla="*/ 162 h 239"/>
                <a:gd name="T66" fmla="*/ 2 w 187"/>
                <a:gd name="T67" fmla="*/ 181 h 239"/>
                <a:gd name="T68" fmla="*/ 7 w 187"/>
                <a:gd name="T69" fmla="*/ 197 h 239"/>
                <a:gd name="T70" fmla="*/ 16 w 187"/>
                <a:gd name="T71" fmla="*/ 211 h 239"/>
                <a:gd name="T72" fmla="*/ 26 w 187"/>
                <a:gd name="T73" fmla="*/ 221 h 239"/>
                <a:gd name="T74" fmla="*/ 38 w 187"/>
                <a:gd name="T75" fmla="*/ 229 h 239"/>
                <a:gd name="T76" fmla="*/ 52 w 187"/>
                <a:gd name="T77" fmla="*/ 235 h 239"/>
                <a:gd name="T78" fmla="*/ 80 w 187"/>
                <a:gd name="T79" fmla="*/ 239 h 239"/>
                <a:gd name="T80" fmla="*/ 91 w 187"/>
                <a:gd name="T81" fmla="*/ 238 h 239"/>
                <a:gd name="T82" fmla="*/ 109 w 187"/>
                <a:gd name="T83" fmla="*/ 234 h 239"/>
                <a:gd name="T84" fmla="*/ 116 w 187"/>
                <a:gd name="T85" fmla="*/ 231 h 239"/>
                <a:gd name="T86" fmla="*/ 134 w 187"/>
                <a:gd name="T87" fmla="*/ 218 h 239"/>
                <a:gd name="T88" fmla="*/ 142 w 187"/>
                <a:gd name="T89" fmla="*/ 234 h 239"/>
                <a:gd name="T90" fmla="*/ 142 w 187"/>
                <a:gd name="T91" fmla="*/ 169 h 239"/>
                <a:gd name="T92" fmla="*/ 138 w 187"/>
                <a:gd name="T93" fmla="*/ 174 h 239"/>
                <a:gd name="T94" fmla="*/ 127 w 187"/>
                <a:gd name="T95" fmla="*/ 185 h 239"/>
                <a:gd name="T96" fmla="*/ 112 w 187"/>
                <a:gd name="T97" fmla="*/ 193 h 239"/>
                <a:gd name="T98" fmla="*/ 96 w 187"/>
                <a:gd name="T99" fmla="*/ 198 h 239"/>
                <a:gd name="T100" fmla="*/ 87 w 187"/>
                <a:gd name="T101" fmla="*/ 198 h 239"/>
                <a:gd name="T102" fmla="*/ 69 w 187"/>
                <a:gd name="T103" fmla="*/ 196 h 239"/>
                <a:gd name="T104" fmla="*/ 56 w 187"/>
                <a:gd name="T105" fmla="*/ 189 h 239"/>
                <a:gd name="T106" fmla="*/ 51 w 187"/>
                <a:gd name="T107" fmla="*/ 184 h 239"/>
                <a:gd name="T108" fmla="*/ 44 w 187"/>
                <a:gd name="T109" fmla="*/ 170 h 239"/>
                <a:gd name="T110" fmla="*/ 43 w 187"/>
                <a:gd name="T111" fmla="*/ 160 h 239"/>
                <a:gd name="T112" fmla="*/ 46 w 187"/>
                <a:gd name="T113" fmla="*/ 146 h 239"/>
                <a:gd name="T114" fmla="*/ 56 w 187"/>
                <a:gd name="T115" fmla="*/ 136 h 239"/>
                <a:gd name="T116" fmla="*/ 70 w 187"/>
                <a:gd name="T117" fmla="*/ 129 h 239"/>
                <a:gd name="T118" fmla="*/ 90 w 187"/>
                <a:gd name="T119" fmla="*/ 126 h 239"/>
                <a:gd name="T120" fmla="*/ 107 w 187"/>
                <a:gd name="T121" fmla="*/ 127 h 239"/>
                <a:gd name="T122" fmla="*/ 120 w 187"/>
                <a:gd name="T123" fmla="*/ 129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4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8"/>
                  </a:lnTo>
                  <a:lnTo>
                    <a:pt x="186" y="59"/>
                  </a:lnTo>
                  <a:lnTo>
                    <a:pt x="184" y="51"/>
                  </a:lnTo>
                  <a:lnTo>
                    <a:pt x="181" y="43"/>
                  </a:lnTo>
                  <a:lnTo>
                    <a:pt x="178" y="36"/>
                  </a:lnTo>
                  <a:lnTo>
                    <a:pt x="174" y="30"/>
                  </a:lnTo>
                  <a:lnTo>
                    <a:pt x="169" y="24"/>
                  </a:lnTo>
                  <a:lnTo>
                    <a:pt x="164" y="19"/>
                  </a:lnTo>
                  <a:lnTo>
                    <a:pt x="158" y="15"/>
                  </a:lnTo>
                  <a:lnTo>
                    <a:pt x="150" y="11"/>
                  </a:lnTo>
                  <a:lnTo>
                    <a:pt x="143" y="8"/>
                  </a:lnTo>
                  <a:lnTo>
                    <a:pt x="135" y="5"/>
                  </a:lnTo>
                  <a:lnTo>
                    <a:pt x="127" y="3"/>
                  </a:lnTo>
                  <a:lnTo>
                    <a:pt x="119" y="2"/>
                  </a:lnTo>
                  <a:lnTo>
                    <a:pt x="110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7" y="3"/>
                  </a:lnTo>
                  <a:lnTo>
                    <a:pt x="57" y="6"/>
                  </a:lnTo>
                  <a:lnTo>
                    <a:pt x="48" y="8"/>
                  </a:lnTo>
                  <a:lnTo>
                    <a:pt x="39" y="12"/>
                  </a:lnTo>
                  <a:lnTo>
                    <a:pt x="30" y="16"/>
                  </a:lnTo>
                  <a:lnTo>
                    <a:pt x="22" y="21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53" y="48"/>
                  </a:lnTo>
                  <a:lnTo>
                    <a:pt x="67" y="44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1" y="51"/>
                  </a:lnTo>
                  <a:lnTo>
                    <a:pt x="136" y="56"/>
                  </a:lnTo>
                  <a:lnTo>
                    <a:pt x="140" y="63"/>
                  </a:lnTo>
                  <a:lnTo>
                    <a:pt x="142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3"/>
                  </a:lnTo>
                  <a:lnTo>
                    <a:pt x="122" y="90"/>
                  </a:lnTo>
                  <a:lnTo>
                    <a:pt x="108" y="88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73" y="89"/>
                  </a:lnTo>
                  <a:lnTo>
                    <a:pt x="64" y="90"/>
                  </a:lnTo>
                  <a:lnTo>
                    <a:pt x="55" y="92"/>
                  </a:lnTo>
                  <a:lnTo>
                    <a:pt x="47" y="94"/>
                  </a:lnTo>
                  <a:lnTo>
                    <a:pt x="40" y="98"/>
                  </a:lnTo>
                  <a:lnTo>
                    <a:pt x="33" y="101"/>
                  </a:lnTo>
                  <a:lnTo>
                    <a:pt x="26" y="105"/>
                  </a:lnTo>
                  <a:lnTo>
                    <a:pt x="21" y="110"/>
                  </a:lnTo>
                  <a:lnTo>
                    <a:pt x="15" y="116"/>
                  </a:lnTo>
                  <a:lnTo>
                    <a:pt x="11" y="122"/>
                  </a:lnTo>
                  <a:lnTo>
                    <a:pt x="7" y="129"/>
                  </a:lnTo>
                  <a:lnTo>
                    <a:pt x="4" y="136"/>
                  </a:lnTo>
                  <a:lnTo>
                    <a:pt x="2" y="144"/>
                  </a:lnTo>
                  <a:lnTo>
                    <a:pt x="1" y="152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1" y="172"/>
                  </a:lnTo>
                  <a:lnTo>
                    <a:pt x="2" y="181"/>
                  </a:lnTo>
                  <a:lnTo>
                    <a:pt x="4" y="190"/>
                  </a:lnTo>
                  <a:lnTo>
                    <a:pt x="7" y="197"/>
                  </a:lnTo>
                  <a:lnTo>
                    <a:pt x="11" y="204"/>
                  </a:lnTo>
                  <a:lnTo>
                    <a:pt x="16" y="211"/>
                  </a:lnTo>
                  <a:lnTo>
                    <a:pt x="21" y="216"/>
                  </a:lnTo>
                  <a:lnTo>
                    <a:pt x="26" y="221"/>
                  </a:lnTo>
                  <a:lnTo>
                    <a:pt x="32" y="226"/>
                  </a:lnTo>
                  <a:lnTo>
                    <a:pt x="38" y="229"/>
                  </a:lnTo>
                  <a:lnTo>
                    <a:pt x="45" y="232"/>
                  </a:lnTo>
                  <a:lnTo>
                    <a:pt x="52" y="235"/>
                  </a:lnTo>
                  <a:lnTo>
                    <a:pt x="66" y="238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91" y="238"/>
                  </a:lnTo>
                  <a:lnTo>
                    <a:pt x="100" y="236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3"/>
                  </a:lnTo>
                  <a:lnTo>
                    <a:pt x="134" y="218"/>
                  </a:lnTo>
                  <a:lnTo>
                    <a:pt x="142" y="211"/>
                  </a:lnTo>
                  <a:lnTo>
                    <a:pt x="142" y="234"/>
                  </a:lnTo>
                  <a:lnTo>
                    <a:pt x="187" y="234"/>
                  </a:lnTo>
                  <a:close/>
                  <a:moveTo>
                    <a:pt x="142" y="169"/>
                  </a:moveTo>
                  <a:lnTo>
                    <a:pt x="142" y="169"/>
                  </a:lnTo>
                  <a:lnTo>
                    <a:pt x="138" y="174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89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6" y="198"/>
                  </a:lnTo>
                  <a:lnTo>
                    <a:pt x="87" y="198"/>
                  </a:lnTo>
                  <a:lnTo>
                    <a:pt x="87" y="198"/>
                  </a:lnTo>
                  <a:lnTo>
                    <a:pt x="77" y="198"/>
                  </a:lnTo>
                  <a:lnTo>
                    <a:pt x="69" y="196"/>
                  </a:lnTo>
                  <a:lnTo>
                    <a:pt x="62" y="193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1" y="184"/>
                  </a:lnTo>
                  <a:lnTo>
                    <a:pt x="47" y="178"/>
                  </a:lnTo>
                  <a:lnTo>
                    <a:pt x="44" y="170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4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6" y="136"/>
                  </a:lnTo>
                  <a:lnTo>
                    <a:pt x="62" y="132"/>
                  </a:lnTo>
                  <a:lnTo>
                    <a:pt x="70" y="129"/>
                  </a:lnTo>
                  <a:lnTo>
                    <a:pt x="80" y="127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7" y="127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31" y="132"/>
                  </a:lnTo>
                  <a:lnTo>
                    <a:pt x="142" y="136"/>
                  </a:lnTo>
                  <a:lnTo>
                    <a:pt x="142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9" name="Freeform 108"/>
            <p:cNvSpPr>
              <a:spLocks/>
            </p:cNvSpPr>
            <p:nvPr userDrawn="1"/>
          </p:nvSpPr>
          <p:spPr bwMode="auto">
            <a:xfrm>
              <a:off x="2366963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0" name="Freeform 109"/>
            <p:cNvSpPr>
              <a:spLocks noEditPoints="1"/>
            </p:cNvSpPr>
            <p:nvPr userDrawn="1"/>
          </p:nvSpPr>
          <p:spPr bwMode="auto">
            <a:xfrm>
              <a:off x="2497138" y="6151563"/>
              <a:ext cx="77788" cy="95250"/>
            </a:xfrm>
            <a:custGeom>
              <a:avLst/>
              <a:gdLst>
                <a:gd name="T0" fmla="*/ 198 w 198"/>
                <a:gd name="T1" fmla="*/ 115 h 239"/>
                <a:gd name="T2" fmla="*/ 197 w 198"/>
                <a:gd name="T3" fmla="*/ 92 h 239"/>
                <a:gd name="T4" fmla="*/ 192 w 198"/>
                <a:gd name="T5" fmla="*/ 71 h 239"/>
                <a:gd name="T6" fmla="*/ 185 w 198"/>
                <a:gd name="T7" fmla="*/ 52 h 239"/>
                <a:gd name="T8" fmla="*/ 174 w 198"/>
                <a:gd name="T9" fmla="*/ 34 h 239"/>
                <a:gd name="T10" fmla="*/ 161 w 198"/>
                <a:gd name="T11" fmla="*/ 20 h 239"/>
                <a:gd name="T12" fmla="*/ 144 w 198"/>
                <a:gd name="T13" fmla="*/ 10 h 239"/>
                <a:gd name="T14" fmla="*/ 125 w 198"/>
                <a:gd name="T15" fmla="*/ 3 h 239"/>
                <a:gd name="T16" fmla="*/ 102 w 198"/>
                <a:gd name="T17" fmla="*/ 0 h 239"/>
                <a:gd name="T18" fmla="*/ 90 w 198"/>
                <a:gd name="T19" fmla="*/ 1 h 239"/>
                <a:gd name="T20" fmla="*/ 69 w 198"/>
                <a:gd name="T21" fmla="*/ 5 h 239"/>
                <a:gd name="T22" fmla="*/ 51 w 198"/>
                <a:gd name="T23" fmla="*/ 12 h 239"/>
                <a:gd name="T24" fmla="*/ 35 w 198"/>
                <a:gd name="T25" fmla="*/ 24 h 239"/>
                <a:gd name="T26" fmla="*/ 22 w 198"/>
                <a:gd name="T27" fmla="*/ 39 h 239"/>
                <a:gd name="T28" fmla="*/ 12 w 198"/>
                <a:gd name="T29" fmla="*/ 58 h 239"/>
                <a:gd name="T30" fmla="*/ 5 w 198"/>
                <a:gd name="T31" fmla="*/ 80 h 239"/>
                <a:gd name="T32" fmla="*/ 1 w 198"/>
                <a:gd name="T33" fmla="*/ 106 h 239"/>
                <a:gd name="T34" fmla="*/ 0 w 198"/>
                <a:gd name="T35" fmla="*/ 120 h 239"/>
                <a:gd name="T36" fmla="*/ 3 w 198"/>
                <a:gd name="T37" fmla="*/ 148 h 239"/>
                <a:gd name="T38" fmla="*/ 9 w 198"/>
                <a:gd name="T39" fmla="*/ 172 h 239"/>
                <a:gd name="T40" fmla="*/ 19 w 198"/>
                <a:gd name="T41" fmla="*/ 193 h 239"/>
                <a:gd name="T42" fmla="*/ 31 w 198"/>
                <a:gd name="T43" fmla="*/ 209 h 239"/>
                <a:gd name="T44" fmla="*/ 37 w 198"/>
                <a:gd name="T45" fmla="*/ 215 h 239"/>
                <a:gd name="T46" fmla="*/ 51 w 198"/>
                <a:gd name="T47" fmla="*/ 226 h 239"/>
                <a:gd name="T48" fmla="*/ 68 w 198"/>
                <a:gd name="T49" fmla="*/ 234 h 239"/>
                <a:gd name="T50" fmla="*/ 88 w 198"/>
                <a:gd name="T51" fmla="*/ 238 h 239"/>
                <a:gd name="T52" fmla="*/ 100 w 198"/>
                <a:gd name="T53" fmla="*/ 239 h 239"/>
                <a:gd name="T54" fmla="*/ 126 w 198"/>
                <a:gd name="T55" fmla="*/ 237 h 239"/>
                <a:gd name="T56" fmla="*/ 146 w 198"/>
                <a:gd name="T57" fmla="*/ 231 h 239"/>
                <a:gd name="T58" fmla="*/ 155 w 198"/>
                <a:gd name="T59" fmla="*/ 227 h 239"/>
                <a:gd name="T60" fmla="*/ 171 w 198"/>
                <a:gd name="T61" fmla="*/ 216 h 239"/>
                <a:gd name="T62" fmla="*/ 153 w 198"/>
                <a:gd name="T63" fmla="*/ 180 h 239"/>
                <a:gd name="T64" fmla="*/ 141 w 198"/>
                <a:gd name="T65" fmla="*/ 188 h 239"/>
                <a:gd name="T66" fmla="*/ 130 w 198"/>
                <a:gd name="T67" fmla="*/ 193 h 239"/>
                <a:gd name="T68" fmla="*/ 117 w 198"/>
                <a:gd name="T69" fmla="*/ 197 h 239"/>
                <a:gd name="T70" fmla="*/ 103 w 198"/>
                <a:gd name="T71" fmla="*/ 198 h 239"/>
                <a:gd name="T72" fmla="*/ 93 w 198"/>
                <a:gd name="T73" fmla="*/ 197 h 239"/>
                <a:gd name="T74" fmla="*/ 73 w 198"/>
                <a:gd name="T75" fmla="*/ 190 h 239"/>
                <a:gd name="T76" fmla="*/ 58 w 198"/>
                <a:gd name="T77" fmla="*/ 175 h 239"/>
                <a:gd name="T78" fmla="*/ 47 w 198"/>
                <a:gd name="T79" fmla="*/ 151 h 239"/>
                <a:gd name="T80" fmla="*/ 197 w 198"/>
                <a:gd name="T81" fmla="*/ 136 h 239"/>
                <a:gd name="T82" fmla="*/ 198 w 198"/>
                <a:gd name="T83" fmla="*/ 127 h 239"/>
                <a:gd name="T84" fmla="*/ 198 w 198"/>
                <a:gd name="T85" fmla="*/ 115 h 239"/>
                <a:gd name="T86" fmla="*/ 45 w 198"/>
                <a:gd name="T87" fmla="*/ 98 h 239"/>
                <a:gd name="T88" fmla="*/ 51 w 198"/>
                <a:gd name="T89" fmla="*/ 74 h 239"/>
                <a:gd name="T90" fmla="*/ 61 w 198"/>
                <a:gd name="T91" fmla="*/ 56 h 239"/>
                <a:gd name="T92" fmla="*/ 77 w 198"/>
                <a:gd name="T93" fmla="*/ 45 h 239"/>
                <a:gd name="T94" fmla="*/ 99 w 198"/>
                <a:gd name="T95" fmla="*/ 41 h 239"/>
                <a:gd name="T96" fmla="*/ 105 w 198"/>
                <a:gd name="T97" fmla="*/ 41 h 239"/>
                <a:gd name="T98" fmla="*/ 117 w 198"/>
                <a:gd name="T99" fmla="*/ 44 h 239"/>
                <a:gd name="T100" fmla="*/ 127 w 198"/>
                <a:gd name="T101" fmla="*/ 48 h 239"/>
                <a:gd name="T102" fmla="*/ 139 w 198"/>
                <a:gd name="T103" fmla="*/ 58 h 239"/>
                <a:gd name="T104" fmla="*/ 149 w 198"/>
                <a:gd name="T105" fmla="*/ 76 h 239"/>
                <a:gd name="T106" fmla="*/ 153 w 198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8" h="239">
                  <a:moveTo>
                    <a:pt x="198" y="115"/>
                  </a:moveTo>
                  <a:lnTo>
                    <a:pt x="198" y="115"/>
                  </a:lnTo>
                  <a:lnTo>
                    <a:pt x="198" y="104"/>
                  </a:lnTo>
                  <a:lnTo>
                    <a:pt x="197" y="92"/>
                  </a:lnTo>
                  <a:lnTo>
                    <a:pt x="195" y="81"/>
                  </a:lnTo>
                  <a:lnTo>
                    <a:pt x="192" y="71"/>
                  </a:lnTo>
                  <a:lnTo>
                    <a:pt x="189" y="61"/>
                  </a:lnTo>
                  <a:lnTo>
                    <a:pt x="185" y="52"/>
                  </a:lnTo>
                  <a:lnTo>
                    <a:pt x="180" y="43"/>
                  </a:lnTo>
                  <a:lnTo>
                    <a:pt x="174" y="34"/>
                  </a:lnTo>
                  <a:lnTo>
                    <a:pt x="168" y="27"/>
                  </a:lnTo>
                  <a:lnTo>
                    <a:pt x="161" y="20"/>
                  </a:lnTo>
                  <a:lnTo>
                    <a:pt x="153" y="14"/>
                  </a:lnTo>
                  <a:lnTo>
                    <a:pt x="144" y="10"/>
                  </a:lnTo>
                  <a:lnTo>
                    <a:pt x="135" y="6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69" y="5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2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8"/>
                  </a:lnTo>
                  <a:lnTo>
                    <a:pt x="5" y="80"/>
                  </a:lnTo>
                  <a:lnTo>
                    <a:pt x="2" y="92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4"/>
                  </a:lnTo>
                  <a:lnTo>
                    <a:pt x="3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4" y="183"/>
                  </a:lnTo>
                  <a:lnTo>
                    <a:pt x="19" y="193"/>
                  </a:lnTo>
                  <a:lnTo>
                    <a:pt x="25" y="201"/>
                  </a:lnTo>
                  <a:lnTo>
                    <a:pt x="31" y="209"/>
                  </a:lnTo>
                  <a:lnTo>
                    <a:pt x="31" y="209"/>
                  </a:lnTo>
                  <a:lnTo>
                    <a:pt x="37" y="215"/>
                  </a:lnTo>
                  <a:lnTo>
                    <a:pt x="44" y="220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6"/>
                  </a:lnTo>
                  <a:lnTo>
                    <a:pt x="88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4" y="238"/>
                  </a:lnTo>
                  <a:lnTo>
                    <a:pt x="126" y="237"/>
                  </a:lnTo>
                  <a:lnTo>
                    <a:pt x="137" y="234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5" y="227"/>
                  </a:lnTo>
                  <a:lnTo>
                    <a:pt x="163" y="222"/>
                  </a:lnTo>
                  <a:lnTo>
                    <a:pt x="171" y="216"/>
                  </a:lnTo>
                  <a:lnTo>
                    <a:pt x="179" y="209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41" y="188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24" y="195"/>
                  </a:lnTo>
                  <a:lnTo>
                    <a:pt x="117" y="197"/>
                  </a:lnTo>
                  <a:lnTo>
                    <a:pt x="110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93" y="197"/>
                  </a:lnTo>
                  <a:lnTo>
                    <a:pt x="82" y="195"/>
                  </a:lnTo>
                  <a:lnTo>
                    <a:pt x="73" y="190"/>
                  </a:lnTo>
                  <a:lnTo>
                    <a:pt x="65" y="183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7" y="151"/>
                  </a:lnTo>
                  <a:lnTo>
                    <a:pt x="45" y="136"/>
                  </a:lnTo>
                  <a:lnTo>
                    <a:pt x="197" y="136"/>
                  </a:lnTo>
                  <a:lnTo>
                    <a:pt x="197" y="136"/>
                  </a:lnTo>
                  <a:lnTo>
                    <a:pt x="198" y="127"/>
                  </a:lnTo>
                  <a:lnTo>
                    <a:pt x="198" y="115"/>
                  </a:lnTo>
                  <a:lnTo>
                    <a:pt x="198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1" y="74"/>
                  </a:lnTo>
                  <a:lnTo>
                    <a:pt x="56" y="64"/>
                  </a:lnTo>
                  <a:lnTo>
                    <a:pt x="61" y="56"/>
                  </a:lnTo>
                  <a:lnTo>
                    <a:pt x="69" y="49"/>
                  </a:lnTo>
                  <a:lnTo>
                    <a:pt x="77" y="45"/>
                  </a:lnTo>
                  <a:lnTo>
                    <a:pt x="87" y="42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105" y="41"/>
                  </a:lnTo>
                  <a:lnTo>
                    <a:pt x="112" y="42"/>
                  </a:lnTo>
                  <a:lnTo>
                    <a:pt x="117" y="44"/>
                  </a:lnTo>
                  <a:lnTo>
                    <a:pt x="122" y="45"/>
                  </a:lnTo>
                  <a:lnTo>
                    <a:pt x="127" y="48"/>
                  </a:lnTo>
                  <a:lnTo>
                    <a:pt x="132" y="51"/>
                  </a:lnTo>
                  <a:lnTo>
                    <a:pt x="139" y="58"/>
                  </a:lnTo>
                  <a:lnTo>
                    <a:pt x="144" y="66"/>
                  </a:lnTo>
                  <a:lnTo>
                    <a:pt x="149" y="76"/>
                  </a:lnTo>
                  <a:lnTo>
                    <a:pt x="151" y="87"/>
                  </a:lnTo>
                  <a:lnTo>
                    <a:pt x="153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1" name="Freeform 110"/>
            <p:cNvSpPr>
              <a:spLocks/>
            </p:cNvSpPr>
            <p:nvPr userDrawn="1"/>
          </p:nvSpPr>
          <p:spPr bwMode="auto">
            <a:xfrm>
              <a:off x="2590800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2" name="Freeform 111"/>
            <p:cNvSpPr>
              <a:spLocks/>
            </p:cNvSpPr>
            <p:nvPr userDrawn="1"/>
          </p:nvSpPr>
          <p:spPr bwMode="auto">
            <a:xfrm>
              <a:off x="2671763" y="6153151"/>
              <a:ext cx="73025" cy="92075"/>
            </a:xfrm>
            <a:custGeom>
              <a:avLst/>
              <a:gdLst>
                <a:gd name="T0" fmla="*/ 185 w 185"/>
                <a:gd name="T1" fmla="*/ 39 h 229"/>
                <a:gd name="T2" fmla="*/ 185 w 185"/>
                <a:gd name="T3" fmla="*/ 0 h 229"/>
                <a:gd name="T4" fmla="*/ 0 w 185"/>
                <a:gd name="T5" fmla="*/ 0 h 229"/>
                <a:gd name="T6" fmla="*/ 0 w 185"/>
                <a:gd name="T7" fmla="*/ 39 h 229"/>
                <a:gd name="T8" fmla="*/ 69 w 185"/>
                <a:gd name="T9" fmla="*/ 39 h 229"/>
                <a:gd name="T10" fmla="*/ 69 w 185"/>
                <a:gd name="T11" fmla="*/ 229 h 229"/>
                <a:gd name="T12" fmla="*/ 114 w 185"/>
                <a:gd name="T13" fmla="*/ 229 h 229"/>
                <a:gd name="T14" fmla="*/ 114 w 185"/>
                <a:gd name="T15" fmla="*/ 39 h 229"/>
                <a:gd name="T16" fmla="*/ 185 w 185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185" y="39"/>
                  </a:moveTo>
                  <a:lnTo>
                    <a:pt x="185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9" y="39"/>
                  </a:lnTo>
                  <a:lnTo>
                    <a:pt x="69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5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3" name="Freeform 112"/>
            <p:cNvSpPr>
              <a:spLocks noEditPoints="1"/>
            </p:cNvSpPr>
            <p:nvPr userDrawn="1"/>
          </p:nvSpPr>
          <p:spPr bwMode="auto">
            <a:xfrm>
              <a:off x="2757488" y="6153151"/>
              <a:ext cx="74613" cy="92075"/>
            </a:xfrm>
            <a:custGeom>
              <a:avLst/>
              <a:gdLst>
                <a:gd name="T0" fmla="*/ 45 w 184"/>
                <a:gd name="T1" fmla="*/ 0 h 229"/>
                <a:gd name="T2" fmla="*/ 0 w 184"/>
                <a:gd name="T3" fmla="*/ 0 h 229"/>
                <a:gd name="T4" fmla="*/ 0 w 184"/>
                <a:gd name="T5" fmla="*/ 229 h 229"/>
                <a:gd name="T6" fmla="*/ 106 w 184"/>
                <a:gd name="T7" fmla="*/ 229 h 229"/>
                <a:gd name="T8" fmla="*/ 106 w 184"/>
                <a:gd name="T9" fmla="*/ 229 h 229"/>
                <a:gd name="T10" fmla="*/ 114 w 184"/>
                <a:gd name="T11" fmla="*/ 229 h 229"/>
                <a:gd name="T12" fmla="*/ 122 w 184"/>
                <a:gd name="T13" fmla="*/ 228 h 229"/>
                <a:gd name="T14" fmla="*/ 130 w 184"/>
                <a:gd name="T15" fmla="*/ 226 h 229"/>
                <a:gd name="T16" fmla="*/ 137 w 184"/>
                <a:gd name="T17" fmla="*/ 224 h 229"/>
                <a:gd name="T18" fmla="*/ 144 w 184"/>
                <a:gd name="T19" fmla="*/ 222 h 229"/>
                <a:gd name="T20" fmla="*/ 151 w 184"/>
                <a:gd name="T21" fmla="*/ 218 h 229"/>
                <a:gd name="T22" fmla="*/ 157 w 184"/>
                <a:gd name="T23" fmla="*/ 214 h 229"/>
                <a:gd name="T24" fmla="*/ 162 w 184"/>
                <a:gd name="T25" fmla="*/ 210 h 229"/>
                <a:gd name="T26" fmla="*/ 167 w 184"/>
                <a:gd name="T27" fmla="*/ 205 h 229"/>
                <a:gd name="T28" fmla="*/ 172 w 184"/>
                <a:gd name="T29" fmla="*/ 200 h 229"/>
                <a:gd name="T30" fmla="*/ 175 w 184"/>
                <a:gd name="T31" fmla="*/ 193 h 229"/>
                <a:gd name="T32" fmla="*/ 178 w 184"/>
                <a:gd name="T33" fmla="*/ 187 h 229"/>
                <a:gd name="T34" fmla="*/ 181 w 184"/>
                <a:gd name="T35" fmla="*/ 180 h 229"/>
                <a:gd name="T36" fmla="*/ 183 w 184"/>
                <a:gd name="T37" fmla="*/ 172 h 229"/>
                <a:gd name="T38" fmla="*/ 184 w 184"/>
                <a:gd name="T39" fmla="*/ 163 h 229"/>
                <a:gd name="T40" fmla="*/ 184 w 184"/>
                <a:gd name="T41" fmla="*/ 154 h 229"/>
                <a:gd name="T42" fmla="*/ 184 w 184"/>
                <a:gd name="T43" fmla="*/ 154 h 229"/>
                <a:gd name="T44" fmla="*/ 184 w 184"/>
                <a:gd name="T45" fmla="*/ 146 h 229"/>
                <a:gd name="T46" fmla="*/ 183 w 184"/>
                <a:gd name="T47" fmla="*/ 137 h 229"/>
                <a:gd name="T48" fmla="*/ 181 w 184"/>
                <a:gd name="T49" fmla="*/ 130 h 229"/>
                <a:gd name="T50" fmla="*/ 178 w 184"/>
                <a:gd name="T51" fmla="*/ 122 h 229"/>
                <a:gd name="T52" fmla="*/ 175 w 184"/>
                <a:gd name="T53" fmla="*/ 116 h 229"/>
                <a:gd name="T54" fmla="*/ 172 w 184"/>
                <a:gd name="T55" fmla="*/ 110 h 229"/>
                <a:gd name="T56" fmla="*/ 167 w 184"/>
                <a:gd name="T57" fmla="*/ 104 h 229"/>
                <a:gd name="T58" fmla="*/ 163 w 184"/>
                <a:gd name="T59" fmla="*/ 99 h 229"/>
                <a:gd name="T60" fmla="*/ 157 w 184"/>
                <a:gd name="T61" fmla="*/ 95 h 229"/>
                <a:gd name="T62" fmla="*/ 151 w 184"/>
                <a:gd name="T63" fmla="*/ 91 h 229"/>
                <a:gd name="T64" fmla="*/ 145 w 184"/>
                <a:gd name="T65" fmla="*/ 88 h 229"/>
                <a:gd name="T66" fmla="*/ 139 w 184"/>
                <a:gd name="T67" fmla="*/ 85 h 229"/>
                <a:gd name="T68" fmla="*/ 132 w 184"/>
                <a:gd name="T69" fmla="*/ 83 h 229"/>
                <a:gd name="T70" fmla="*/ 124 w 184"/>
                <a:gd name="T71" fmla="*/ 82 h 229"/>
                <a:gd name="T72" fmla="*/ 116 w 184"/>
                <a:gd name="T73" fmla="*/ 81 h 229"/>
                <a:gd name="T74" fmla="*/ 108 w 184"/>
                <a:gd name="T75" fmla="*/ 81 h 229"/>
                <a:gd name="T76" fmla="*/ 45 w 184"/>
                <a:gd name="T77" fmla="*/ 81 h 229"/>
                <a:gd name="T78" fmla="*/ 45 w 184"/>
                <a:gd name="T79" fmla="*/ 0 h 229"/>
                <a:gd name="T80" fmla="*/ 45 w 184"/>
                <a:gd name="T81" fmla="*/ 192 h 229"/>
                <a:gd name="T82" fmla="*/ 45 w 184"/>
                <a:gd name="T83" fmla="*/ 118 h 229"/>
                <a:gd name="T84" fmla="*/ 102 w 184"/>
                <a:gd name="T85" fmla="*/ 118 h 229"/>
                <a:gd name="T86" fmla="*/ 102 w 184"/>
                <a:gd name="T87" fmla="*/ 118 h 229"/>
                <a:gd name="T88" fmla="*/ 110 w 184"/>
                <a:gd name="T89" fmla="*/ 118 h 229"/>
                <a:gd name="T90" fmla="*/ 118 w 184"/>
                <a:gd name="T91" fmla="*/ 120 h 229"/>
                <a:gd name="T92" fmla="*/ 124 w 184"/>
                <a:gd name="T93" fmla="*/ 123 h 229"/>
                <a:gd name="T94" fmla="*/ 129 w 184"/>
                <a:gd name="T95" fmla="*/ 127 h 229"/>
                <a:gd name="T96" fmla="*/ 134 w 184"/>
                <a:gd name="T97" fmla="*/ 133 h 229"/>
                <a:gd name="T98" fmla="*/ 137 w 184"/>
                <a:gd name="T99" fmla="*/ 139 h 229"/>
                <a:gd name="T100" fmla="*/ 139 w 184"/>
                <a:gd name="T101" fmla="*/ 146 h 229"/>
                <a:gd name="T102" fmla="*/ 139 w 184"/>
                <a:gd name="T103" fmla="*/ 155 h 229"/>
                <a:gd name="T104" fmla="*/ 139 w 184"/>
                <a:gd name="T105" fmla="*/ 155 h 229"/>
                <a:gd name="T106" fmla="*/ 139 w 184"/>
                <a:gd name="T107" fmla="*/ 163 h 229"/>
                <a:gd name="T108" fmla="*/ 137 w 184"/>
                <a:gd name="T109" fmla="*/ 170 h 229"/>
                <a:gd name="T110" fmla="*/ 134 w 184"/>
                <a:gd name="T111" fmla="*/ 177 h 229"/>
                <a:gd name="T112" fmla="*/ 130 w 184"/>
                <a:gd name="T113" fmla="*/ 182 h 229"/>
                <a:gd name="T114" fmla="*/ 125 w 184"/>
                <a:gd name="T115" fmla="*/ 186 h 229"/>
                <a:gd name="T116" fmla="*/ 119 w 184"/>
                <a:gd name="T117" fmla="*/ 189 h 229"/>
                <a:gd name="T118" fmla="*/ 111 w 184"/>
                <a:gd name="T119" fmla="*/ 191 h 229"/>
                <a:gd name="T120" fmla="*/ 102 w 184"/>
                <a:gd name="T121" fmla="*/ 192 h 229"/>
                <a:gd name="T122" fmla="*/ 45 w 184"/>
                <a:gd name="T123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4" h="229">
                  <a:moveTo>
                    <a:pt x="45" y="0"/>
                  </a:moveTo>
                  <a:lnTo>
                    <a:pt x="0" y="0"/>
                  </a:ln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14" y="229"/>
                  </a:lnTo>
                  <a:lnTo>
                    <a:pt x="122" y="228"/>
                  </a:lnTo>
                  <a:lnTo>
                    <a:pt x="130" y="226"/>
                  </a:lnTo>
                  <a:lnTo>
                    <a:pt x="137" y="224"/>
                  </a:lnTo>
                  <a:lnTo>
                    <a:pt x="144" y="222"/>
                  </a:lnTo>
                  <a:lnTo>
                    <a:pt x="151" y="218"/>
                  </a:lnTo>
                  <a:lnTo>
                    <a:pt x="157" y="214"/>
                  </a:lnTo>
                  <a:lnTo>
                    <a:pt x="162" y="210"/>
                  </a:lnTo>
                  <a:lnTo>
                    <a:pt x="167" y="205"/>
                  </a:lnTo>
                  <a:lnTo>
                    <a:pt x="172" y="200"/>
                  </a:lnTo>
                  <a:lnTo>
                    <a:pt x="175" y="193"/>
                  </a:lnTo>
                  <a:lnTo>
                    <a:pt x="178" y="187"/>
                  </a:lnTo>
                  <a:lnTo>
                    <a:pt x="181" y="180"/>
                  </a:lnTo>
                  <a:lnTo>
                    <a:pt x="183" y="172"/>
                  </a:lnTo>
                  <a:lnTo>
                    <a:pt x="184" y="163"/>
                  </a:lnTo>
                  <a:lnTo>
                    <a:pt x="184" y="154"/>
                  </a:lnTo>
                  <a:lnTo>
                    <a:pt x="184" y="154"/>
                  </a:lnTo>
                  <a:lnTo>
                    <a:pt x="184" y="146"/>
                  </a:lnTo>
                  <a:lnTo>
                    <a:pt x="183" y="137"/>
                  </a:lnTo>
                  <a:lnTo>
                    <a:pt x="181" y="130"/>
                  </a:lnTo>
                  <a:lnTo>
                    <a:pt x="178" y="122"/>
                  </a:lnTo>
                  <a:lnTo>
                    <a:pt x="175" y="116"/>
                  </a:lnTo>
                  <a:lnTo>
                    <a:pt x="172" y="110"/>
                  </a:lnTo>
                  <a:lnTo>
                    <a:pt x="167" y="104"/>
                  </a:lnTo>
                  <a:lnTo>
                    <a:pt x="163" y="99"/>
                  </a:lnTo>
                  <a:lnTo>
                    <a:pt x="157" y="95"/>
                  </a:lnTo>
                  <a:lnTo>
                    <a:pt x="151" y="91"/>
                  </a:lnTo>
                  <a:lnTo>
                    <a:pt x="145" y="88"/>
                  </a:lnTo>
                  <a:lnTo>
                    <a:pt x="139" y="85"/>
                  </a:lnTo>
                  <a:lnTo>
                    <a:pt x="132" y="83"/>
                  </a:lnTo>
                  <a:lnTo>
                    <a:pt x="124" y="82"/>
                  </a:lnTo>
                  <a:lnTo>
                    <a:pt x="116" y="81"/>
                  </a:lnTo>
                  <a:lnTo>
                    <a:pt x="108" y="81"/>
                  </a:lnTo>
                  <a:lnTo>
                    <a:pt x="45" y="81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10" y="118"/>
                  </a:lnTo>
                  <a:lnTo>
                    <a:pt x="118" y="120"/>
                  </a:lnTo>
                  <a:lnTo>
                    <a:pt x="124" y="123"/>
                  </a:lnTo>
                  <a:lnTo>
                    <a:pt x="129" y="127"/>
                  </a:lnTo>
                  <a:lnTo>
                    <a:pt x="134" y="133"/>
                  </a:lnTo>
                  <a:lnTo>
                    <a:pt x="137" y="139"/>
                  </a:lnTo>
                  <a:lnTo>
                    <a:pt x="139" y="146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9" y="163"/>
                  </a:lnTo>
                  <a:lnTo>
                    <a:pt x="137" y="170"/>
                  </a:lnTo>
                  <a:lnTo>
                    <a:pt x="134" y="177"/>
                  </a:lnTo>
                  <a:lnTo>
                    <a:pt x="130" y="182"/>
                  </a:lnTo>
                  <a:lnTo>
                    <a:pt x="125" y="186"/>
                  </a:lnTo>
                  <a:lnTo>
                    <a:pt x="119" y="189"/>
                  </a:lnTo>
                  <a:lnTo>
                    <a:pt x="111" y="191"/>
                  </a:lnTo>
                  <a:lnTo>
                    <a:pt x="102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4" name="Freeform 113"/>
            <p:cNvSpPr>
              <a:spLocks noEditPoints="1"/>
            </p:cNvSpPr>
            <p:nvPr userDrawn="1"/>
          </p:nvSpPr>
          <p:spPr bwMode="auto">
            <a:xfrm>
              <a:off x="2889250" y="6151563"/>
              <a:ext cx="80963" cy="95250"/>
            </a:xfrm>
            <a:custGeom>
              <a:avLst/>
              <a:gdLst>
                <a:gd name="T0" fmla="*/ 205 w 205"/>
                <a:gd name="T1" fmla="*/ 105 h 239"/>
                <a:gd name="T2" fmla="*/ 198 w 205"/>
                <a:gd name="T3" fmla="*/ 70 h 239"/>
                <a:gd name="T4" fmla="*/ 183 w 205"/>
                <a:gd name="T5" fmla="*/ 41 h 239"/>
                <a:gd name="T6" fmla="*/ 161 w 205"/>
                <a:gd name="T7" fmla="*/ 19 h 239"/>
                <a:gd name="T8" fmla="*/ 135 w 205"/>
                <a:gd name="T9" fmla="*/ 5 h 239"/>
                <a:gd name="T10" fmla="*/ 103 w 205"/>
                <a:gd name="T11" fmla="*/ 0 h 239"/>
                <a:gd name="T12" fmla="*/ 81 w 205"/>
                <a:gd name="T13" fmla="*/ 2 h 239"/>
                <a:gd name="T14" fmla="*/ 53 w 205"/>
                <a:gd name="T15" fmla="*/ 13 h 239"/>
                <a:gd name="T16" fmla="*/ 30 w 205"/>
                <a:gd name="T17" fmla="*/ 32 h 239"/>
                <a:gd name="T18" fmla="*/ 12 w 205"/>
                <a:gd name="T19" fmla="*/ 59 h 239"/>
                <a:gd name="T20" fmla="*/ 2 w 205"/>
                <a:gd name="T21" fmla="*/ 93 h 239"/>
                <a:gd name="T22" fmla="*/ 0 w 205"/>
                <a:gd name="T23" fmla="*/ 120 h 239"/>
                <a:gd name="T24" fmla="*/ 5 w 205"/>
                <a:gd name="T25" fmla="*/ 157 h 239"/>
                <a:gd name="T26" fmla="*/ 17 w 205"/>
                <a:gd name="T27" fmla="*/ 189 h 239"/>
                <a:gd name="T28" fmla="*/ 36 w 205"/>
                <a:gd name="T29" fmla="*/ 214 h 239"/>
                <a:gd name="T30" fmla="*/ 61 w 205"/>
                <a:gd name="T31" fmla="*/ 230 h 239"/>
                <a:gd name="T32" fmla="*/ 90 w 205"/>
                <a:gd name="T33" fmla="*/ 238 h 239"/>
                <a:gd name="T34" fmla="*/ 113 w 205"/>
                <a:gd name="T35" fmla="*/ 238 h 239"/>
                <a:gd name="T36" fmla="*/ 143 w 205"/>
                <a:gd name="T37" fmla="*/ 231 h 239"/>
                <a:gd name="T38" fmla="*/ 169 w 205"/>
                <a:gd name="T39" fmla="*/ 214 h 239"/>
                <a:gd name="T40" fmla="*/ 188 w 205"/>
                <a:gd name="T41" fmla="*/ 190 h 239"/>
                <a:gd name="T42" fmla="*/ 201 w 205"/>
                <a:gd name="T43" fmla="*/ 158 h 239"/>
                <a:gd name="T44" fmla="*/ 205 w 205"/>
                <a:gd name="T45" fmla="*/ 119 h 239"/>
                <a:gd name="T46" fmla="*/ 160 w 205"/>
                <a:gd name="T47" fmla="*/ 120 h 239"/>
                <a:gd name="T48" fmla="*/ 151 w 205"/>
                <a:gd name="T49" fmla="*/ 162 h 239"/>
                <a:gd name="T50" fmla="*/ 137 w 205"/>
                <a:gd name="T51" fmla="*/ 183 h 239"/>
                <a:gd name="T52" fmla="*/ 122 w 205"/>
                <a:gd name="T53" fmla="*/ 193 h 239"/>
                <a:gd name="T54" fmla="*/ 104 w 205"/>
                <a:gd name="T55" fmla="*/ 196 h 239"/>
                <a:gd name="T56" fmla="*/ 91 w 205"/>
                <a:gd name="T57" fmla="*/ 195 h 239"/>
                <a:gd name="T58" fmla="*/ 75 w 205"/>
                <a:gd name="T59" fmla="*/ 188 h 239"/>
                <a:gd name="T60" fmla="*/ 62 w 205"/>
                <a:gd name="T61" fmla="*/ 176 h 239"/>
                <a:gd name="T62" fmla="*/ 52 w 205"/>
                <a:gd name="T63" fmla="*/ 159 h 239"/>
                <a:gd name="T64" fmla="*/ 46 w 205"/>
                <a:gd name="T65" fmla="*/ 119 h 239"/>
                <a:gd name="T66" fmla="*/ 50 w 205"/>
                <a:gd name="T67" fmla="*/ 88 h 239"/>
                <a:gd name="T68" fmla="*/ 60 w 205"/>
                <a:gd name="T69" fmla="*/ 64 h 239"/>
                <a:gd name="T70" fmla="*/ 73 w 205"/>
                <a:gd name="T71" fmla="*/ 51 h 239"/>
                <a:gd name="T72" fmla="*/ 89 w 205"/>
                <a:gd name="T73" fmla="*/ 44 h 239"/>
                <a:gd name="T74" fmla="*/ 101 w 205"/>
                <a:gd name="T75" fmla="*/ 43 h 239"/>
                <a:gd name="T76" fmla="*/ 120 w 205"/>
                <a:gd name="T77" fmla="*/ 46 h 239"/>
                <a:gd name="T78" fmla="*/ 136 w 205"/>
                <a:gd name="T79" fmla="*/ 55 h 239"/>
                <a:gd name="T80" fmla="*/ 148 w 205"/>
                <a:gd name="T81" fmla="*/ 69 h 239"/>
                <a:gd name="T82" fmla="*/ 156 w 205"/>
                <a:gd name="T83" fmla="*/ 88 h 239"/>
                <a:gd name="T84" fmla="*/ 160 w 205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5" h="239">
                  <a:moveTo>
                    <a:pt x="205" y="119"/>
                  </a:moveTo>
                  <a:lnTo>
                    <a:pt x="205" y="119"/>
                  </a:lnTo>
                  <a:lnTo>
                    <a:pt x="205" y="105"/>
                  </a:lnTo>
                  <a:lnTo>
                    <a:pt x="203" y="93"/>
                  </a:lnTo>
                  <a:lnTo>
                    <a:pt x="201" y="81"/>
                  </a:lnTo>
                  <a:lnTo>
                    <a:pt x="198" y="70"/>
                  </a:lnTo>
                  <a:lnTo>
                    <a:pt x="194" y="59"/>
                  </a:lnTo>
                  <a:lnTo>
                    <a:pt x="189" y="50"/>
                  </a:lnTo>
                  <a:lnTo>
                    <a:pt x="183" y="41"/>
                  </a:lnTo>
                  <a:lnTo>
                    <a:pt x="176" y="33"/>
                  </a:lnTo>
                  <a:lnTo>
                    <a:pt x="169" y="25"/>
                  </a:lnTo>
                  <a:lnTo>
                    <a:pt x="161" y="19"/>
                  </a:lnTo>
                  <a:lnTo>
                    <a:pt x="153" y="13"/>
                  </a:lnTo>
                  <a:lnTo>
                    <a:pt x="144" y="9"/>
                  </a:lnTo>
                  <a:lnTo>
                    <a:pt x="135" y="5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92" y="1"/>
                  </a:lnTo>
                  <a:lnTo>
                    <a:pt x="81" y="2"/>
                  </a:lnTo>
                  <a:lnTo>
                    <a:pt x="72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0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4" y="220"/>
                  </a:lnTo>
                  <a:lnTo>
                    <a:pt x="52" y="226"/>
                  </a:lnTo>
                  <a:lnTo>
                    <a:pt x="61" y="230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8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3" y="238"/>
                  </a:lnTo>
                  <a:lnTo>
                    <a:pt x="123" y="237"/>
                  </a:lnTo>
                  <a:lnTo>
                    <a:pt x="133" y="234"/>
                  </a:lnTo>
                  <a:lnTo>
                    <a:pt x="143" y="231"/>
                  </a:lnTo>
                  <a:lnTo>
                    <a:pt x="152" y="226"/>
                  </a:lnTo>
                  <a:lnTo>
                    <a:pt x="161" y="221"/>
                  </a:lnTo>
                  <a:lnTo>
                    <a:pt x="169" y="214"/>
                  </a:lnTo>
                  <a:lnTo>
                    <a:pt x="176" y="207"/>
                  </a:lnTo>
                  <a:lnTo>
                    <a:pt x="182" y="199"/>
                  </a:lnTo>
                  <a:lnTo>
                    <a:pt x="188" y="190"/>
                  </a:lnTo>
                  <a:lnTo>
                    <a:pt x="193" y="180"/>
                  </a:lnTo>
                  <a:lnTo>
                    <a:pt x="198" y="169"/>
                  </a:lnTo>
                  <a:lnTo>
                    <a:pt x="201" y="158"/>
                  </a:lnTo>
                  <a:lnTo>
                    <a:pt x="203" y="145"/>
                  </a:lnTo>
                  <a:lnTo>
                    <a:pt x="205" y="132"/>
                  </a:lnTo>
                  <a:lnTo>
                    <a:pt x="205" y="119"/>
                  </a:lnTo>
                  <a:lnTo>
                    <a:pt x="205" y="119"/>
                  </a:lnTo>
                  <a:close/>
                  <a:moveTo>
                    <a:pt x="160" y="120"/>
                  </a:moveTo>
                  <a:lnTo>
                    <a:pt x="160" y="120"/>
                  </a:lnTo>
                  <a:lnTo>
                    <a:pt x="159" y="135"/>
                  </a:lnTo>
                  <a:lnTo>
                    <a:pt x="156" y="149"/>
                  </a:lnTo>
                  <a:lnTo>
                    <a:pt x="151" y="162"/>
                  </a:lnTo>
                  <a:lnTo>
                    <a:pt x="145" y="174"/>
                  </a:lnTo>
                  <a:lnTo>
                    <a:pt x="141" y="179"/>
                  </a:lnTo>
                  <a:lnTo>
                    <a:pt x="137" y="183"/>
                  </a:lnTo>
                  <a:lnTo>
                    <a:pt x="132" y="187"/>
                  </a:lnTo>
                  <a:lnTo>
                    <a:pt x="127" y="190"/>
                  </a:lnTo>
                  <a:lnTo>
                    <a:pt x="122" y="193"/>
                  </a:lnTo>
                  <a:lnTo>
                    <a:pt x="116" y="195"/>
                  </a:lnTo>
                  <a:lnTo>
                    <a:pt x="110" y="196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97" y="196"/>
                  </a:lnTo>
                  <a:lnTo>
                    <a:pt x="91" y="195"/>
                  </a:lnTo>
                  <a:lnTo>
                    <a:pt x="85" y="193"/>
                  </a:lnTo>
                  <a:lnTo>
                    <a:pt x="80" y="191"/>
                  </a:lnTo>
                  <a:lnTo>
                    <a:pt x="75" y="188"/>
                  </a:lnTo>
                  <a:lnTo>
                    <a:pt x="70" y="185"/>
                  </a:lnTo>
                  <a:lnTo>
                    <a:pt x="65" y="181"/>
                  </a:lnTo>
                  <a:lnTo>
                    <a:pt x="62" y="176"/>
                  </a:lnTo>
                  <a:lnTo>
                    <a:pt x="58" y="171"/>
                  </a:lnTo>
                  <a:lnTo>
                    <a:pt x="55" y="165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7" y="102"/>
                  </a:lnTo>
                  <a:lnTo>
                    <a:pt x="50" y="88"/>
                  </a:lnTo>
                  <a:lnTo>
                    <a:pt x="54" y="75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3" y="51"/>
                  </a:lnTo>
                  <a:lnTo>
                    <a:pt x="78" y="48"/>
                  </a:lnTo>
                  <a:lnTo>
                    <a:pt x="83" y="46"/>
                  </a:lnTo>
                  <a:lnTo>
                    <a:pt x="89" y="44"/>
                  </a:lnTo>
                  <a:lnTo>
                    <a:pt x="94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8" y="43"/>
                  </a:lnTo>
                  <a:lnTo>
                    <a:pt x="115" y="44"/>
                  </a:lnTo>
                  <a:lnTo>
                    <a:pt x="120" y="46"/>
                  </a:lnTo>
                  <a:lnTo>
                    <a:pt x="126" y="49"/>
                  </a:lnTo>
                  <a:lnTo>
                    <a:pt x="131" y="51"/>
                  </a:lnTo>
                  <a:lnTo>
                    <a:pt x="136" y="55"/>
                  </a:lnTo>
                  <a:lnTo>
                    <a:pt x="140" y="59"/>
                  </a:lnTo>
                  <a:lnTo>
                    <a:pt x="144" y="64"/>
                  </a:lnTo>
                  <a:lnTo>
                    <a:pt x="148" y="69"/>
                  </a:lnTo>
                  <a:lnTo>
                    <a:pt x="151" y="75"/>
                  </a:lnTo>
                  <a:lnTo>
                    <a:pt x="154" y="81"/>
                  </a:lnTo>
                  <a:lnTo>
                    <a:pt x="156" y="88"/>
                  </a:lnTo>
                  <a:lnTo>
                    <a:pt x="159" y="103"/>
                  </a:lnTo>
                  <a:lnTo>
                    <a:pt x="160" y="120"/>
                  </a:lnTo>
                  <a:lnTo>
                    <a:pt x="160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5" name="Freeform 114"/>
            <p:cNvSpPr>
              <a:spLocks/>
            </p:cNvSpPr>
            <p:nvPr userDrawn="1"/>
          </p:nvSpPr>
          <p:spPr bwMode="auto">
            <a:xfrm>
              <a:off x="2979738" y="6153151"/>
              <a:ext cx="73025" cy="92075"/>
            </a:xfrm>
            <a:custGeom>
              <a:avLst/>
              <a:gdLst>
                <a:gd name="T0" fmla="*/ 184 w 184"/>
                <a:gd name="T1" fmla="*/ 39 h 229"/>
                <a:gd name="T2" fmla="*/ 184 w 184"/>
                <a:gd name="T3" fmla="*/ 0 h 229"/>
                <a:gd name="T4" fmla="*/ 0 w 184"/>
                <a:gd name="T5" fmla="*/ 0 h 229"/>
                <a:gd name="T6" fmla="*/ 0 w 184"/>
                <a:gd name="T7" fmla="*/ 39 h 229"/>
                <a:gd name="T8" fmla="*/ 69 w 184"/>
                <a:gd name="T9" fmla="*/ 39 h 229"/>
                <a:gd name="T10" fmla="*/ 69 w 184"/>
                <a:gd name="T11" fmla="*/ 229 h 229"/>
                <a:gd name="T12" fmla="*/ 114 w 184"/>
                <a:gd name="T13" fmla="*/ 229 h 229"/>
                <a:gd name="T14" fmla="*/ 114 w 184"/>
                <a:gd name="T15" fmla="*/ 39 h 229"/>
                <a:gd name="T16" fmla="*/ 184 w 184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229">
                  <a:moveTo>
                    <a:pt x="184" y="39"/>
                  </a:moveTo>
                  <a:lnTo>
                    <a:pt x="184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9" y="39"/>
                  </a:lnTo>
                  <a:lnTo>
                    <a:pt x="69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6" name="Freeform 115"/>
            <p:cNvSpPr>
              <a:spLocks noEditPoints="1"/>
            </p:cNvSpPr>
            <p:nvPr userDrawn="1"/>
          </p:nvSpPr>
          <p:spPr bwMode="auto">
            <a:xfrm>
              <a:off x="3065463" y="6153151"/>
              <a:ext cx="73025" cy="92075"/>
            </a:xfrm>
            <a:custGeom>
              <a:avLst/>
              <a:gdLst>
                <a:gd name="T0" fmla="*/ 0 w 185"/>
                <a:gd name="T1" fmla="*/ 229 h 229"/>
                <a:gd name="T2" fmla="*/ 105 w 185"/>
                <a:gd name="T3" fmla="*/ 229 h 229"/>
                <a:gd name="T4" fmla="*/ 131 w 185"/>
                <a:gd name="T5" fmla="*/ 227 h 229"/>
                <a:gd name="T6" fmla="*/ 146 w 185"/>
                <a:gd name="T7" fmla="*/ 222 h 229"/>
                <a:gd name="T8" fmla="*/ 159 w 185"/>
                <a:gd name="T9" fmla="*/ 215 h 229"/>
                <a:gd name="T10" fmla="*/ 169 w 185"/>
                <a:gd name="T11" fmla="*/ 207 h 229"/>
                <a:gd name="T12" fmla="*/ 177 w 185"/>
                <a:gd name="T13" fmla="*/ 196 h 229"/>
                <a:gd name="T14" fmla="*/ 182 w 185"/>
                <a:gd name="T15" fmla="*/ 182 h 229"/>
                <a:gd name="T16" fmla="*/ 184 w 185"/>
                <a:gd name="T17" fmla="*/ 167 h 229"/>
                <a:gd name="T18" fmla="*/ 185 w 185"/>
                <a:gd name="T19" fmla="*/ 159 h 229"/>
                <a:gd name="T20" fmla="*/ 181 w 185"/>
                <a:gd name="T21" fmla="*/ 138 h 229"/>
                <a:gd name="T22" fmla="*/ 173 w 185"/>
                <a:gd name="T23" fmla="*/ 122 h 229"/>
                <a:gd name="T24" fmla="*/ 161 w 185"/>
                <a:gd name="T25" fmla="*/ 112 h 229"/>
                <a:gd name="T26" fmla="*/ 147 w 185"/>
                <a:gd name="T27" fmla="*/ 106 h 229"/>
                <a:gd name="T28" fmla="*/ 153 w 185"/>
                <a:gd name="T29" fmla="*/ 102 h 229"/>
                <a:gd name="T30" fmla="*/ 165 w 185"/>
                <a:gd name="T31" fmla="*/ 94 h 229"/>
                <a:gd name="T32" fmla="*/ 173 w 185"/>
                <a:gd name="T33" fmla="*/ 82 h 229"/>
                <a:gd name="T34" fmla="*/ 177 w 185"/>
                <a:gd name="T35" fmla="*/ 68 h 229"/>
                <a:gd name="T36" fmla="*/ 178 w 185"/>
                <a:gd name="T37" fmla="*/ 60 h 229"/>
                <a:gd name="T38" fmla="*/ 177 w 185"/>
                <a:gd name="T39" fmla="*/ 46 h 229"/>
                <a:gd name="T40" fmla="*/ 173 w 185"/>
                <a:gd name="T41" fmla="*/ 34 h 229"/>
                <a:gd name="T42" fmla="*/ 167 w 185"/>
                <a:gd name="T43" fmla="*/ 24 h 229"/>
                <a:gd name="T44" fmla="*/ 160 w 185"/>
                <a:gd name="T45" fmla="*/ 15 h 229"/>
                <a:gd name="T46" fmla="*/ 149 w 185"/>
                <a:gd name="T47" fmla="*/ 9 h 229"/>
                <a:gd name="T48" fmla="*/ 125 w 185"/>
                <a:gd name="T49" fmla="*/ 1 h 229"/>
                <a:gd name="T50" fmla="*/ 0 w 185"/>
                <a:gd name="T51" fmla="*/ 0 h 229"/>
                <a:gd name="T52" fmla="*/ 44 w 185"/>
                <a:gd name="T53" fmla="*/ 37 h 229"/>
                <a:gd name="T54" fmla="*/ 104 w 185"/>
                <a:gd name="T55" fmla="*/ 37 h 229"/>
                <a:gd name="T56" fmla="*/ 117 w 185"/>
                <a:gd name="T57" fmla="*/ 39 h 229"/>
                <a:gd name="T58" fmla="*/ 125 w 185"/>
                <a:gd name="T59" fmla="*/ 45 h 229"/>
                <a:gd name="T60" fmla="*/ 130 w 185"/>
                <a:gd name="T61" fmla="*/ 53 h 229"/>
                <a:gd name="T62" fmla="*/ 132 w 185"/>
                <a:gd name="T63" fmla="*/ 64 h 229"/>
                <a:gd name="T64" fmla="*/ 131 w 185"/>
                <a:gd name="T65" fmla="*/ 69 h 229"/>
                <a:gd name="T66" fmla="*/ 128 w 185"/>
                <a:gd name="T67" fmla="*/ 78 h 229"/>
                <a:gd name="T68" fmla="*/ 121 w 185"/>
                <a:gd name="T69" fmla="*/ 85 h 229"/>
                <a:gd name="T70" fmla="*/ 111 w 185"/>
                <a:gd name="T71" fmla="*/ 89 h 229"/>
                <a:gd name="T72" fmla="*/ 44 w 185"/>
                <a:gd name="T73" fmla="*/ 90 h 229"/>
                <a:gd name="T74" fmla="*/ 44 w 185"/>
                <a:gd name="T75" fmla="*/ 127 h 229"/>
                <a:gd name="T76" fmla="*/ 104 w 185"/>
                <a:gd name="T77" fmla="*/ 127 h 229"/>
                <a:gd name="T78" fmla="*/ 119 w 185"/>
                <a:gd name="T79" fmla="*/ 129 h 229"/>
                <a:gd name="T80" fmla="*/ 130 w 185"/>
                <a:gd name="T81" fmla="*/ 136 h 229"/>
                <a:gd name="T82" fmla="*/ 137 w 185"/>
                <a:gd name="T83" fmla="*/ 146 h 229"/>
                <a:gd name="T84" fmla="*/ 139 w 185"/>
                <a:gd name="T85" fmla="*/ 160 h 229"/>
                <a:gd name="T86" fmla="*/ 138 w 185"/>
                <a:gd name="T87" fmla="*/ 167 h 229"/>
                <a:gd name="T88" fmla="*/ 134 w 185"/>
                <a:gd name="T89" fmla="*/ 178 h 229"/>
                <a:gd name="T90" fmla="*/ 126 w 185"/>
                <a:gd name="T91" fmla="*/ 187 h 229"/>
                <a:gd name="T92" fmla="*/ 112 w 185"/>
                <a:gd name="T93" fmla="*/ 191 h 229"/>
                <a:gd name="T94" fmla="*/ 44 w 185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105" y="229"/>
                  </a:lnTo>
                  <a:lnTo>
                    <a:pt x="105" y="229"/>
                  </a:lnTo>
                  <a:lnTo>
                    <a:pt x="123" y="228"/>
                  </a:lnTo>
                  <a:lnTo>
                    <a:pt x="131" y="227"/>
                  </a:lnTo>
                  <a:lnTo>
                    <a:pt x="139" y="225"/>
                  </a:lnTo>
                  <a:lnTo>
                    <a:pt x="146" y="222"/>
                  </a:lnTo>
                  <a:lnTo>
                    <a:pt x="152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7" y="196"/>
                  </a:lnTo>
                  <a:lnTo>
                    <a:pt x="180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8" y="129"/>
                  </a:lnTo>
                  <a:lnTo>
                    <a:pt x="173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3" y="108"/>
                  </a:lnTo>
                  <a:lnTo>
                    <a:pt x="147" y="106"/>
                  </a:lnTo>
                  <a:lnTo>
                    <a:pt x="147" y="106"/>
                  </a:lnTo>
                  <a:lnTo>
                    <a:pt x="153" y="102"/>
                  </a:lnTo>
                  <a:lnTo>
                    <a:pt x="160" y="98"/>
                  </a:lnTo>
                  <a:lnTo>
                    <a:pt x="165" y="94"/>
                  </a:lnTo>
                  <a:lnTo>
                    <a:pt x="169" y="88"/>
                  </a:lnTo>
                  <a:lnTo>
                    <a:pt x="173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7" y="53"/>
                  </a:lnTo>
                  <a:lnTo>
                    <a:pt x="177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1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60" y="15"/>
                  </a:lnTo>
                  <a:lnTo>
                    <a:pt x="154" y="12"/>
                  </a:lnTo>
                  <a:lnTo>
                    <a:pt x="149" y="9"/>
                  </a:lnTo>
                  <a:lnTo>
                    <a:pt x="138" y="4"/>
                  </a:lnTo>
                  <a:lnTo>
                    <a:pt x="125" y="1"/>
                  </a:lnTo>
                  <a:lnTo>
                    <a:pt x="111" y="0"/>
                  </a:lnTo>
                  <a:lnTo>
                    <a:pt x="0" y="0"/>
                  </a:lnTo>
                  <a:close/>
                  <a:moveTo>
                    <a:pt x="44" y="90"/>
                  </a:moveTo>
                  <a:lnTo>
                    <a:pt x="4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1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5" y="45"/>
                  </a:lnTo>
                  <a:lnTo>
                    <a:pt x="128" y="49"/>
                  </a:lnTo>
                  <a:lnTo>
                    <a:pt x="130" y="53"/>
                  </a:lnTo>
                  <a:lnTo>
                    <a:pt x="132" y="58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1" y="69"/>
                  </a:lnTo>
                  <a:lnTo>
                    <a:pt x="130" y="74"/>
                  </a:lnTo>
                  <a:lnTo>
                    <a:pt x="128" y="78"/>
                  </a:lnTo>
                  <a:lnTo>
                    <a:pt x="125" y="82"/>
                  </a:lnTo>
                  <a:lnTo>
                    <a:pt x="121" y="85"/>
                  </a:lnTo>
                  <a:lnTo>
                    <a:pt x="116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4" y="90"/>
                  </a:lnTo>
                  <a:close/>
                  <a:moveTo>
                    <a:pt x="44" y="192"/>
                  </a:moveTo>
                  <a:lnTo>
                    <a:pt x="44" y="127"/>
                  </a:lnTo>
                  <a:lnTo>
                    <a:pt x="104" y="127"/>
                  </a:lnTo>
                  <a:lnTo>
                    <a:pt x="104" y="127"/>
                  </a:lnTo>
                  <a:lnTo>
                    <a:pt x="112" y="128"/>
                  </a:lnTo>
                  <a:lnTo>
                    <a:pt x="119" y="129"/>
                  </a:lnTo>
                  <a:lnTo>
                    <a:pt x="125" y="132"/>
                  </a:lnTo>
                  <a:lnTo>
                    <a:pt x="130" y="136"/>
                  </a:lnTo>
                  <a:lnTo>
                    <a:pt x="134" y="141"/>
                  </a:lnTo>
                  <a:lnTo>
                    <a:pt x="137" y="146"/>
                  </a:lnTo>
                  <a:lnTo>
                    <a:pt x="138" y="153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38" y="167"/>
                  </a:lnTo>
                  <a:lnTo>
                    <a:pt x="137" y="173"/>
                  </a:lnTo>
                  <a:lnTo>
                    <a:pt x="134" y="178"/>
                  </a:lnTo>
                  <a:lnTo>
                    <a:pt x="131" y="183"/>
                  </a:lnTo>
                  <a:lnTo>
                    <a:pt x="126" y="187"/>
                  </a:lnTo>
                  <a:lnTo>
                    <a:pt x="120" y="190"/>
                  </a:lnTo>
                  <a:lnTo>
                    <a:pt x="112" y="191"/>
                  </a:lnTo>
                  <a:lnTo>
                    <a:pt x="103" y="192"/>
                  </a:lnTo>
                  <a:lnTo>
                    <a:pt x="44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7" name="Freeform 116"/>
            <p:cNvSpPr>
              <a:spLocks noEditPoints="1"/>
            </p:cNvSpPr>
            <p:nvPr userDrawn="1"/>
          </p:nvSpPr>
          <p:spPr bwMode="auto">
            <a:xfrm>
              <a:off x="3151188" y="6151563"/>
              <a:ext cx="79375" cy="95250"/>
            </a:xfrm>
            <a:custGeom>
              <a:avLst/>
              <a:gdLst>
                <a:gd name="T0" fmla="*/ 197 w 197"/>
                <a:gd name="T1" fmla="*/ 115 h 239"/>
                <a:gd name="T2" fmla="*/ 195 w 197"/>
                <a:gd name="T3" fmla="*/ 92 h 239"/>
                <a:gd name="T4" fmla="*/ 191 w 197"/>
                <a:gd name="T5" fmla="*/ 71 h 239"/>
                <a:gd name="T6" fmla="*/ 183 w 197"/>
                <a:gd name="T7" fmla="*/ 52 h 239"/>
                <a:gd name="T8" fmla="*/ 173 w 197"/>
                <a:gd name="T9" fmla="*/ 34 h 239"/>
                <a:gd name="T10" fmla="*/ 159 w 197"/>
                <a:gd name="T11" fmla="*/ 20 h 239"/>
                <a:gd name="T12" fmla="*/ 143 w 197"/>
                <a:gd name="T13" fmla="*/ 10 h 239"/>
                <a:gd name="T14" fmla="*/ 123 w 197"/>
                <a:gd name="T15" fmla="*/ 3 h 239"/>
                <a:gd name="T16" fmla="*/ 100 w 197"/>
                <a:gd name="T17" fmla="*/ 0 h 239"/>
                <a:gd name="T18" fmla="*/ 89 w 197"/>
                <a:gd name="T19" fmla="*/ 1 h 239"/>
                <a:gd name="T20" fmla="*/ 69 w 197"/>
                <a:gd name="T21" fmla="*/ 5 h 239"/>
                <a:gd name="T22" fmla="*/ 51 w 197"/>
                <a:gd name="T23" fmla="*/ 12 h 239"/>
                <a:gd name="T24" fmla="*/ 35 w 197"/>
                <a:gd name="T25" fmla="*/ 24 h 239"/>
                <a:gd name="T26" fmla="*/ 22 w 197"/>
                <a:gd name="T27" fmla="*/ 39 h 239"/>
                <a:gd name="T28" fmla="*/ 11 w 197"/>
                <a:gd name="T29" fmla="*/ 58 h 239"/>
                <a:gd name="T30" fmla="*/ 4 w 197"/>
                <a:gd name="T31" fmla="*/ 80 h 239"/>
                <a:gd name="T32" fmla="*/ 0 w 197"/>
                <a:gd name="T33" fmla="*/ 106 h 239"/>
                <a:gd name="T34" fmla="*/ 0 w 197"/>
                <a:gd name="T35" fmla="*/ 120 h 239"/>
                <a:gd name="T36" fmla="*/ 2 w 197"/>
                <a:gd name="T37" fmla="*/ 148 h 239"/>
                <a:gd name="T38" fmla="*/ 9 w 197"/>
                <a:gd name="T39" fmla="*/ 172 h 239"/>
                <a:gd name="T40" fmla="*/ 18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8 h 239"/>
                <a:gd name="T52" fmla="*/ 99 w 197"/>
                <a:gd name="T53" fmla="*/ 239 h 239"/>
                <a:gd name="T54" fmla="*/ 124 w 197"/>
                <a:gd name="T55" fmla="*/ 237 h 239"/>
                <a:gd name="T56" fmla="*/ 145 w 197"/>
                <a:gd name="T57" fmla="*/ 231 h 239"/>
                <a:gd name="T58" fmla="*/ 153 w 197"/>
                <a:gd name="T59" fmla="*/ 227 h 239"/>
                <a:gd name="T60" fmla="*/ 170 w 197"/>
                <a:gd name="T61" fmla="*/ 216 h 239"/>
                <a:gd name="T62" fmla="*/ 151 w 197"/>
                <a:gd name="T63" fmla="*/ 180 h 239"/>
                <a:gd name="T64" fmla="*/ 139 w 197"/>
                <a:gd name="T65" fmla="*/ 188 h 239"/>
                <a:gd name="T66" fmla="*/ 128 w 197"/>
                <a:gd name="T67" fmla="*/ 193 h 239"/>
                <a:gd name="T68" fmla="*/ 116 w 197"/>
                <a:gd name="T69" fmla="*/ 197 h 239"/>
                <a:gd name="T70" fmla="*/ 101 w 197"/>
                <a:gd name="T71" fmla="*/ 198 h 239"/>
                <a:gd name="T72" fmla="*/ 91 w 197"/>
                <a:gd name="T73" fmla="*/ 197 h 239"/>
                <a:gd name="T74" fmla="*/ 72 w 197"/>
                <a:gd name="T75" fmla="*/ 190 h 239"/>
                <a:gd name="T76" fmla="*/ 57 w 197"/>
                <a:gd name="T77" fmla="*/ 175 h 239"/>
                <a:gd name="T78" fmla="*/ 47 w 197"/>
                <a:gd name="T79" fmla="*/ 151 h 239"/>
                <a:gd name="T80" fmla="*/ 195 w 197"/>
                <a:gd name="T81" fmla="*/ 136 h 239"/>
                <a:gd name="T82" fmla="*/ 196 w 197"/>
                <a:gd name="T83" fmla="*/ 127 h 239"/>
                <a:gd name="T84" fmla="*/ 197 w 197"/>
                <a:gd name="T85" fmla="*/ 115 h 239"/>
                <a:gd name="T86" fmla="*/ 45 w 197"/>
                <a:gd name="T87" fmla="*/ 98 h 239"/>
                <a:gd name="T88" fmla="*/ 50 w 197"/>
                <a:gd name="T89" fmla="*/ 74 h 239"/>
                <a:gd name="T90" fmla="*/ 61 w 197"/>
                <a:gd name="T91" fmla="*/ 56 h 239"/>
                <a:gd name="T92" fmla="*/ 76 w 197"/>
                <a:gd name="T93" fmla="*/ 45 h 239"/>
                <a:gd name="T94" fmla="*/ 97 w 197"/>
                <a:gd name="T95" fmla="*/ 41 h 239"/>
                <a:gd name="T96" fmla="*/ 104 w 197"/>
                <a:gd name="T97" fmla="*/ 41 h 239"/>
                <a:gd name="T98" fmla="*/ 116 w 197"/>
                <a:gd name="T99" fmla="*/ 44 h 239"/>
                <a:gd name="T100" fmla="*/ 126 w 197"/>
                <a:gd name="T101" fmla="*/ 48 h 239"/>
                <a:gd name="T102" fmla="*/ 137 w 197"/>
                <a:gd name="T103" fmla="*/ 58 h 239"/>
                <a:gd name="T104" fmla="*/ 147 w 197"/>
                <a:gd name="T105" fmla="*/ 76 h 239"/>
                <a:gd name="T106" fmla="*/ 151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5"/>
                  </a:moveTo>
                  <a:lnTo>
                    <a:pt x="197" y="115"/>
                  </a:lnTo>
                  <a:lnTo>
                    <a:pt x="196" y="104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1"/>
                  </a:lnTo>
                  <a:lnTo>
                    <a:pt x="187" y="61"/>
                  </a:lnTo>
                  <a:lnTo>
                    <a:pt x="183" y="52"/>
                  </a:lnTo>
                  <a:lnTo>
                    <a:pt x="178" y="43"/>
                  </a:lnTo>
                  <a:lnTo>
                    <a:pt x="173" y="34"/>
                  </a:lnTo>
                  <a:lnTo>
                    <a:pt x="166" y="27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10"/>
                  </a:lnTo>
                  <a:lnTo>
                    <a:pt x="133" y="6"/>
                  </a:lnTo>
                  <a:lnTo>
                    <a:pt x="123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1"/>
                  </a:lnTo>
                  <a:lnTo>
                    <a:pt x="79" y="2"/>
                  </a:lnTo>
                  <a:lnTo>
                    <a:pt x="69" y="5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2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2" y="39"/>
                  </a:lnTo>
                  <a:lnTo>
                    <a:pt x="16" y="48"/>
                  </a:lnTo>
                  <a:lnTo>
                    <a:pt x="11" y="58"/>
                  </a:lnTo>
                  <a:lnTo>
                    <a:pt x="7" y="68"/>
                  </a:lnTo>
                  <a:lnTo>
                    <a:pt x="4" y="80"/>
                  </a:lnTo>
                  <a:lnTo>
                    <a:pt x="2" y="92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4"/>
                  </a:lnTo>
                  <a:lnTo>
                    <a:pt x="2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3" y="183"/>
                  </a:lnTo>
                  <a:lnTo>
                    <a:pt x="18" y="193"/>
                  </a:lnTo>
                  <a:lnTo>
                    <a:pt x="24" y="201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6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8"/>
                  </a:lnTo>
                  <a:lnTo>
                    <a:pt x="124" y="237"/>
                  </a:lnTo>
                  <a:lnTo>
                    <a:pt x="135" y="234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2" y="222"/>
                  </a:lnTo>
                  <a:lnTo>
                    <a:pt x="170" y="216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2" y="195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1" y="198"/>
                  </a:lnTo>
                  <a:lnTo>
                    <a:pt x="101" y="198"/>
                  </a:lnTo>
                  <a:lnTo>
                    <a:pt x="91" y="197"/>
                  </a:lnTo>
                  <a:lnTo>
                    <a:pt x="81" y="195"/>
                  </a:lnTo>
                  <a:lnTo>
                    <a:pt x="72" y="190"/>
                  </a:lnTo>
                  <a:lnTo>
                    <a:pt x="64" y="183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6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6" y="127"/>
                  </a:lnTo>
                  <a:lnTo>
                    <a:pt x="197" y="115"/>
                  </a:lnTo>
                  <a:lnTo>
                    <a:pt x="197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4"/>
                  </a:lnTo>
                  <a:lnTo>
                    <a:pt x="55" y="64"/>
                  </a:lnTo>
                  <a:lnTo>
                    <a:pt x="61" y="56"/>
                  </a:lnTo>
                  <a:lnTo>
                    <a:pt x="68" y="49"/>
                  </a:lnTo>
                  <a:lnTo>
                    <a:pt x="76" y="45"/>
                  </a:lnTo>
                  <a:lnTo>
                    <a:pt x="86" y="42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4"/>
                  </a:lnTo>
                  <a:lnTo>
                    <a:pt x="121" y="45"/>
                  </a:lnTo>
                  <a:lnTo>
                    <a:pt x="126" y="48"/>
                  </a:lnTo>
                  <a:lnTo>
                    <a:pt x="130" y="51"/>
                  </a:lnTo>
                  <a:lnTo>
                    <a:pt x="137" y="58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7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8" name="Freeform 117"/>
            <p:cNvSpPr>
              <a:spLocks/>
            </p:cNvSpPr>
            <p:nvPr userDrawn="1"/>
          </p:nvSpPr>
          <p:spPr bwMode="auto">
            <a:xfrm>
              <a:off x="3238500" y="6153151"/>
              <a:ext cx="73025" cy="92075"/>
            </a:xfrm>
            <a:custGeom>
              <a:avLst/>
              <a:gdLst>
                <a:gd name="T0" fmla="*/ 184 w 184"/>
                <a:gd name="T1" fmla="*/ 39 h 229"/>
                <a:gd name="T2" fmla="*/ 184 w 184"/>
                <a:gd name="T3" fmla="*/ 0 h 229"/>
                <a:gd name="T4" fmla="*/ 0 w 184"/>
                <a:gd name="T5" fmla="*/ 0 h 229"/>
                <a:gd name="T6" fmla="*/ 0 w 184"/>
                <a:gd name="T7" fmla="*/ 39 h 229"/>
                <a:gd name="T8" fmla="*/ 70 w 184"/>
                <a:gd name="T9" fmla="*/ 39 h 229"/>
                <a:gd name="T10" fmla="*/ 70 w 184"/>
                <a:gd name="T11" fmla="*/ 229 h 229"/>
                <a:gd name="T12" fmla="*/ 114 w 184"/>
                <a:gd name="T13" fmla="*/ 229 h 229"/>
                <a:gd name="T14" fmla="*/ 114 w 184"/>
                <a:gd name="T15" fmla="*/ 39 h 229"/>
                <a:gd name="T16" fmla="*/ 184 w 184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229">
                  <a:moveTo>
                    <a:pt x="184" y="39"/>
                  </a:moveTo>
                  <a:lnTo>
                    <a:pt x="184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9" name="Freeform 118"/>
            <p:cNvSpPr>
              <a:spLocks/>
            </p:cNvSpPr>
            <p:nvPr userDrawn="1"/>
          </p:nvSpPr>
          <p:spPr bwMode="auto">
            <a:xfrm>
              <a:off x="3325813" y="6219826"/>
              <a:ext cx="26988" cy="26988"/>
            </a:xfrm>
            <a:custGeom>
              <a:avLst/>
              <a:gdLst>
                <a:gd name="T0" fmla="*/ 69 w 69"/>
                <a:gd name="T1" fmla="*/ 34 h 69"/>
                <a:gd name="T2" fmla="*/ 69 w 69"/>
                <a:gd name="T3" fmla="*/ 34 h 69"/>
                <a:gd name="T4" fmla="*/ 69 w 69"/>
                <a:gd name="T5" fmla="*/ 27 h 69"/>
                <a:gd name="T6" fmla="*/ 67 w 69"/>
                <a:gd name="T7" fmla="*/ 21 h 69"/>
                <a:gd name="T8" fmla="*/ 63 w 69"/>
                <a:gd name="T9" fmla="*/ 15 h 69"/>
                <a:gd name="T10" fmla="*/ 59 w 69"/>
                <a:gd name="T11" fmla="*/ 10 h 69"/>
                <a:gd name="T12" fmla="*/ 54 w 69"/>
                <a:gd name="T13" fmla="*/ 5 h 69"/>
                <a:gd name="T14" fmla="*/ 48 w 69"/>
                <a:gd name="T15" fmla="*/ 2 h 69"/>
                <a:gd name="T16" fmla="*/ 42 w 69"/>
                <a:gd name="T17" fmla="*/ 0 h 69"/>
                <a:gd name="T18" fmla="*/ 35 w 69"/>
                <a:gd name="T19" fmla="*/ 0 h 69"/>
                <a:gd name="T20" fmla="*/ 35 w 69"/>
                <a:gd name="T21" fmla="*/ 0 h 69"/>
                <a:gd name="T22" fmla="*/ 28 w 69"/>
                <a:gd name="T23" fmla="*/ 0 h 69"/>
                <a:gd name="T24" fmla="*/ 21 w 69"/>
                <a:gd name="T25" fmla="*/ 2 h 69"/>
                <a:gd name="T26" fmla="*/ 15 w 69"/>
                <a:gd name="T27" fmla="*/ 5 h 69"/>
                <a:gd name="T28" fmla="*/ 10 w 69"/>
                <a:gd name="T29" fmla="*/ 10 h 69"/>
                <a:gd name="T30" fmla="*/ 6 w 69"/>
                <a:gd name="T31" fmla="*/ 15 h 69"/>
                <a:gd name="T32" fmla="*/ 3 w 69"/>
                <a:gd name="T33" fmla="*/ 21 h 69"/>
                <a:gd name="T34" fmla="*/ 1 w 69"/>
                <a:gd name="T35" fmla="*/ 27 h 69"/>
                <a:gd name="T36" fmla="*/ 0 w 69"/>
                <a:gd name="T37" fmla="*/ 34 h 69"/>
                <a:gd name="T38" fmla="*/ 0 w 69"/>
                <a:gd name="T39" fmla="*/ 34 h 69"/>
                <a:gd name="T40" fmla="*/ 1 w 69"/>
                <a:gd name="T41" fmla="*/ 42 h 69"/>
                <a:gd name="T42" fmla="*/ 3 w 69"/>
                <a:gd name="T43" fmla="*/ 48 h 69"/>
                <a:gd name="T44" fmla="*/ 6 w 69"/>
                <a:gd name="T45" fmla="*/ 54 h 69"/>
                <a:gd name="T46" fmla="*/ 10 w 69"/>
                <a:gd name="T47" fmla="*/ 59 h 69"/>
                <a:gd name="T48" fmla="*/ 15 w 69"/>
                <a:gd name="T49" fmla="*/ 63 h 69"/>
                <a:gd name="T50" fmla="*/ 21 w 69"/>
                <a:gd name="T51" fmla="*/ 66 h 69"/>
                <a:gd name="T52" fmla="*/ 28 w 69"/>
                <a:gd name="T53" fmla="*/ 68 h 69"/>
                <a:gd name="T54" fmla="*/ 35 w 69"/>
                <a:gd name="T55" fmla="*/ 69 h 69"/>
                <a:gd name="T56" fmla="*/ 35 w 69"/>
                <a:gd name="T57" fmla="*/ 69 h 69"/>
                <a:gd name="T58" fmla="*/ 42 w 69"/>
                <a:gd name="T59" fmla="*/ 68 h 69"/>
                <a:gd name="T60" fmla="*/ 48 w 69"/>
                <a:gd name="T61" fmla="*/ 66 h 69"/>
                <a:gd name="T62" fmla="*/ 54 w 69"/>
                <a:gd name="T63" fmla="*/ 63 h 69"/>
                <a:gd name="T64" fmla="*/ 59 w 69"/>
                <a:gd name="T65" fmla="*/ 59 h 69"/>
                <a:gd name="T66" fmla="*/ 63 w 69"/>
                <a:gd name="T67" fmla="*/ 54 h 69"/>
                <a:gd name="T68" fmla="*/ 67 w 69"/>
                <a:gd name="T69" fmla="*/ 48 h 69"/>
                <a:gd name="T70" fmla="*/ 69 w 69"/>
                <a:gd name="T71" fmla="*/ 42 h 69"/>
                <a:gd name="T72" fmla="*/ 69 w 69"/>
                <a:gd name="T73" fmla="*/ 34 h 69"/>
                <a:gd name="T74" fmla="*/ 69 w 69"/>
                <a:gd name="T75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9" h="69">
                  <a:moveTo>
                    <a:pt x="69" y="34"/>
                  </a:moveTo>
                  <a:lnTo>
                    <a:pt x="69" y="34"/>
                  </a:lnTo>
                  <a:lnTo>
                    <a:pt x="69" y="27"/>
                  </a:lnTo>
                  <a:lnTo>
                    <a:pt x="67" y="21"/>
                  </a:lnTo>
                  <a:lnTo>
                    <a:pt x="63" y="15"/>
                  </a:lnTo>
                  <a:lnTo>
                    <a:pt x="59" y="10"/>
                  </a:lnTo>
                  <a:lnTo>
                    <a:pt x="54" y="5"/>
                  </a:lnTo>
                  <a:lnTo>
                    <a:pt x="48" y="2"/>
                  </a:lnTo>
                  <a:lnTo>
                    <a:pt x="42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21" y="2"/>
                  </a:lnTo>
                  <a:lnTo>
                    <a:pt x="15" y="5"/>
                  </a:lnTo>
                  <a:lnTo>
                    <a:pt x="10" y="10"/>
                  </a:lnTo>
                  <a:lnTo>
                    <a:pt x="6" y="15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42"/>
                  </a:lnTo>
                  <a:lnTo>
                    <a:pt x="3" y="48"/>
                  </a:lnTo>
                  <a:lnTo>
                    <a:pt x="6" y="54"/>
                  </a:lnTo>
                  <a:lnTo>
                    <a:pt x="10" y="59"/>
                  </a:lnTo>
                  <a:lnTo>
                    <a:pt x="15" y="63"/>
                  </a:lnTo>
                  <a:lnTo>
                    <a:pt x="21" y="66"/>
                  </a:lnTo>
                  <a:lnTo>
                    <a:pt x="28" y="68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42" y="68"/>
                  </a:lnTo>
                  <a:lnTo>
                    <a:pt x="48" y="66"/>
                  </a:lnTo>
                  <a:lnTo>
                    <a:pt x="54" y="63"/>
                  </a:lnTo>
                  <a:lnTo>
                    <a:pt x="59" y="59"/>
                  </a:lnTo>
                  <a:lnTo>
                    <a:pt x="63" y="54"/>
                  </a:lnTo>
                  <a:lnTo>
                    <a:pt x="67" y="48"/>
                  </a:lnTo>
                  <a:lnTo>
                    <a:pt x="69" y="42"/>
                  </a:lnTo>
                  <a:lnTo>
                    <a:pt x="69" y="34"/>
                  </a:lnTo>
                  <a:lnTo>
                    <a:pt x="69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0" name="Freeform 119"/>
            <p:cNvSpPr>
              <a:spLocks noEditPoints="1"/>
            </p:cNvSpPr>
            <p:nvPr userDrawn="1"/>
          </p:nvSpPr>
          <p:spPr bwMode="auto">
            <a:xfrm>
              <a:off x="473075" y="6334126"/>
              <a:ext cx="90488" cy="122238"/>
            </a:xfrm>
            <a:custGeom>
              <a:avLst/>
              <a:gdLst>
                <a:gd name="T0" fmla="*/ 227 w 227"/>
                <a:gd name="T1" fmla="*/ 96 h 307"/>
                <a:gd name="T2" fmla="*/ 225 w 227"/>
                <a:gd name="T3" fmla="*/ 74 h 307"/>
                <a:gd name="T4" fmla="*/ 219 w 227"/>
                <a:gd name="T5" fmla="*/ 54 h 307"/>
                <a:gd name="T6" fmla="*/ 210 w 227"/>
                <a:gd name="T7" fmla="*/ 38 h 307"/>
                <a:gd name="T8" fmla="*/ 198 w 227"/>
                <a:gd name="T9" fmla="*/ 24 h 307"/>
                <a:gd name="T10" fmla="*/ 183 w 227"/>
                <a:gd name="T11" fmla="*/ 14 h 307"/>
                <a:gd name="T12" fmla="*/ 167 w 227"/>
                <a:gd name="T13" fmla="*/ 6 h 307"/>
                <a:gd name="T14" fmla="*/ 148 w 227"/>
                <a:gd name="T15" fmla="*/ 2 h 307"/>
                <a:gd name="T16" fmla="*/ 128 w 227"/>
                <a:gd name="T17" fmla="*/ 0 h 307"/>
                <a:gd name="T18" fmla="*/ 0 w 227"/>
                <a:gd name="T19" fmla="*/ 307 h 307"/>
                <a:gd name="T20" fmla="*/ 45 w 227"/>
                <a:gd name="T21" fmla="*/ 192 h 307"/>
                <a:gd name="T22" fmla="*/ 125 w 227"/>
                <a:gd name="T23" fmla="*/ 192 h 307"/>
                <a:gd name="T24" fmla="*/ 146 w 227"/>
                <a:gd name="T25" fmla="*/ 190 h 307"/>
                <a:gd name="T26" fmla="*/ 165 w 227"/>
                <a:gd name="T27" fmla="*/ 186 h 307"/>
                <a:gd name="T28" fmla="*/ 183 w 227"/>
                <a:gd name="T29" fmla="*/ 178 h 307"/>
                <a:gd name="T30" fmla="*/ 197 w 227"/>
                <a:gd name="T31" fmla="*/ 167 h 307"/>
                <a:gd name="T32" fmla="*/ 210 w 227"/>
                <a:gd name="T33" fmla="*/ 154 h 307"/>
                <a:gd name="T34" fmla="*/ 219 w 227"/>
                <a:gd name="T35" fmla="*/ 137 h 307"/>
                <a:gd name="T36" fmla="*/ 225 w 227"/>
                <a:gd name="T37" fmla="*/ 118 h 307"/>
                <a:gd name="T38" fmla="*/ 227 w 227"/>
                <a:gd name="T39" fmla="*/ 96 h 307"/>
                <a:gd name="T40" fmla="*/ 179 w 227"/>
                <a:gd name="T41" fmla="*/ 96 h 307"/>
                <a:gd name="T42" fmla="*/ 178 w 227"/>
                <a:gd name="T43" fmla="*/ 108 h 307"/>
                <a:gd name="T44" fmla="*/ 172 w 227"/>
                <a:gd name="T45" fmla="*/ 127 h 307"/>
                <a:gd name="T46" fmla="*/ 159 w 227"/>
                <a:gd name="T47" fmla="*/ 141 h 307"/>
                <a:gd name="T48" fmla="*/ 139 w 227"/>
                <a:gd name="T49" fmla="*/ 148 h 307"/>
                <a:gd name="T50" fmla="*/ 45 w 227"/>
                <a:gd name="T51" fmla="*/ 149 h 307"/>
                <a:gd name="T52" fmla="*/ 127 w 227"/>
                <a:gd name="T53" fmla="*/ 43 h 307"/>
                <a:gd name="T54" fmla="*/ 138 w 227"/>
                <a:gd name="T55" fmla="*/ 44 h 307"/>
                <a:gd name="T56" fmla="*/ 157 w 227"/>
                <a:gd name="T57" fmla="*/ 51 h 307"/>
                <a:gd name="T58" fmla="*/ 171 w 227"/>
                <a:gd name="T59" fmla="*/ 65 h 307"/>
                <a:gd name="T60" fmla="*/ 178 w 227"/>
                <a:gd name="T61" fmla="*/ 84 h 307"/>
                <a:gd name="T62" fmla="*/ 179 w 227"/>
                <a:gd name="T63" fmla="*/ 9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7" h="307">
                  <a:moveTo>
                    <a:pt x="227" y="96"/>
                  </a:moveTo>
                  <a:lnTo>
                    <a:pt x="227" y="96"/>
                  </a:lnTo>
                  <a:lnTo>
                    <a:pt x="226" y="84"/>
                  </a:lnTo>
                  <a:lnTo>
                    <a:pt x="225" y="74"/>
                  </a:lnTo>
                  <a:lnTo>
                    <a:pt x="222" y="64"/>
                  </a:lnTo>
                  <a:lnTo>
                    <a:pt x="219" y="54"/>
                  </a:lnTo>
                  <a:lnTo>
                    <a:pt x="215" y="46"/>
                  </a:lnTo>
                  <a:lnTo>
                    <a:pt x="210" y="38"/>
                  </a:lnTo>
                  <a:lnTo>
                    <a:pt x="204" y="31"/>
                  </a:lnTo>
                  <a:lnTo>
                    <a:pt x="198" y="24"/>
                  </a:lnTo>
                  <a:lnTo>
                    <a:pt x="191" y="19"/>
                  </a:lnTo>
                  <a:lnTo>
                    <a:pt x="183" y="14"/>
                  </a:lnTo>
                  <a:lnTo>
                    <a:pt x="175" y="10"/>
                  </a:lnTo>
                  <a:lnTo>
                    <a:pt x="167" y="6"/>
                  </a:lnTo>
                  <a:lnTo>
                    <a:pt x="158" y="4"/>
                  </a:lnTo>
                  <a:lnTo>
                    <a:pt x="148" y="2"/>
                  </a:lnTo>
                  <a:lnTo>
                    <a:pt x="138" y="1"/>
                  </a:lnTo>
                  <a:lnTo>
                    <a:pt x="128" y="0"/>
                  </a:lnTo>
                  <a:lnTo>
                    <a:pt x="0" y="0"/>
                  </a:lnTo>
                  <a:lnTo>
                    <a:pt x="0" y="307"/>
                  </a:lnTo>
                  <a:lnTo>
                    <a:pt x="45" y="307"/>
                  </a:lnTo>
                  <a:lnTo>
                    <a:pt x="45" y="192"/>
                  </a:lnTo>
                  <a:lnTo>
                    <a:pt x="125" y="192"/>
                  </a:lnTo>
                  <a:lnTo>
                    <a:pt x="125" y="192"/>
                  </a:lnTo>
                  <a:lnTo>
                    <a:pt x="135" y="191"/>
                  </a:lnTo>
                  <a:lnTo>
                    <a:pt x="146" y="190"/>
                  </a:lnTo>
                  <a:lnTo>
                    <a:pt x="156" y="188"/>
                  </a:lnTo>
                  <a:lnTo>
                    <a:pt x="165" y="186"/>
                  </a:lnTo>
                  <a:lnTo>
                    <a:pt x="174" y="182"/>
                  </a:lnTo>
                  <a:lnTo>
                    <a:pt x="183" y="178"/>
                  </a:lnTo>
                  <a:lnTo>
                    <a:pt x="190" y="173"/>
                  </a:lnTo>
                  <a:lnTo>
                    <a:pt x="197" y="167"/>
                  </a:lnTo>
                  <a:lnTo>
                    <a:pt x="204" y="161"/>
                  </a:lnTo>
                  <a:lnTo>
                    <a:pt x="210" y="154"/>
                  </a:lnTo>
                  <a:lnTo>
                    <a:pt x="215" y="146"/>
                  </a:lnTo>
                  <a:lnTo>
                    <a:pt x="219" y="137"/>
                  </a:lnTo>
                  <a:lnTo>
                    <a:pt x="222" y="128"/>
                  </a:lnTo>
                  <a:lnTo>
                    <a:pt x="225" y="118"/>
                  </a:lnTo>
                  <a:lnTo>
                    <a:pt x="226" y="107"/>
                  </a:lnTo>
                  <a:lnTo>
                    <a:pt x="227" y="96"/>
                  </a:lnTo>
                  <a:lnTo>
                    <a:pt x="227" y="96"/>
                  </a:lnTo>
                  <a:close/>
                  <a:moveTo>
                    <a:pt x="179" y="96"/>
                  </a:moveTo>
                  <a:lnTo>
                    <a:pt x="179" y="96"/>
                  </a:lnTo>
                  <a:lnTo>
                    <a:pt x="178" y="108"/>
                  </a:lnTo>
                  <a:lnTo>
                    <a:pt x="176" y="118"/>
                  </a:lnTo>
                  <a:lnTo>
                    <a:pt x="172" y="127"/>
                  </a:lnTo>
                  <a:lnTo>
                    <a:pt x="166" y="135"/>
                  </a:lnTo>
                  <a:lnTo>
                    <a:pt x="159" y="141"/>
                  </a:lnTo>
                  <a:lnTo>
                    <a:pt x="150" y="145"/>
                  </a:lnTo>
                  <a:lnTo>
                    <a:pt x="139" y="148"/>
                  </a:lnTo>
                  <a:lnTo>
                    <a:pt x="127" y="149"/>
                  </a:lnTo>
                  <a:lnTo>
                    <a:pt x="45" y="149"/>
                  </a:lnTo>
                  <a:lnTo>
                    <a:pt x="45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38" y="44"/>
                  </a:lnTo>
                  <a:lnTo>
                    <a:pt x="148" y="47"/>
                  </a:lnTo>
                  <a:lnTo>
                    <a:pt x="157" y="51"/>
                  </a:lnTo>
                  <a:lnTo>
                    <a:pt x="165" y="57"/>
                  </a:lnTo>
                  <a:lnTo>
                    <a:pt x="171" y="65"/>
                  </a:lnTo>
                  <a:lnTo>
                    <a:pt x="175" y="73"/>
                  </a:lnTo>
                  <a:lnTo>
                    <a:pt x="178" y="84"/>
                  </a:lnTo>
                  <a:lnTo>
                    <a:pt x="179" y="96"/>
                  </a:lnTo>
                  <a:lnTo>
                    <a:pt x="179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1" name="Freeform 120"/>
            <p:cNvSpPr>
              <a:spLocks noEditPoints="1"/>
            </p:cNvSpPr>
            <p:nvPr userDrawn="1"/>
          </p:nvSpPr>
          <p:spPr bwMode="auto">
            <a:xfrm>
              <a:off x="576263" y="6362701"/>
              <a:ext cx="77788" cy="95250"/>
            </a:xfrm>
            <a:custGeom>
              <a:avLst/>
              <a:gdLst>
                <a:gd name="T0" fmla="*/ 196 w 196"/>
                <a:gd name="T1" fmla="*/ 114 h 239"/>
                <a:gd name="T2" fmla="*/ 195 w 196"/>
                <a:gd name="T3" fmla="*/ 92 h 239"/>
                <a:gd name="T4" fmla="*/ 191 w 196"/>
                <a:gd name="T5" fmla="*/ 70 h 239"/>
                <a:gd name="T6" fmla="*/ 183 w 196"/>
                <a:gd name="T7" fmla="*/ 51 h 239"/>
                <a:gd name="T8" fmla="*/ 173 w 196"/>
                <a:gd name="T9" fmla="*/ 34 h 239"/>
                <a:gd name="T10" fmla="*/ 159 w 196"/>
                <a:gd name="T11" fmla="*/ 20 h 239"/>
                <a:gd name="T12" fmla="*/ 143 w 196"/>
                <a:gd name="T13" fmla="*/ 9 h 239"/>
                <a:gd name="T14" fmla="*/ 123 w 196"/>
                <a:gd name="T15" fmla="*/ 2 h 239"/>
                <a:gd name="T16" fmla="*/ 100 w 196"/>
                <a:gd name="T17" fmla="*/ 0 h 239"/>
                <a:gd name="T18" fmla="*/ 89 w 196"/>
                <a:gd name="T19" fmla="*/ 0 h 239"/>
                <a:gd name="T20" fmla="*/ 69 w 196"/>
                <a:gd name="T21" fmla="*/ 4 h 239"/>
                <a:gd name="T22" fmla="*/ 51 w 196"/>
                <a:gd name="T23" fmla="*/ 12 h 239"/>
                <a:gd name="T24" fmla="*/ 35 w 196"/>
                <a:gd name="T25" fmla="*/ 23 h 239"/>
                <a:gd name="T26" fmla="*/ 21 w 196"/>
                <a:gd name="T27" fmla="*/ 38 h 239"/>
                <a:gd name="T28" fmla="*/ 11 w 196"/>
                <a:gd name="T29" fmla="*/ 57 h 239"/>
                <a:gd name="T30" fmla="*/ 4 w 196"/>
                <a:gd name="T31" fmla="*/ 79 h 239"/>
                <a:gd name="T32" fmla="*/ 0 w 196"/>
                <a:gd name="T33" fmla="*/ 105 h 239"/>
                <a:gd name="T34" fmla="*/ 0 w 196"/>
                <a:gd name="T35" fmla="*/ 119 h 239"/>
                <a:gd name="T36" fmla="*/ 2 w 196"/>
                <a:gd name="T37" fmla="*/ 147 h 239"/>
                <a:gd name="T38" fmla="*/ 9 w 196"/>
                <a:gd name="T39" fmla="*/ 173 h 239"/>
                <a:gd name="T40" fmla="*/ 18 w 196"/>
                <a:gd name="T41" fmla="*/ 193 h 239"/>
                <a:gd name="T42" fmla="*/ 30 w 196"/>
                <a:gd name="T43" fmla="*/ 209 h 239"/>
                <a:gd name="T44" fmla="*/ 36 w 196"/>
                <a:gd name="T45" fmla="*/ 215 h 239"/>
                <a:gd name="T46" fmla="*/ 51 w 196"/>
                <a:gd name="T47" fmla="*/ 226 h 239"/>
                <a:gd name="T48" fmla="*/ 68 w 196"/>
                <a:gd name="T49" fmla="*/ 234 h 239"/>
                <a:gd name="T50" fmla="*/ 88 w 196"/>
                <a:gd name="T51" fmla="*/ 239 h 239"/>
                <a:gd name="T52" fmla="*/ 99 w 196"/>
                <a:gd name="T53" fmla="*/ 239 h 239"/>
                <a:gd name="T54" fmla="*/ 124 w 196"/>
                <a:gd name="T55" fmla="*/ 237 h 239"/>
                <a:gd name="T56" fmla="*/ 145 w 196"/>
                <a:gd name="T57" fmla="*/ 231 h 239"/>
                <a:gd name="T58" fmla="*/ 153 w 196"/>
                <a:gd name="T59" fmla="*/ 227 h 239"/>
                <a:gd name="T60" fmla="*/ 169 w 196"/>
                <a:gd name="T61" fmla="*/ 217 h 239"/>
                <a:gd name="T62" fmla="*/ 151 w 196"/>
                <a:gd name="T63" fmla="*/ 180 h 239"/>
                <a:gd name="T64" fmla="*/ 139 w 196"/>
                <a:gd name="T65" fmla="*/ 188 h 239"/>
                <a:gd name="T66" fmla="*/ 128 w 196"/>
                <a:gd name="T67" fmla="*/ 194 h 239"/>
                <a:gd name="T68" fmla="*/ 116 w 196"/>
                <a:gd name="T69" fmla="*/ 197 h 239"/>
                <a:gd name="T70" fmla="*/ 101 w 196"/>
                <a:gd name="T71" fmla="*/ 199 h 239"/>
                <a:gd name="T72" fmla="*/ 91 w 196"/>
                <a:gd name="T73" fmla="*/ 198 h 239"/>
                <a:gd name="T74" fmla="*/ 72 w 196"/>
                <a:gd name="T75" fmla="*/ 191 h 239"/>
                <a:gd name="T76" fmla="*/ 57 w 196"/>
                <a:gd name="T77" fmla="*/ 175 h 239"/>
                <a:gd name="T78" fmla="*/ 47 w 196"/>
                <a:gd name="T79" fmla="*/ 151 h 239"/>
                <a:gd name="T80" fmla="*/ 195 w 196"/>
                <a:gd name="T81" fmla="*/ 135 h 239"/>
                <a:gd name="T82" fmla="*/ 196 w 196"/>
                <a:gd name="T83" fmla="*/ 126 h 239"/>
                <a:gd name="T84" fmla="*/ 196 w 196"/>
                <a:gd name="T85" fmla="*/ 114 h 239"/>
                <a:gd name="T86" fmla="*/ 45 w 196"/>
                <a:gd name="T87" fmla="*/ 98 h 239"/>
                <a:gd name="T88" fmla="*/ 50 w 196"/>
                <a:gd name="T89" fmla="*/ 73 h 239"/>
                <a:gd name="T90" fmla="*/ 61 w 196"/>
                <a:gd name="T91" fmla="*/ 55 h 239"/>
                <a:gd name="T92" fmla="*/ 76 w 196"/>
                <a:gd name="T93" fmla="*/ 44 h 239"/>
                <a:gd name="T94" fmla="*/ 97 w 196"/>
                <a:gd name="T95" fmla="*/ 40 h 239"/>
                <a:gd name="T96" fmla="*/ 104 w 196"/>
                <a:gd name="T97" fmla="*/ 41 h 239"/>
                <a:gd name="T98" fmla="*/ 116 w 196"/>
                <a:gd name="T99" fmla="*/ 43 h 239"/>
                <a:gd name="T100" fmla="*/ 126 w 196"/>
                <a:gd name="T101" fmla="*/ 47 h 239"/>
                <a:gd name="T102" fmla="*/ 137 w 196"/>
                <a:gd name="T103" fmla="*/ 57 h 239"/>
                <a:gd name="T104" fmla="*/ 147 w 196"/>
                <a:gd name="T105" fmla="*/ 76 h 239"/>
                <a:gd name="T106" fmla="*/ 151 w 196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239">
                  <a:moveTo>
                    <a:pt x="196" y="114"/>
                  </a:moveTo>
                  <a:lnTo>
                    <a:pt x="196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1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0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3" y="184"/>
                  </a:lnTo>
                  <a:lnTo>
                    <a:pt x="18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1" y="222"/>
                  </a:lnTo>
                  <a:lnTo>
                    <a:pt x="169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1" y="198"/>
                  </a:lnTo>
                  <a:lnTo>
                    <a:pt x="81" y="195"/>
                  </a:lnTo>
                  <a:lnTo>
                    <a:pt x="72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6" y="114"/>
                  </a:lnTo>
                  <a:lnTo>
                    <a:pt x="196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6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2" name="Freeform 121"/>
            <p:cNvSpPr>
              <a:spLocks/>
            </p:cNvSpPr>
            <p:nvPr userDrawn="1"/>
          </p:nvSpPr>
          <p:spPr bwMode="auto">
            <a:xfrm>
              <a:off x="673100" y="6365876"/>
              <a:ext cx="115888" cy="90488"/>
            </a:xfrm>
            <a:custGeom>
              <a:avLst/>
              <a:gdLst>
                <a:gd name="T0" fmla="*/ 294 w 294"/>
                <a:gd name="T1" fmla="*/ 0 h 230"/>
                <a:gd name="T2" fmla="*/ 249 w 294"/>
                <a:gd name="T3" fmla="*/ 0 h 230"/>
                <a:gd name="T4" fmla="*/ 249 w 294"/>
                <a:gd name="T5" fmla="*/ 190 h 230"/>
                <a:gd name="T6" fmla="*/ 169 w 294"/>
                <a:gd name="T7" fmla="*/ 190 h 230"/>
                <a:gd name="T8" fmla="*/ 169 w 294"/>
                <a:gd name="T9" fmla="*/ 0 h 230"/>
                <a:gd name="T10" fmla="*/ 124 w 294"/>
                <a:gd name="T11" fmla="*/ 0 h 230"/>
                <a:gd name="T12" fmla="*/ 124 w 294"/>
                <a:gd name="T13" fmla="*/ 190 h 230"/>
                <a:gd name="T14" fmla="*/ 45 w 294"/>
                <a:gd name="T15" fmla="*/ 190 h 230"/>
                <a:gd name="T16" fmla="*/ 45 w 294"/>
                <a:gd name="T17" fmla="*/ 0 h 230"/>
                <a:gd name="T18" fmla="*/ 0 w 294"/>
                <a:gd name="T19" fmla="*/ 0 h 230"/>
                <a:gd name="T20" fmla="*/ 0 w 294"/>
                <a:gd name="T21" fmla="*/ 230 h 230"/>
                <a:gd name="T22" fmla="*/ 294 w 294"/>
                <a:gd name="T23" fmla="*/ 230 h 230"/>
                <a:gd name="T24" fmla="*/ 294 w 29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230">
                  <a:moveTo>
                    <a:pt x="294" y="0"/>
                  </a:moveTo>
                  <a:lnTo>
                    <a:pt x="249" y="0"/>
                  </a:lnTo>
                  <a:lnTo>
                    <a:pt x="249" y="190"/>
                  </a:lnTo>
                  <a:lnTo>
                    <a:pt x="169" y="190"/>
                  </a:lnTo>
                  <a:lnTo>
                    <a:pt x="169" y="0"/>
                  </a:lnTo>
                  <a:lnTo>
                    <a:pt x="124" y="0"/>
                  </a:lnTo>
                  <a:lnTo>
                    <a:pt x="124" y="190"/>
                  </a:lnTo>
                  <a:lnTo>
                    <a:pt x="45" y="19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294" y="23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3" name="Freeform 122"/>
            <p:cNvSpPr>
              <a:spLocks noEditPoints="1"/>
            </p:cNvSpPr>
            <p:nvPr userDrawn="1"/>
          </p:nvSpPr>
          <p:spPr bwMode="auto">
            <a:xfrm>
              <a:off x="808038" y="6362701"/>
              <a:ext cx="74613" cy="95250"/>
            </a:xfrm>
            <a:custGeom>
              <a:avLst/>
              <a:gdLst>
                <a:gd name="T0" fmla="*/ 186 w 186"/>
                <a:gd name="T1" fmla="*/ 77 h 239"/>
                <a:gd name="T2" fmla="*/ 185 w 186"/>
                <a:gd name="T3" fmla="*/ 67 h 239"/>
                <a:gd name="T4" fmla="*/ 182 w 186"/>
                <a:gd name="T5" fmla="*/ 50 h 239"/>
                <a:gd name="T6" fmla="*/ 176 w 186"/>
                <a:gd name="T7" fmla="*/ 36 h 239"/>
                <a:gd name="T8" fmla="*/ 167 w 186"/>
                <a:gd name="T9" fmla="*/ 24 h 239"/>
                <a:gd name="T10" fmla="*/ 156 w 186"/>
                <a:gd name="T11" fmla="*/ 14 h 239"/>
                <a:gd name="T12" fmla="*/ 142 w 186"/>
                <a:gd name="T13" fmla="*/ 7 h 239"/>
                <a:gd name="T14" fmla="*/ 127 w 186"/>
                <a:gd name="T15" fmla="*/ 2 h 239"/>
                <a:gd name="T16" fmla="*/ 109 w 186"/>
                <a:gd name="T17" fmla="*/ 0 h 239"/>
                <a:gd name="T18" fmla="*/ 100 w 186"/>
                <a:gd name="T19" fmla="*/ 0 h 239"/>
                <a:gd name="T20" fmla="*/ 77 w 186"/>
                <a:gd name="T21" fmla="*/ 1 h 239"/>
                <a:gd name="T22" fmla="*/ 57 w 186"/>
                <a:gd name="T23" fmla="*/ 5 h 239"/>
                <a:gd name="T24" fmla="*/ 38 w 186"/>
                <a:gd name="T25" fmla="*/ 11 h 239"/>
                <a:gd name="T26" fmla="*/ 21 w 186"/>
                <a:gd name="T27" fmla="*/ 20 h 239"/>
                <a:gd name="T28" fmla="*/ 39 w 186"/>
                <a:gd name="T29" fmla="*/ 54 h 239"/>
                <a:gd name="T30" fmla="*/ 66 w 186"/>
                <a:gd name="T31" fmla="*/ 43 h 239"/>
                <a:gd name="T32" fmla="*/ 98 w 186"/>
                <a:gd name="T33" fmla="*/ 40 h 239"/>
                <a:gd name="T34" fmla="*/ 108 w 186"/>
                <a:gd name="T35" fmla="*/ 41 h 239"/>
                <a:gd name="T36" fmla="*/ 124 w 186"/>
                <a:gd name="T37" fmla="*/ 46 h 239"/>
                <a:gd name="T38" fmla="*/ 135 w 186"/>
                <a:gd name="T39" fmla="*/ 56 h 239"/>
                <a:gd name="T40" fmla="*/ 141 w 186"/>
                <a:gd name="T41" fmla="*/ 70 h 239"/>
                <a:gd name="T42" fmla="*/ 142 w 186"/>
                <a:gd name="T43" fmla="*/ 96 h 239"/>
                <a:gd name="T44" fmla="*/ 132 w 186"/>
                <a:gd name="T45" fmla="*/ 92 h 239"/>
                <a:gd name="T46" fmla="*/ 107 w 186"/>
                <a:gd name="T47" fmla="*/ 88 h 239"/>
                <a:gd name="T48" fmla="*/ 91 w 186"/>
                <a:gd name="T49" fmla="*/ 87 h 239"/>
                <a:gd name="T50" fmla="*/ 63 w 186"/>
                <a:gd name="T51" fmla="*/ 89 h 239"/>
                <a:gd name="T52" fmla="*/ 47 w 186"/>
                <a:gd name="T53" fmla="*/ 94 h 239"/>
                <a:gd name="T54" fmla="*/ 32 w 186"/>
                <a:gd name="T55" fmla="*/ 101 h 239"/>
                <a:gd name="T56" fmla="*/ 20 w 186"/>
                <a:gd name="T57" fmla="*/ 110 h 239"/>
                <a:gd name="T58" fmla="*/ 10 w 186"/>
                <a:gd name="T59" fmla="*/ 121 h 239"/>
                <a:gd name="T60" fmla="*/ 3 w 186"/>
                <a:gd name="T61" fmla="*/ 135 h 239"/>
                <a:gd name="T62" fmla="*/ 0 w 186"/>
                <a:gd name="T63" fmla="*/ 153 h 239"/>
                <a:gd name="T64" fmla="*/ 0 w 186"/>
                <a:gd name="T65" fmla="*/ 162 h 239"/>
                <a:gd name="T66" fmla="*/ 1 w 186"/>
                <a:gd name="T67" fmla="*/ 182 h 239"/>
                <a:gd name="T68" fmla="*/ 7 w 186"/>
                <a:gd name="T69" fmla="*/ 198 h 239"/>
                <a:gd name="T70" fmla="*/ 15 w 186"/>
                <a:gd name="T71" fmla="*/ 211 h 239"/>
                <a:gd name="T72" fmla="*/ 25 w 186"/>
                <a:gd name="T73" fmla="*/ 222 h 239"/>
                <a:gd name="T74" fmla="*/ 37 w 186"/>
                <a:gd name="T75" fmla="*/ 230 h 239"/>
                <a:gd name="T76" fmla="*/ 51 w 186"/>
                <a:gd name="T77" fmla="*/ 235 h 239"/>
                <a:gd name="T78" fmla="*/ 79 w 186"/>
                <a:gd name="T79" fmla="*/ 239 h 239"/>
                <a:gd name="T80" fmla="*/ 90 w 186"/>
                <a:gd name="T81" fmla="*/ 239 h 239"/>
                <a:gd name="T82" fmla="*/ 108 w 186"/>
                <a:gd name="T83" fmla="*/ 234 h 239"/>
                <a:gd name="T84" fmla="*/ 115 w 186"/>
                <a:gd name="T85" fmla="*/ 231 h 239"/>
                <a:gd name="T86" fmla="*/ 134 w 186"/>
                <a:gd name="T87" fmla="*/ 219 h 239"/>
                <a:gd name="T88" fmla="*/ 142 w 186"/>
                <a:gd name="T89" fmla="*/ 235 h 239"/>
                <a:gd name="T90" fmla="*/ 142 w 186"/>
                <a:gd name="T91" fmla="*/ 170 h 239"/>
                <a:gd name="T92" fmla="*/ 137 w 186"/>
                <a:gd name="T93" fmla="*/ 175 h 239"/>
                <a:gd name="T94" fmla="*/ 126 w 186"/>
                <a:gd name="T95" fmla="*/ 185 h 239"/>
                <a:gd name="T96" fmla="*/ 112 w 186"/>
                <a:gd name="T97" fmla="*/ 193 h 239"/>
                <a:gd name="T98" fmla="*/ 95 w 186"/>
                <a:gd name="T99" fmla="*/ 198 h 239"/>
                <a:gd name="T100" fmla="*/ 86 w 186"/>
                <a:gd name="T101" fmla="*/ 199 h 239"/>
                <a:gd name="T102" fmla="*/ 68 w 186"/>
                <a:gd name="T103" fmla="*/ 196 h 239"/>
                <a:gd name="T104" fmla="*/ 55 w 186"/>
                <a:gd name="T105" fmla="*/ 190 h 239"/>
                <a:gd name="T106" fmla="*/ 50 w 186"/>
                <a:gd name="T107" fmla="*/ 185 h 239"/>
                <a:gd name="T108" fmla="*/ 43 w 186"/>
                <a:gd name="T109" fmla="*/ 170 h 239"/>
                <a:gd name="T110" fmla="*/ 42 w 186"/>
                <a:gd name="T111" fmla="*/ 161 h 239"/>
                <a:gd name="T112" fmla="*/ 45 w 186"/>
                <a:gd name="T113" fmla="*/ 146 h 239"/>
                <a:gd name="T114" fmla="*/ 55 w 186"/>
                <a:gd name="T115" fmla="*/ 135 h 239"/>
                <a:gd name="T116" fmla="*/ 70 w 186"/>
                <a:gd name="T117" fmla="*/ 128 h 239"/>
                <a:gd name="T118" fmla="*/ 89 w 186"/>
                <a:gd name="T119" fmla="*/ 126 h 239"/>
                <a:gd name="T120" fmla="*/ 106 w 186"/>
                <a:gd name="T121" fmla="*/ 126 h 239"/>
                <a:gd name="T122" fmla="*/ 119 w 186"/>
                <a:gd name="T123" fmla="*/ 128 h 239"/>
                <a:gd name="T124" fmla="*/ 142 w 186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239">
                  <a:moveTo>
                    <a:pt x="186" y="235"/>
                  </a:moveTo>
                  <a:lnTo>
                    <a:pt x="186" y="77"/>
                  </a:lnTo>
                  <a:lnTo>
                    <a:pt x="186" y="77"/>
                  </a:lnTo>
                  <a:lnTo>
                    <a:pt x="185" y="67"/>
                  </a:lnTo>
                  <a:lnTo>
                    <a:pt x="184" y="58"/>
                  </a:lnTo>
                  <a:lnTo>
                    <a:pt x="182" y="50"/>
                  </a:lnTo>
                  <a:lnTo>
                    <a:pt x="179" y="43"/>
                  </a:lnTo>
                  <a:lnTo>
                    <a:pt x="176" y="36"/>
                  </a:lnTo>
                  <a:lnTo>
                    <a:pt x="172" y="29"/>
                  </a:lnTo>
                  <a:lnTo>
                    <a:pt x="167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49" y="10"/>
                  </a:lnTo>
                  <a:lnTo>
                    <a:pt x="142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1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2" y="48"/>
                  </a:lnTo>
                  <a:lnTo>
                    <a:pt x="66" y="43"/>
                  </a:lnTo>
                  <a:lnTo>
                    <a:pt x="82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8" y="41"/>
                  </a:lnTo>
                  <a:lnTo>
                    <a:pt x="117" y="43"/>
                  </a:lnTo>
                  <a:lnTo>
                    <a:pt x="124" y="46"/>
                  </a:lnTo>
                  <a:lnTo>
                    <a:pt x="131" y="50"/>
                  </a:lnTo>
                  <a:lnTo>
                    <a:pt x="135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2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6" y="128"/>
                  </a:lnTo>
                  <a:lnTo>
                    <a:pt x="3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1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0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7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6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7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5" y="146"/>
                  </a:lnTo>
                  <a:lnTo>
                    <a:pt x="49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6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4" name="Freeform 123"/>
            <p:cNvSpPr>
              <a:spLocks noEditPoints="1"/>
            </p:cNvSpPr>
            <p:nvPr userDrawn="1"/>
          </p:nvSpPr>
          <p:spPr bwMode="auto">
            <a:xfrm>
              <a:off x="896938" y="6365876"/>
              <a:ext cx="76200" cy="90488"/>
            </a:xfrm>
            <a:custGeom>
              <a:avLst/>
              <a:gdLst>
                <a:gd name="T0" fmla="*/ 0 w 195"/>
                <a:gd name="T1" fmla="*/ 230 h 230"/>
                <a:gd name="T2" fmla="*/ 50 w 195"/>
                <a:gd name="T3" fmla="*/ 230 h 230"/>
                <a:gd name="T4" fmla="*/ 101 w 195"/>
                <a:gd name="T5" fmla="*/ 138 h 230"/>
                <a:gd name="T6" fmla="*/ 151 w 195"/>
                <a:gd name="T7" fmla="*/ 138 h 230"/>
                <a:gd name="T8" fmla="*/ 151 w 195"/>
                <a:gd name="T9" fmla="*/ 230 h 230"/>
                <a:gd name="T10" fmla="*/ 195 w 195"/>
                <a:gd name="T11" fmla="*/ 230 h 230"/>
                <a:gd name="T12" fmla="*/ 195 w 195"/>
                <a:gd name="T13" fmla="*/ 0 h 230"/>
                <a:gd name="T14" fmla="*/ 82 w 195"/>
                <a:gd name="T15" fmla="*/ 0 h 230"/>
                <a:gd name="T16" fmla="*/ 82 w 195"/>
                <a:gd name="T17" fmla="*/ 0 h 230"/>
                <a:gd name="T18" fmla="*/ 67 w 195"/>
                <a:gd name="T19" fmla="*/ 1 h 230"/>
                <a:gd name="T20" fmla="*/ 60 w 195"/>
                <a:gd name="T21" fmla="*/ 2 h 230"/>
                <a:gd name="T22" fmla="*/ 53 w 195"/>
                <a:gd name="T23" fmla="*/ 4 h 230"/>
                <a:gd name="T24" fmla="*/ 47 w 195"/>
                <a:gd name="T25" fmla="*/ 6 h 230"/>
                <a:gd name="T26" fmla="*/ 41 w 195"/>
                <a:gd name="T27" fmla="*/ 9 h 230"/>
                <a:gd name="T28" fmla="*/ 36 w 195"/>
                <a:gd name="T29" fmla="*/ 13 h 230"/>
                <a:gd name="T30" fmla="*/ 31 w 195"/>
                <a:gd name="T31" fmla="*/ 17 h 230"/>
                <a:gd name="T32" fmla="*/ 26 w 195"/>
                <a:gd name="T33" fmla="*/ 21 h 230"/>
                <a:gd name="T34" fmla="*/ 22 w 195"/>
                <a:gd name="T35" fmla="*/ 27 h 230"/>
                <a:gd name="T36" fmla="*/ 19 w 195"/>
                <a:gd name="T37" fmla="*/ 32 h 230"/>
                <a:gd name="T38" fmla="*/ 16 w 195"/>
                <a:gd name="T39" fmla="*/ 38 h 230"/>
                <a:gd name="T40" fmla="*/ 14 w 195"/>
                <a:gd name="T41" fmla="*/ 45 h 230"/>
                <a:gd name="T42" fmla="*/ 12 w 195"/>
                <a:gd name="T43" fmla="*/ 52 h 230"/>
                <a:gd name="T44" fmla="*/ 11 w 195"/>
                <a:gd name="T45" fmla="*/ 60 h 230"/>
                <a:gd name="T46" fmla="*/ 10 w 195"/>
                <a:gd name="T47" fmla="*/ 69 h 230"/>
                <a:gd name="T48" fmla="*/ 10 w 195"/>
                <a:gd name="T49" fmla="*/ 69 h 230"/>
                <a:gd name="T50" fmla="*/ 11 w 195"/>
                <a:gd name="T51" fmla="*/ 82 h 230"/>
                <a:gd name="T52" fmla="*/ 14 w 195"/>
                <a:gd name="T53" fmla="*/ 93 h 230"/>
                <a:gd name="T54" fmla="*/ 18 w 195"/>
                <a:gd name="T55" fmla="*/ 103 h 230"/>
                <a:gd name="T56" fmla="*/ 23 w 195"/>
                <a:gd name="T57" fmla="*/ 112 h 230"/>
                <a:gd name="T58" fmla="*/ 30 w 195"/>
                <a:gd name="T59" fmla="*/ 119 h 230"/>
                <a:gd name="T60" fmla="*/ 38 w 195"/>
                <a:gd name="T61" fmla="*/ 125 h 230"/>
                <a:gd name="T62" fmla="*/ 47 w 195"/>
                <a:gd name="T63" fmla="*/ 129 h 230"/>
                <a:gd name="T64" fmla="*/ 58 w 195"/>
                <a:gd name="T65" fmla="*/ 132 h 230"/>
                <a:gd name="T66" fmla="*/ 0 w 195"/>
                <a:gd name="T67" fmla="*/ 230 h 230"/>
                <a:gd name="T68" fmla="*/ 151 w 195"/>
                <a:gd name="T69" fmla="*/ 37 h 230"/>
                <a:gd name="T70" fmla="*/ 151 w 195"/>
                <a:gd name="T71" fmla="*/ 101 h 230"/>
                <a:gd name="T72" fmla="*/ 87 w 195"/>
                <a:gd name="T73" fmla="*/ 101 h 230"/>
                <a:gd name="T74" fmla="*/ 87 w 195"/>
                <a:gd name="T75" fmla="*/ 101 h 230"/>
                <a:gd name="T76" fmla="*/ 80 w 195"/>
                <a:gd name="T77" fmla="*/ 100 h 230"/>
                <a:gd name="T78" fmla="*/ 73 w 195"/>
                <a:gd name="T79" fmla="*/ 99 h 230"/>
                <a:gd name="T80" fmla="*/ 68 w 195"/>
                <a:gd name="T81" fmla="*/ 96 h 230"/>
                <a:gd name="T82" fmla="*/ 63 w 195"/>
                <a:gd name="T83" fmla="*/ 92 h 230"/>
                <a:gd name="T84" fmla="*/ 60 w 195"/>
                <a:gd name="T85" fmla="*/ 88 h 230"/>
                <a:gd name="T86" fmla="*/ 57 w 195"/>
                <a:gd name="T87" fmla="*/ 82 h 230"/>
                <a:gd name="T88" fmla="*/ 56 w 195"/>
                <a:gd name="T89" fmla="*/ 76 h 230"/>
                <a:gd name="T90" fmla="*/ 55 w 195"/>
                <a:gd name="T91" fmla="*/ 69 h 230"/>
                <a:gd name="T92" fmla="*/ 55 w 195"/>
                <a:gd name="T93" fmla="*/ 69 h 230"/>
                <a:gd name="T94" fmla="*/ 56 w 195"/>
                <a:gd name="T95" fmla="*/ 62 h 230"/>
                <a:gd name="T96" fmla="*/ 58 w 195"/>
                <a:gd name="T97" fmla="*/ 55 h 230"/>
                <a:gd name="T98" fmla="*/ 60 w 195"/>
                <a:gd name="T99" fmla="*/ 50 h 230"/>
                <a:gd name="T100" fmla="*/ 64 w 195"/>
                <a:gd name="T101" fmla="*/ 45 h 230"/>
                <a:gd name="T102" fmla="*/ 69 w 195"/>
                <a:gd name="T103" fmla="*/ 41 h 230"/>
                <a:gd name="T104" fmla="*/ 74 w 195"/>
                <a:gd name="T105" fmla="*/ 39 h 230"/>
                <a:gd name="T106" fmla="*/ 80 w 195"/>
                <a:gd name="T107" fmla="*/ 37 h 230"/>
                <a:gd name="T108" fmla="*/ 87 w 195"/>
                <a:gd name="T109" fmla="*/ 37 h 230"/>
                <a:gd name="T110" fmla="*/ 151 w 195"/>
                <a:gd name="T111" fmla="*/ 3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5" h="230">
                  <a:moveTo>
                    <a:pt x="0" y="230"/>
                  </a:moveTo>
                  <a:lnTo>
                    <a:pt x="50" y="230"/>
                  </a:lnTo>
                  <a:lnTo>
                    <a:pt x="101" y="138"/>
                  </a:lnTo>
                  <a:lnTo>
                    <a:pt x="151" y="138"/>
                  </a:lnTo>
                  <a:lnTo>
                    <a:pt x="151" y="230"/>
                  </a:lnTo>
                  <a:lnTo>
                    <a:pt x="195" y="230"/>
                  </a:lnTo>
                  <a:lnTo>
                    <a:pt x="195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41" y="9"/>
                  </a:lnTo>
                  <a:lnTo>
                    <a:pt x="36" y="13"/>
                  </a:lnTo>
                  <a:lnTo>
                    <a:pt x="31" y="17"/>
                  </a:lnTo>
                  <a:lnTo>
                    <a:pt x="26" y="21"/>
                  </a:lnTo>
                  <a:lnTo>
                    <a:pt x="22" y="27"/>
                  </a:lnTo>
                  <a:lnTo>
                    <a:pt x="19" y="32"/>
                  </a:lnTo>
                  <a:lnTo>
                    <a:pt x="16" y="38"/>
                  </a:lnTo>
                  <a:lnTo>
                    <a:pt x="14" y="45"/>
                  </a:lnTo>
                  <a:lnTo>
                    <a:pt x="12" y="52"/>
                  </a:lnTo>
                  <a:lnTo>
                    <a:pt x="11" y="60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1" y="82"/>
                  </a:lnTo>
                  <a:lnTo>
                    <a:pt x="14" y="93"/>
                  </a:lnTo>
                  <a:lnTo>
                    <a:pt x="18" y="103"/>
                  </a:lnTo>
                  <a:lnTo>
                    <a:pt x="23" y="112"/>
                  </a:lnTo>
                  <a:lnTo>
                    <a:pt x="30" y="119"/>
                  </a:lnTo>
                  <a:lnTo>
                    <a:pt x="38" y="125"/>
                  </a:lnTo>
                  <a:lnTo>
                    <a:pt x="47" y="129"/>
                  </a:lnTo>
                  <a:lnTo>
                    <a:pt x="58" y="132"/>
                  </a:lnTo>
                  <a:lnTo>
                    <a:pt x="0" y="230"/>
                  </a:lnTo>
                  <a:close/>
                  <a:moveTo>
                    <a:pt x="151" y="37"/>
                  </a:moveTo>
                  <a:lnTo>
                    <a:pt x="151" y="101"/>
                  </a:lnTo>
                  <a:lnTo>
                    <a:pt x="87" y="101"/>
                  </a:lnTo>
                  <a:lnTo>
                    <a:pt x="87" y="101"/>
                  </a:lnTo>
                  <a:lnTo>
                    <a:pt x="80" y="100"/>
                  </a:lnTo>
                  <a:lnTo>
                    <a:pt x="73" y="99"/>
                  </a:lnTo>
                  <a:lnTo>
                    <a:pt x="68" y="96"/>
                  </a:lnTo>
                  <a:lnTo>
                    <a:pt x="63" y="92"/>
                  </a:lnTo>
                  <a:lnTo>
                    <a:pt x="60" y="88"/>
                  </a:lnTo>
                  <a:lnTo>
                    <a:pt x="57" y="82"/>
                  </a:lnTo>
                  <a:lnTo>
                    <a:pt x="56" y="76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6" y="62"/>
                  </a:lnTo>
                  <a:lnTo>
                    <a:pt x="58" y="55"/>
                  </a:lnTo>
                  <a:lnTo>
                    <a:pt x="60" y="50"/>
                  </a:lnTo>
                  <a:lnTo>
                    <a:pt x="64" y="45"/>
                  </a:lnTo>
                  <a:lnTo>
                    <a:pt x="69" y="41"/>
                  </a:lnTo>
                  <a:lnTo>
                    <a:pt x="74" y="39"/>
                  </a:lnTo>
                  <a:lnTo>
                    <a:pt x="80" y="37"/>
                  </a:lnTo>
                  <a:lnTo>
                    <a:pt x="87" y="37"/>
                  </a:lnTo>
                  <a:lnTo>
                    <a:pt x="151" y="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5" name="Freeform 124"/>
            <p:cNvSpPr>
              <a:spLocks/>
            </p:cNvSpPr>
            <p:nvPr userDrawn="1"/>
          </p:nvSpPr>
          <p:spPr bwMode="auto">
            <a:xfrm>
              <a:off x="1036638" y="6362701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2 h 239"/>
                <a:gd name="T8" fmla="*/ 100 w 181"/>
                <a:gd name="T9" fmla="*/ 0 h 239"/>
                <a:gd name="T10" fmla="*/ 90 w 181"/>
                <a:gd name="T11" fmla="*/ 0 h 239"/>
                <a:gd name="T12" fmla="*/ 70 w 181"/>
                <a:gd name="T13" fmla="*/ 4 h 239"/>
                <a:gd name="T14" fmla="*/ 52 w 181"/>
                <a:gd name="T15" fmla="*/ 12 h 239"/>
                <a:gd name="T16" fmla="*/ 36 w 181"/>
                <a:gd name="T17" fmla="*/ 24 h 239"/>
                <a:gd name="T18" fmla="*/ 23 w 181"/>
                <a:gd name="T19" fmla="*/ 39 h 239"/>
                <a:gd name="T20" fmla="*/ 12 w 181"/>
                <a:gd name="T21" fmla="*/ 58 h 239"/>
                <a:gd name="T22" fmla="*/ 4 w 181"/>
                <a:gd name="T23" fmla="*/ 80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5 h 239"/>
                <a:gd name="T30" fmla="*/ 8 w 181"/>
                <a:gd name="T31" fmla="*/ 169 h 239"/>
                <a:gd name="T32" fmla="*/ 17 w 181"/>
                <a:gd name="T33" fmla="*/ 190 h 239"/>
                <a:gd name="T34" fmla="*/ 29 w 181"/>
                <a:gd name="T35" fmla="*/ 207 h 239"/>
                <a:gd name="T36" fmla="*/ 43 w 181"/>
                <a:gd name="T37" fmla="*/ 221 h 239"/>
                <a:gd name="T38" fmla="*/ 60 w 181"/>
                <a:gd name="T39" fmla="*/ 231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8 w 181"/>
                <a:gd name="T47" fmla="*/ 232 h 239"/>
                <a:gd name="T48" fmla="*/ 158 w 181"/>
                <a:gd name="T49" fmla="*/ 220 h 239"/>
                <a:gd name="T50" fmla="*/ 174 w 181"/>
                <a:gd name="T51" fmla="*/ 205 h 239"/>
                <a:gd name="T52" fmla="*/ 152 w 181"/>
                <a:gd name="T53" fmla="*/ 168 h 239"/>
                <a:gd name="T54" fmla="*/ 139 w 181"/>
                <a:gd name="T55" fmla="*/ 181 h 239"/>
                <a:gd name="T56" fmla="*/ 127 w 181"/>
                <a:gd name="T57" fmla="*/ 189 h 239"/>
                <a:gd name="T58" fmla="*/ 115 w 181"/>
                <a:gd name="T59" fmla="*/ 195 h 239"/>
                <a:gd name="T60" fmla="*/ 100 w 181"/>
                <a:gd name="T61" fmla="*/ 197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8 h 239"/>
                <a:gd name="T68" fmla="*/ 63 w 181"/>
                <a:gd name="T69" fmla="*/ 180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8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3 h 239"/>
                <a:gd name="T82" fmla="*/ 68 w 181"/>
                <a:gd name="T83" fmla="*/ 54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1 w 181"/>
                <a:gd name="T93" fmla="*/ 46 h 239"/>
                <a:gd name="T94" fmla="*/ 134 w 181"/>
                <a:gd name="T95" fmla="*/ 53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5"/>
                  </a:lnTo>
                  <a:lnTo>
                    <a:pt x="145" y="10"/>
                  </a:lnTo>
                  <a:lnTo>
                    <a:pt x="135" y="5"/>
                  </a:lnTo>
                  <a:lnTo>
                    <a:pt x="124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0"/>
                  </a:lnTo>
                  <a:lnTo>
                    <a:pt x="80" y="2"/>
                  </a:lnTo>
                  <a:lnTo>
                    <a:pt x="70" y="4"/>
                  </a:lnTo>
                  <a:lnTo>
                    <a:pt x="61" y="8"/>
                  </a:lnTo>
                  <a:lnTo>
                    <a:pt x="52" y="12"/>
                  </a:lnTo>
                  <a:lnTo>
                    <a:pt x="44" y="18"/>
                  </a:lnTo>
                  <a:lnTo>
                    <a:pt x="36" y="24"/>
                  </a:lnTo>
                  <a:lnTo>
                    <a:pt x="29" y="31"/>
                  </a:lnTo>
                  <a:lnTo>
                    <a:pt x="23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4" y="80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5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90"/>
                  </a:lnTo>
                  <a:lnTo>
                    <a:pt x="22" y="199"/>
                  </a:lnTo>
                  <a:lnTo>
                    <a:pt x="29" y="207"/>
                  </a:lnTo>
                  <a:lnTo>
                    <a:pt x="35" y="214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60" y="231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6"/>
                  </a:lnTo>
                  <a:lnTo>
                    <a:pt x="138" y="232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3"/>
                  </a:lnTo>
                  <a:lnTo>
                    <a:pt x="174" y="205"/>
                  </a:lnTo>
                  <a:lnTo>
                    <a:pt x="181" y="197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1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3"/>
                  </a:lnTo>
                  <a:lnTo>
                    <a:pt x="115" y="195"/>
                  </a:lnTo>
                  <a:lnTo>
                    <a:pt x="108" y="196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1"/>
                  </a:lnTo>
                  <a:lnTo>
                    <a:pt x="72" y="188"/>
                  </a:lnTo>
                  <a:lnTo>
                    <a:pt x="67" y="184"/>
                  </a:lnTo>
                  <a:lnTo>
                    <a:pt x="63" y="180"/>
                  </a:lnTo>
                  <a:lnTo>
                    <a:pt x="59" y="175"/>
                  </a:lnTo>
                  <a:lnTo>
                    <a:pt x="56" y="169"/>
                  </a:lnTo>
                  <a:lnTo>
                    <a:pt x="53" y="164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8"/>
                  </a:lnTo>
                  <a:lnTo>
                    <a:pt x="68" y="54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4" y="44"/>
                  </a:lnTo>
                  <a:lnTo>
                    <a:pt x="121" y="46"/>
                  </a:lnTo>
                  <a:lnTo>
                    <a:pt x="127" y="49"/>
                  </a:lnTo>
                  <a:lnTo>
                    <a:pt x="134" y="53"/>
                  </a:lnTo>
                  <a:lnTo>
                    <a:pt x="141" y="58"/>
                  </a:lnTo>
                  <a:lnTo>
                    <a:pt x="148" y="64"/>
                  </a:lnTo>
                  <a:lnTo>
                    <a:pt x="155" y="70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6" name="Freeform 125"/>
            <p:cNvSpPr>
              <a:spLocks/>
            </p:cNvSpPr>
            <p:nvPr userDrawn="1"/>
          </p:nvSpPr>
          <p:spPr bwMode="auto">
            <a:xfrm>
              <a:off x="1116013" y="6365876"/>
              <a:ext cx="82550" cy="92075"/>
            </a:xfrm>
            <a:custGeom>
              <a:avLst/>
              <a:gdLst>
                <a:gd name="T0" fmla="*/ 93 w 208"/>
                <a:gd name="T1" fmla="*/ 39 h 234"/>
                <a:gd name="T2" fmla="*/ 163 w 208"/>
                <a:gd name="T3" fmla="*/ 39 h 234"/>
                <a:gd name="T4" fmla="*/ 163 w 208"/>
                <a:gd name="T5" fmla="*/ 230 h 234"/>
                <a:gd name="T6" fmla="*/ 208 w 208"/>
                <a:gd name="T7" fmla="*/ 230 h 234"/>
                <a:gd name="T8" fmla="*/ 208 w 208"/>
                <a:gd name="T9" fmla="*/ 0 h 234"/>
                <a:gd name="T10" fmla="*/ 51 w 208"/>
                <a:gd name="T11" fmla="*/ 0 h 234"/>
                <a:gd name="T12" fmla="*/ 46 w 208"/>
                <a:gd name="T13" fmla="*/ 116 h 234"/>
                <a:gd name="T14" fmla="*/ 46 w 208"/>
                <a:gd name="T15" fmla="*/ 116 h 234"/>
                <a:gd name="T16" fmla="*/ 45 w 208"/>
                <a:gd name="T17" fmla="*/ 135 h 234"/>
                <a:gd name="T18" fmla="*/ 42 w 208"/>
                <a:gd name="T19" fmla="*/ 152 h 234"/>
                <a:gd name="T20" fmla="*/ 37 w 208"/>
                <a:gd name="T21" fmla="*/ 165 h 234"/>
                <a:gd name="T22" fmla="*/ 32 w 208"/>
                <a:gd name="T23" fmla="*/ 175 h 234"/>
                <a:gd name="T24" fmla="*/ 25 w 208"/>
                <a:gd name="T25" fmla="*/ 183 h 234"/>
                <a:gd name="T26" fmla="*/ 17 w 208"/>
                <a:gd name="T27" fmla="*/ 189 h 234"/>
                <a:gd name="T28" fmla="*/ 9 w 208"/>
                <a:gd name="T29" fmla="*/ 193 h 234"/>
                <a:gd name="T30" fmla="*/ 0 w 208"/>
                <a:gd name="T31" fmla="*/ 195 h 234"/>
                <a:gd name="T32" fmla="*/ 11 w 208"/>
                <a:gd name="T33" fmla="*/ 234 h 234"/>
                <a:gd name="T34" fmla="*/ 11 w 208"/>
                <a:gd name="T35" fmla="*/ 234 h 234"/>
                <a:gd name="T36" fmla="*/ 18 w 208"/>
                <a:gd name="T37" fmla="*/ 233 h 234"/>
                <a:gd name="T38" fmla="*/ 26 w 208"/>
                <a:gd name="T39" fmla="*/ 230 h 234"/>
                <a:gd name="T40" fmla="*/ 33 w 208"/>
                <a:gd name="T41" fmla="*/ 228 h 234"/>
                <a:gd name="T42" fmla="*/ 40 w 208"/>
                <a:gd name="T43" fmla="*/ 224 h 234"/>
                <a:gd name="T44" fmla="*/ 47 w 208"/>
                <a:gd name="T45" fmla="*/ 220 h 234"/>
                <a:gd name="T46" fmla="*/ 53 w 208"/>
                <a:gd name="T47" fmla="*/ 215 h 234"/>
                <a:gd name="T48" fmla="*/ 59 w 208"/>
                <a:gd name="T49" fmla="*/ 209 h 234"/>
                <a:gd name="T50" fmla="*/ 65 w 208"/>
                <a:gd name="T51" fmla="*/ 203 h 234"/>
                <a:gd name="T52" fmla="*/ 70 w 208"/>
                <a:gd name="T53" fmla="*/ 195 h 234"/>
                <a:gd name="T54" fmla="*/ 75 w 208"/>
                <a:gd name="T55" fmla="*/ 187 h 234"/>
                <a:gd name="T56" fmla="*/ 79 w 208"/>
                <a:gd name="T57" fmla="*/ 178 h 234"/>
                <a:gd name="T58" fmla="*/ 82 w 208"/>
                <a:gd name="T59" fmla="*/ 168 h 234"/>
                <a:gd name="T60" fmla="*/ 86 w 208"/>
                <a:gd name="T61" fmla="*/ 156 h 234"/>
                <a:gd name="T62" fmla="*/ 88 w 208"/>
                <a:gd name="T63" fmla="*/ 143 h 234"/>
                <a:gd name="T64" fmla="*/ 89 w 208"/>
                <a:gd name="T65" fmla="*/ 130 h 234"/>
                <a:gd name="T66" fmla="*/ 90 w 208"/>
                <a:gd name="T67" fmla="*/ 116 h 234"/>
                <a:gd name="T68" fmla="*/ 93 w 208"/>
                <a:gd name="T69" fmla="*/ 3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234">
                  <a:moveTo>
                    <a:pt x="93" y="39"/>
                  </a:moveTo>
                  <a:lnTo>
                    <a:pt x="163" y="39"/>
                  </a:lnTo>
                  <a:lnTo>
                    <a:pt x="163" y="230"/>
                  </a:lnTo>
                  <a:lnTo>
                    <a:pt x="208" y="230"/>
                  </a:lnTo>
                  <a:lnTo>
                    <a:pt x="208" y="0"/>
                  </a:lnTo>
                  <a:lnTo>
                    <a:pt x="51" y="0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5" y="135"/>
                  </a:lnTo>
                  <a:lnTo>
                    <a:pt x="42" y="152"/>
                  </a:lnTo>
                  <a:lnTo>
                    <a:pt x="37" y="165"/>
                  </a:lnTo>
                  <a:lnTo>
                    <a:pt x="32" y="175"/>
                  </a:lnTo>
                  <a:lnTo>
                    <a:pt x="25" y="183"/>
                  </a:lnTo>
                  <a:lnTo>
                    <a:pt x="17" y="189"/>
                  </a:lnTo>
                  <a:lnTo>
                    <a:pt x="9" y="193"/>
                  </a:lnTo>
                  <a:lnTo>
                    <a:pt x="0" y="195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8" y="233"/>
                  </a:lnTo>
                  <a:lnTo>
                    <a:pt x="26" y="230"/>
                  </a:lnTo>
                  <a:lnTo>
                    <a:pt x="33" y="228"/>
                  </a:lnTo>
                  <a:lnTo>
                    <a:pt x="40" y="224"/>
                  </a:lnTo>
                  <a:lnTo>
                    <a:pt x="47" y="220"/>
                  </a:lnTo>
                  <a:lnTo>
                    <a:pt x="53" y="215"/>
                  </a:lnTo>
                  <a:lnTo>
                    <a:pt x="59" y="209"/>
                  </a:lnTo>
                  <a:lnTo>
                    <a:pt x="65" y="203"/>
                  </a:lnTo>
                  <a:lnTo>
                    <a:pt x="70" y="195"/>
                  </a:lnTo>
                  <a:lnTo>
                    <a:pt x="75" y="187"/>
                  </a:lnTo>
                  <a:lnTo>
                    <a:pt x="79" y="178"/>
                  </a:lnTo>
                  <a:lnTo>
                    <a:pt x="82" y="168"/>
                  </a:lnTo>
                  <a:lnTo>
                    <a:pt x="86" y="156"/>
                  </a:lnTo>
                  <a:lnTo>
                    <a:pt x="88" y="143"/>
                  </a:lnTo>
                  <a:lnTo>
                    <a:pt x="89" y="130"/>
                  </a:lnTo>
                  <a:lnTo>
                    <a:pt x="90" y="116"/>
                  </a:lnTo>
                  <a:lnTo>
                    <a:pt x="9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7" name="Freeform 126"/>
            <p:cNvSpPr>
              <a:spLocks noEditPoints="1"/>
            </p:cNvSpPr>
            <p:nvPr userDrawn="1"/>
          </p:nvSpPr>
          <p:spPr bwMode="auto">
            <a:xfrm>
              <a:off x="1217613" y="6362701"/>
              <a:ext cx="80963" cy="95250"/>
            </a:xfrm>
            <a:custGeom>
              <a:avLst/>
              <a:gdLst>
                <a:gd name="T0" fmla="*/ 204 w 204"/>
                <a:gd name="T1" fmla="*/ 105 h 239"/>
                <a:gd name="T2" fmla="*/ 196 w 204"/>
                <a:gd name="T3" fmla="*/ 69 h 239"/>
                <a:gd name="T4" fmla="*/ 182 w 204"/>
                <a:gd name="T5" fmla="*/ 40 h 239"/>
                <a:gd name="T6" fmla="*/ 160 w 204"/>
                <a:gd name="T7" fmla="*/ 18 h 239"/>
                <a:gd name="T8" fmla="*/ 133 w 204"/>
                <a:gd name="T9" fmla="*/ 5 h 239"/>
                <a:gd name="T10" fmla="*/ 102 w 204"/>
                <a:gd name="T11" fmla="*/ 0 h 239"/>
                <a:gd name="T12" fmla="*/ 81 w 204"/>
                <a:gd name="T13" fmla="*/ 2 h 239"/>
                <a:gd name="T14" fmla="*/ 53 w 204"/>
                <a:gd name="T15" fmla="*/ 12 h 239"/>
                <a:gd name="T16" fmla="*/ 30 w 204"/>
                <a:gd name="T17" fmla="*/ 31 h 239"/>
                <a:gd name="T18" fmla="*/ 12 w 204"/>
                <a:gd name="T19" fmla="*/ 58 h 239"/>
                <a:gd name="T20" fmla="*/ 2 w 204"/>
                <a:gd name="T21" fmla="*/ 93 h 239"/>
                <a:gd name="T22" fmla="*/ 0 w 204"/>
                <a:gd name="T23" fmla="*/ 119 h 239"/>
                <a:gd name="T24" fmla="*/ 5 w 204"/>
                <a:gd name="T25" fmla="*/ 158 h 239"/>
                <a:gd name="T26" fmla="*/ 17 w 204"/>
                <a:gd name="T27" fmla="*/ 189 h 239"/>
                <a:gd name="T28" fmla="*/ 36 w 204"/>
                <a:gd name="T29" fmla="*/ 214 h 239"/>
                <a:gd name="T30" fmla="*/ 61 w 204"/>
                <a:gd name="T31" fmla="*/ 231 h 239"/>
                <a:gd name="T32" fmla="*/ 90 w 204"/>
                <a:gd name="T33" fmla="*/ 239 h 239"/>
                <a:gd name="T34" fmla="*/ 112 w 204"/>
                <a:gd name="T35" fmla="*/ 239 h 239"/>
                <a:gd name="T36" fmla="*/ 142 w 204"/>
                <a:gd name="T37" fmla="*/ 231 h 239"/>
                <a:gd name="T38" fmla="*/ 167 w 204"/>
                <a:gd name="T39" fmla="*/ 215 h 239"/>
                <a:gd name="T40" fmla="*/ 187 w 204"/>
                <a:gd name="T41" fmla="*/ 190 h 239"/>
                <a:gd name="T42" fmla="*/ 200 w 204"/>
                <a:gd name="T43" fmla="*/ 158 h 239"/>
                <a:gd name="T44" fmla="*/ 204 w 204"/>
                <a:gd name="T45" fmla="*/ 118 h 239"/>
                <a:gd name="T46" fmla="*/ 159 w 204"/>
                <a:gd name="T47" fmla="*/ 119 h 239"/>
                <a:gd name="T48" fmla="*/ 150 w 204"/>
                <a:gd name="T49" fmla="*/ 163 h 239"/>
                <a:gd name="T50" fmla="*/ 135 w 204"/>
                <a:gd name="T51" fmla="*/ 183 h 239"/>
                <a:gd name="T52" fmla="*/ 120 w 204"/>
                <a:gd name="T53" fmla="*/ 193 h 239"/>
                <a:gd name="T54" fmla="*/ 103 w 204"/>
                <a:gd name="T55" fmla="*/ 197 h 239"/>
                <a:gd name="T56" fmla="*/ 90 w 204"/>
                <a:gd name="T57" fmla="*/ 195 h 239"/>
                <a:gd name="T58" fmla="*/ 74 w 204"/>
                <a:gd name="T59" fmla="*/ 189 h 239"/>
                <a:gd name="T60" fmla="*/ 61 w 204"/>
                <a:gd name="T61" fmla="*/ 177 h 239"/>
                <a:gd name="T62" fmla="*/ 52 w 204"/>
                <a:gd name="T63" fmla="*/ 159 h 239"/>
                <a:gd name="T64" fmla="*/ 45 w 204"/>
                <a:gd name="T65" fmla="*/ 118 h 239"/>
                <a:gd name="T66" fmla="*/ 49 w 204"/>
                <a:gd name="T67" fmla="*/ 87 h 239"/>
                <a:gd name="T68" fmla="*/ 60 w 204"/>
                <a:gd name="T69" fmla="*/ 63 h 239"/>
                <a:gd name="T70" fmla="*/ 73 w 204"/>
                <a:gd name="T71" fmla="*/ 51 h 239"/>
                <a:gd name="T72" fmla="*/ 88 w 204"/>
                <a:gd name="T73" fmla="*/ 44 h 239"/>
                <a:gd name="T74" fmla="*/ 100 w 204"/>
                <a:gd name="T75" fmla="*/ 43 h 239"/>
                <a:gd name="T76" fmla="*/ 119 w 204"/>
                <a:gd name="T77" fmla="*/ 46 h 239"/>
                <a:gd name="T78" fmla="*/ 135 w 204"/>
                <a:gd name="T79" fmla="*/ 55 h 239"/>
                <a:gd name="T80" fmla="*/ 147 w 204"/>
                <a:gd name="T81" fmla="*/ 69 h 239"/>
                <a:gd name="T82" fmla="*/ 155 w 204"/>
                <a:gd name="T83" fmla="*/ 88 h 239"/>
                <a:gd name="T84" fmla="*/ 159 w 204"/>
                <a:gd name="T85" fmla="*/ 11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4" h="239">
                  <a:moveTo>
                    <a:pt x="204" y="118"/>
                  </a:moveTo>
                  <a:lnTo>
                    <a:pt x="204" y="118"/>
                  </a:lnTo>
                  <a:lnTo>
                    <a:pt x="204" y="105"/>
                  </a:lnTo>
                  <a:lnTo>
                    <a:pt x="202" y="92"/>
                  </a:lnTo>
                  <a:lnTo>
                    <a:pt x="200" y="81"/>
                  </a:lnTo>
                  <a:lnTo>
                    <a:pt x="196" y="69"/>
                  </a:lnTo>
                  <a:lnTo>
                    <a:pt x="192" y="59"/>
                  </a:lnTo>
                  <a:lnTo>
                    <a:pt x="187" y="49"/>
                  </a:lnTo>
                  <a:lnTo>
                    <a:pt x="182" y="40"/>
                  </a:lnTo>
                  <a:lnTo>
                    <a:pt x="175" y="32"/>
                  </a:lnTo>
                  <a:lnTo>
                    <a:pt x="168" y="25"/>
                  </a:lnTo>
                  <a:lnTo>
                    <a:pt x="160" y="18"/>
                  </a:lnTo>
                  <a:lnTo>
                    <a:pt x="152" y="13"/>
                  </a:lnTo>
                  <a:lnTo>
                    <a:pt x="143" y="8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3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2" y="0"/>
                  </a:lnTo>
                  <a:lnTo>
                    <a:pt x="81" y="2"/>
                  </a:lnTo>
                  <a:lnTo>
                    <a:pt x="71" y="4"/>
                  </a:lnTo>
                  <a:lnTo>
                    <a:pt x="62" y="8"/>
                  </a:lnTo>
                  <a:lnTo>
                    <a:pt x="53" y="12"/>
                  </a:lnTo>
                  <a:lnTo>
                    <a:pt x="45" y="18"/>
                  </a:lnTo>
                  <a:lnTo>
                    <a:pt x="37" y="24"/>
                  </a:lnTo>
                  <a:lnTo>
                    <a:pt x="30" y="31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5" y="80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5"/>
                  </a:lnTo>
                  <a:lnTo>
                    <a:pt x="5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7"/>
                  </a:lnTo>
                  <a:lnTo>
                    <a:pt x="36" y="214"/>
                  </a:lnTo>
                  <a:lnTo>
                    <a:pt x="44" y="221"/>
                  </a:lnTo>
                  <a:lnTo>
                    <a:pt x="52" y="226"/>
                  </a:lnTo>
                  <a:lnTo>
                    <a:pt x="61" y="231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2" y="239"/>
                  </a:lnTo>
                  <a:lnTo>
                    <a:pt x="122" y="237"/>
                  </a:lnTo>
                  <a:lnTo>
                    <a:pt x="132" y="235"/>
                  </a:lnTo>
                  <a:lnTo>
                    <a:pt x="142" y="231"/>
                  </a:lnTo>
                  <a:lnTo>
                    <a:pt x="151" y="227"/>
                  </a:lnTo>
                  <a:lnTo>
                    <a:pt x="159" y="221"/>
                  </a:lnTo>
                  <a:lnTo>
                    <a:pt x="167" y="215"/>
                  </a:lnTo>
                  <a:lnTo>
                    <a:pt x="175" y="208"/>
                  </a:lnTo>
                  <a:lnTo>
                    <a:pt x="181" y="199"/>
                  </a:lnTo>
                  <a:lnTo>
                    <a:pt x="187" y="190"/>
                  </a:lnTo>
                  <a:lnTo>
                    <a:pt x="192" y="181"/>
                  </a:lnTo>
                  <a:lnTo>
                    <a:pt x="196" y="170"/>
                  </a:lnTo>
                  <a:lnTo>
                    <a:pt x="200" y="158"/>
                  </a:lnTo>
                  <a:lnTo>
                    <a:pt x="202" y="145"/>
                  </a:lnTo>
                  <a:lnTo>
                    <a:pt x="204" y="132"/>
                  </a:lnTo>
                  <a:lnTo>
                    <a:pt x="204" y="118"/>
                  </a:lnTo>
                  <a:lnTo>
                    <a:pt x="204" y="118"/>
                  </a:lnTo>
                  <a:close/>
                  <a:moveTo>
                    <a:pt x="159" y="119"/>
                  </a:moveTo>
                  <a:lnTo>
                    <a:pt x="159" y="119"/>
                  </a:lnTo>
                  <a:lnTo>
                    <a:pt x="158" y="135"/>
                  </a:lnTo>
                  <a:lnTo>
                    <a:pt x="155" y="150"/>
                  </a:lnTo>
                  <a:lnTo>
                    <a:pt x="150" y="163"/>
                  </a:lnTo>
                  <a:lnTo>
                    <a:pt x="143" y="174"/>
                  </a:lnTo>
                  <a:lnTo>
                    <a:pt x="140" y="179"/>
                  </a:lnTo>
                  <a:lnTo>
                    <a:pt x="135" y="183"/>
                  </a:lnTo>
                  <a:lnTo>
                    <a:pt x="131" y="187"/>
                  </a:lnTo>
                  <a:lnTo>
                    <a:pt x="126" y="191"/>
                  </a:lnTo>
                  <a:lnTo>
                    <a:pt x="120" y="193"/>
                  </a:lnTo>
                  <a:lnTo>
                    <a:pt x="115" y="195"/>
                  </a:lnTo>
                  <a:lnTo>
                    <a:pt x="109" y="196"/>
                  </a:lnTo>
                  <a:lnTo>
                    <a:pt x="103" y="197"/>
                  </a:lnTo>
                  <a:lnTo>
                    <a:pt x="103" y="197"/>
                  </a:lnTo>
                  <a:lnTo>
                    <a:pt x="96" y="196"/>
                  </a:lnTo>
                  <a:lnTo>
                    <a:pt x="90" y="195"/>
                  </a:lnTo>
                  <a:lnTo>
                    <a:pt x="85" y="194"/>
                  </a:lnTo>
                  <a:lnTo>
                    <a:pt x="79" y="192"/>
                  </a:lnTo>
                  <a:lnTo>
                    <a:pt x="74" y="189"/>
                  </a:lnTo>
                  <a:lnTo>
                    <a:pt x="70" y="185"/>
                  </a:lnTo>
                  <a:lnTo>
                    <a:pt x="65" y="181"/>
                  </a:lnTo>
                  <a:lnTo>
                    <a:pt x="61" y="177"/>
                  </a:lnTo>
                  <a:lnTo>
                    <a:pt x="58" y="171"/>
                  </a:lnTo>
                  <a:lnTo>
                    <a:pt x="55" y="166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9"/>
                  </a:lnTo>
                  <a:lnTo>
                    <a:pt x="68" y="54"/>
                  </a:lnTo>
                  <a:lnTo>
                    <a:pt x="73" y="51"/>
                  </a:lnTo>
                  <a:lnTo>
                    <a:pt x="77" y="48"/>
                  </a:lnTo>
                  <a:lnTo>
                    <a:pt x="83" y="46"/>
                  </a:lnTo>
                  <a:lnTo>
                    <a:pt x="88" y="44"/>
                  </a:lnTo>
                  <a:lnTo>
                    <a:pt x="94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7" y="43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5" y="48"/>
                  </a:lnTo>
                  <a:lnTo>
                    <a:pt x="130" y="51"/>
                  </a:lnTo>
                  <a:lnTo>
                    <a:pt x="135" y="55"/>
                  </a:lnTo>
                  <a:lnTo>
                    <a:pt x="139" y="59"/>
                  </a:lnTo>
                  <a:lnTo>
                    <a:pt x="143" y="63"/>
                  </a:lnTo>
                  <a:lnTo>
                    <a:pt x="147" y="69"/>
                  </a:lnTo>
                  <a:lnTo>
                    <a:pt x="150" y="75"/>
                  </a:lnTo>
                  <a:lnTo>
                    <a:pt x="153" y="81"/>
                  </a:lnTo>
                  <a:lnTo>
                    <a:pt x="155" y="88"/>
                  </a:lnTo>
                  <a:lnTo>
                    <a:pt x="158" y="103"/>
                  </a:lnTo>
                  <a:lnTo>
                    <a:pt x="159" y="119"/>
                  </a:lnTo>
                  <a:lnTo>
                    <a:pt x="159" y="1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8" name="Freeform 127"/>
            <p:cNvSpPr>
              <a:spLocks/>
            </p:cNvSpPr>
            <p:nvPr userDrawn="1"/>
          </p:nvSpPr>
          <p:spPr bwMode="auto">
            <a:xfrm>
              <a:off x="1309688" y="6362701"/>
              <a:ext cx="123825" cy="93663"/>
            </a:xfrm>
            <a:custGeom>
              <a:avLst/>
              <a:gdLst>
                <a:gd name="T0" fmla="*/ 179 w 313"/>
                <a:gd name="T1" fmla="*/ 235 h 235"/>
                <a:gd name="T2" fmla="*/ 206 w 313"/>
                <a:gd name="T3" fmla="*/ 131 h 235"/>
                <a:gd name="T4" fmla="*/ 313 w 313"/>
                <a:gd name="T5" fmla="*/ 235 h 235"/>
                <a:gd name="T6" fmla="*/ 269 w 313"/>
                <a:gd name="T7" fmla="*/ 53 h 235"/>
                <a:gd name="T8" fmla="*/ 273 w 313"/>
                <a:gd name="T9" fmla="*/ 47 h 235"/>
                <a:gd name="T10" fmla="*/ 283 w 313"/>
                <a:gd name="T11" fmla="*/ 40 h 235"/>
                <a:gd name="T12" fmla="*/ 289 w 313"/>
                <a:gd name="T13" fmla="*/ 39 h 235"/>
                <a:gd name="T14" fmla="*/ 300 w 313"/>
                <a:gd name="T15" fmla="*/ 40 h 235"/>
                <a:gd name="T16" fmla="*/ 307 w 313"/>
                <a:gd name="T17" fmla="*/ 44 h 235"/>
                <a:gd name="T18" fmla="*/ 307 w 313"/>
                <a:gd name="T19" fmla="*/ 5 h 235"/>
                <a:gd name="T20" fmla="*/ 291 w 313"/>
                <a:gd name="T21" fmla="*/ 0 h 235"/>
                <a:gd name="T22" fmla="*/ 284 w 313"/>
                <a:gd name="T23" fmla="*/ 0 h 235"/>
                <a:gd name="T24" fmla="*/ 270 w 313"/>
                <a:gd name="T25" fmla="*/ 2 h 235"/>
                <a:gd name="T26" fmla="*/ 258 w 313"/>
                <a:gd name="T27" fmla="*/ 8 h 235"/>
                <a:gd name="T28" fmla="*/ 247 w 313"/>
                <a:gd name="T29" fmla="*/ 19 h 235"/>
                <a:gd name="T30" fmla="*/ 238 w 313"/>
                <a:gd name="T31" fmla="*/ 35 h 235"/>
                <a:gd name="T32" fmla="*/ 179 w 313"/>
                <a:gd name="T33" fmla="*/ 94 h 235"/>
                <a:gd name="T34" fmla="*/ 135 w 313"/>
                <a:gd name="T35" fmla="*/ 5 h 235"/>
                <a:gd name="T36" fmla="*/ 108 w 313"/>
                <a:gd name="T37" fmla="*/ 94 h 235"/>
                <a:gd name="T38" fmla="*/ 75 w 313"/>
                <a:gd name="T39" fmla="*/ 35 h 235"/>
                <a:gd name="T40" fmla="*/ 66 w 313"/>
                <a:gd name="T41" fmla="*/ 19 h 235"/>
                <a:gd name="T42" fmla="*/ 56 w 313"/>
                <a:gd name="T43" fmla="*/ 8 h 235"/>
                <a:gd name="T44" fmla="*/ 43 w 313"/>
                <a:gd name="T45" fmla="*/ 2 h 235"/>
                <a:gd name="T46" fmla="*/ 29 w 313"/>
                <a:gd name="T47" fmla="*/ 0 h 235"/>
                <a:gd name="T48" fmla="*/ 23 w 313"/>
                <a:gd name="T49" fmla="*/ 0 h 235"/>
                <a:gd name="T50" fmla="*/ 6 w 313"/>
                <a:gd name="T51" fmla="*/ 5 h 235"/>
                <a:gd name="T52" fmla="*/ 6 w 313"/>
                <a:gd name="T53" fmla="*/ 44 h 235"/>
                <a:gd name="T54" fmla="*/ 14 w 313"/>
                <a:gd name="T55" fmla="*/ 40 h 235"/>
                <a:gd name="T56" fmla="*/ 25 w 313"/>
                <a:gd name="T57" fmla="*/ 39 h 235"/>
                <a:gd name="T58" fmla="*/ 31 w 313"/>
                <a:gd name="T59" fmla="*/ 40 h 235"/>
                <a:gd name="T60" fmla="*/ 41 w 313"/>
                <a:gd name="T61" fmla="*/ 47 h 235"/>
                <a:gd name="T62" fmla="*/ 73 w 313"/>
                <a:gd name="T63" fmla="*/ 107 h 235"/>
                <a:gd name="T64" fmla="*/ 49 w 313"/>
                <a:gd name="T65" fmla="*/ 235 h 235"/>
                <a:gd name="T66" fmla="*/ 135 w 313"/>
                <a:gd name="T67" fmla="*/ 13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3" h="235">
                  <a:moveTo>
                    <a:pt x="135" y="235"/>
                  </a:moveTo>
                  <a:lnTo>
                    <a:pt x="179" y="235"/>
                  </a:lnTo>
                  <a:lnTo>
                    <a:pt x="179" y="131"/>
                  </a:lnTo>
                  <a:lnTo>
                    <a:pt x="206" y="131"/>
                  </a:lnTo>
                  <a:lnTo>
                    <a:pt x="264" y="235"/>
                  </a:lnTo>
                  <a:lnTo>
                    <a:pt x="313" y="235"/>
                  </a:lnTo>
                  <a:lnTo>
                    <a:pt x="240" y="107"/>
                  </a:lnTo>
                  <a:lnTo>
                    <a:pt x="269" y="53"/>
                  </a:lnTo>
                  <a:lnTo>
                    <a:pt x="269" y="53"/>
                  </a:lnTo>
                  <a:lnTo>
                    <a:pt x="273" y="47"/>
                  </a:lnTo>
                  <a:lnTo>
                    <a:pt x="277" y="43"/>
                  </a:lnTo>
                  <a:lnTo>
                    <a:pt x="283" y="40"/>
                  </a:lnTo>
                  <a:lnTo>
                    <a:pt x="289" y="39"/>
                  </a:lnTo>
                  <a:lnTo>
                    <a:pt x="289" y="39"/>
                  </a:lnTo>
                  <a:lnTo>
                    <a:pt x="295" y="39"/>
                  </a:lnTo>
                  <a:lnTo>
                    <a:pt x="300" y="40"/>
                  </a:lnTo>
                  <a:lnTo>
                    <a:pt x="304" y="42"/>
                  </a:lnTo>
                  <a:lnTo>
                    <a:pt x="307" y="44"/>
                  </a:lnTo>
                  <a:lnTo>
                    <a:pt x="307" y="5"/>
                  </a:lnTo>
                  <a:lnTo>
                    <a:pt x="307" y="5"/>
                  </a:lnTo>
                  <a:lnTo>
                    <a:pt x="296" y="1"/>
                  </a:lnTo>
                  <a:lnTo>
                    <a:pt x="291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77" y="0"/>
                  </a:lnTo>
                  <a:lnTo>
                    <a:pt x="270" y="2"/>
                  </a:lnTo>
                  <a:lnTo>
                    <a:pt x="264" y="5"/>
                  </a:lnTo>
                  <a:lnTo>
                    <a:pt x="258" y="8"/>
                  </a:lnTo>
                  <a:lnTo>
                    <a:pt x="252" y="13"/>
                  </a:lnTo>
                  <a:lnTo>
                    <a:pt x="247" y="19"/>
                  </a:lnTo>
                  <a:lnTo>
                    <a:pt x="243" y="26"/>
                  </a:lnTo>
                  <a:lnTo>
                    <a:pt x="238" y="35"/>
                  </a:lnTo>
                  <a:lnTo>
                    <a:pt x="206" y="94"/>
                  </a:lnTo>
                  <a:lnTo>
                    <a:pt x="179" y="94"/>
                  </a:lnTo>
                  <a:lnTo>
                    <a:pt x="179" y="5"/>
                  </a:lnTo>
                  <a:lnTo>
                    <a:pt x="135" y="5"/>
                  </a:lnTo>
                  <a:lnTo>
                    <a:pt x="135" y="94"/>
                  </a:lnTo>
                  <a:lnTo>
                    <a:pt x="108" y="9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1" y="26"/>
                  </a:lnTo>
                  <a:lnTo>
                    <a:pt x="66" y="19"/>
                  </a:lnTo>
                  <a:lnTo>
                    <a:pt x="61" y="13"/>
                  </a:lnTo>
                  <a:lnTo>
                    <a:pt x="56" y="8"/>
                  </a:lnTo>
                  <a:lnTo>
                    <a:pt x="50" y="5"/>
                  </a:lnTo>
                  <a:lnTo>
                    <a:pt x="43" y="2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17" y="1"/>
                  </a:lnTo>
                  <a:lnTo>
                    <a:pt x="6" y="5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10" y="42"/>
                  </a:lnTo>
                  <a:lnTo>
                    <a:pt x="14" y="40"/>
                  </a:lnTo>
                  <a:lnTo>
                    <a:pt x="19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31" y="40"/>
                  </a:lnTo>
                  <a:lnTo>
                    <a:pt x="36" y="43"/>
                  </a:lnTo>
                  <a:lnTo>
                    <a:pt x="41" y="47"/>
                  </a:lnTo>
                  <a:lnTo>
                    <a:pt x="45" y="53"/>
                  </a:lnTo>
                  <a:lnTo>
                    <a:pt x="73" y="107"/>
                  </a:lnTo>
                  <a:lnTo>
                    <a:pt x="0" y="235"/>
                  </a:lnTo>
                  <a:lnTo>
                    <a:pt x="49" y="235"/>
                  </a:lnTo>
                  <a:lnTo>
                    <a:pt x="108" y="131"/>
                  </a:lnTo>
                  <a:lnTo>
                    <a:pt x="135" y="131"/>
                  </a:lnTo>
                  <a:lnTo>
                    <a:pt x="135" y="2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9" name="Freeform 128"/>
            <p:cNvSpPr>
              <a:spLocks/>
            </p:cNvSpPr>
            <p:nvPr userDrawn="1"/>
          </p:nvSpPr>
          <p:spPr bwMode="auto">
            <a:xfrm>
              <a:off x="1449388" y="6365876"/>
              <a:ext cx="73025" cy="90488"/>
            </a:xfrm>
            <a:custGeom>
              <a:avLst/>
              <a:gdLst>
                <a:gd name="T0" fmla="*/ 139 w 184"/>
                <a:gd name="T1" fmla="*/ 0 h 230"/>
                <a:gd name="T2" fmla="*/ 139 w 184"/>
                <a:gd name="T3" fmla="*/ 87 h 230"/>
                <a:gd name="T4" fmla="*/ 45 w 184"/>
                <a:gd name="T5" fmla="*/ 87 h 230"/>
                <a:gd name="T6" fmla="*/ 45 w 184"/>
                <a:gd name="T7" fmla="*/ 0 h 230"/>
                <a:gd name="T8" fmla="*/ 0 w 184"/>
                <a:gd name="T9" fmla="*/ 0 h 230"/>
                <a:gd name="T10" fmla="*/ 0 w 184"/>
                <a:gd name="T11" fmla="*/ 230 h 230"/>
                <a:gd name="T12" fmla="*/ 45 w 184"/>
                <a:gd name="T13" fmla="*/ 230 h 230"/>
                <a:gd name="T14" fmla="*/ 45 w 184"/>
                <a:gd name="T15" fmla="*/ 126 h 230"/>
                <a:gd name="T16" fmla="*/ 139 w 184"/>
                <a:gd name="T17" fmla="*/ 126 h 230"/>
                <a:gd name="T18" fmla="*/ 139 w 184"/>
                <a:gd name="T19" fmla="*/ 230 h 230"/>
                <a:gd name="T20" fmla="*/ 184 w 184"/>
                <a:gd name="T21" fmla="*/ 230 h 230"/>
                <a:gd name="T22" fmla="*/ 184 w 184"/>
                <a:gd name="T23" fmla="*/ 0 h 230"/>
                <a:gd name="T24" fmla="*/ 139 w 18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30">
                  <a:moveTo>
                    <a:pt x="139" y="0"/>
                  </a:moveTo>
                  <a:lnTo>
                    <a:pt x="139" y="87"/>
                  </a:lnTo>
                  <a:lnTo>
                    <a:pt x="45" y="87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5" y="230"/>
                  </a:lnTo>
                  <a:lnTo>
                    <a:pt x="45" y="126"/>
                  </a:lnTo>
                  <a:lnTo>
                    <a:pt x="139" y="126"/>
                  </a:lnTo>
                  <a:lnTo>
                    <a:pt x="139" y="230"/>
                  </a:lnTo>
                  <a:lnTo>
                    <a:pt x="184" y="230"/>
                  </a:lnTo>
                  <a:lnTo>
                    <a:pt x="184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0" name="Freeform 129"/>
            <p:cNvSpPr>
              <a:spLocks noEditPoints="1"/>
            </p:cNvSpPr>
            <p:nvPr userDrawn="1"/>
          </p:nvSpPr>
          <p:spPr bwMode="auto">
            <a:xfrm>
              <a:off x="1544638" y="6365876"/>
              <a:ext cx="100013" cy="90488"/>
            </a:xfrm>
            <a:custGeom>
              <a:avLst/>
              <a:gdLst>
                <a:gd name="T0" fmla="*/ 0 w 248"/>
                <a:gd name="T1" fmla="*/ 0 h 230"/>
                <a:gd name="T2" fmla="*/ 91 w 248"/>
                <a:gd name="T3" fmla="*/ 230 h 230"/>
                <a:gd name="T4" fmla="*/ 99 w 248"/>
                <a:gd name="T5" fmla="*/ 229 h 230"/>
                <a:gd name="T6" fmla="*/ 115 w 248"/>
                <a:gd name="T7" fmla="*/ 227 h 230"/>
                <a:gd name="T8" fmla="*/ 129 w 248"/>
                <a:gd name="T9" fmla="*/ 222 h 230"/>
                <a:gd name="T10" fmla="*/ 142 w 248"/>
                <a:gd name="T11" fmla="*/ 215 h 230"/>
                <a:gd name="T12" fmla="*/ 152 w 248"/>
                <a:gd name="T13" fmla="*/ 206 h 230"/>
                <a:gd name="T14" fmla="*/ 160 w 248"/>
                <a:gd name="T15" fmla="*/ 194 h 230"/>
                <a:gd name="T16" fmla="*/ 166 w 248"/>
                <a:gd name="T17" fmla="*/ 180 h 230"/>
                <a:gd name="T18" fmla="*/ 169 w 248"/>
                <a:gd name="T19" fmla="*/ 164 h 230"/>
                <a:gd name="T20" fmla="*/ 169 w 248"/>
                <a:gd name="T21" fmla="*/ 155 h 230"/>
                <a:gd name="T22" fmla="*/ 168 w 248"/>
                <a:gd name="T23" fmla="*/ 137 h 230"/>
                <a:gd name="T24" fmla="*/ 163 w 248"/>
                <a:gd name="T25" fmla="*/ 122 h 230"/>
                <a:gd name="T26" fmla="*/ 157 w 248"/>
                <a:gd name="T27" fmla="*/ 109 h 230"/>
                <a:gd name="T28" fmla="*/ 148 w 248"/>
                <a:gd name="T29" fmla="*/ 99 h 230"/>
                <a:gd name="T30" fmla="*/ 137 w 248"/>
                <a:gd name="T31" fmla="*/ 91 h 230"/>
                <a:gd name="T32" fmla="*/ 124 w 248"/>
                <a:gd name="T33" fmla="*/ 85 h 230"/>
                <a:gd name="T34" fmla="*/ 109 w 248"/>
                <a:gd name="T35" fmla="*/ 81 h 230"/>
                <a:gd name="T36" fmla="*/ 93 w 248"/>
                <a:gd name="T37" fmla="*/ 80 h 230"/>
                <a:gd name="T38" fmla="*/ 45 w 248"/>
                <a:gd name="T39" fmla="*/ 0 h 230"/>
                <a:gd name="T40" fmla="*/ 45 w 248"/>
                <a:gd name="T41" fmla="*/ 117 h 230"/>
                <a:gd name="T42" fmla="*/ 89 w 248"/>
                <a:gd name="T43" fmla="*/ 117 h 230"/>
                <a:gd name="T44" fmla="*/ 105 w 248"/>
                <a:gd name="T45" fmla="*/ 120 h 230"/>
                <a:gd name="T46" fmla="*/ 116 w 248"/>
                <a:gd name="T47" fmla="*/ 127 h 230"/>
                <a:gd name="T48" fmla="*/ 124 w 248"/>
                <a:gd name="T49" fmla="*/ 138 h 230"/>
                <a:gd name="T50" fmla="*/ 126 w 248"/>
                <a:gd name="T51" fmla="*/ 155 h 230"/>
                <a:gd name="T52" fmla="*/ 126 w 248"/>
                <a:gd name="T53" fmla="*/ 163 h 230"/>
                <a:gd name="T54" fmla="*/ 121 w 248"/>
                <a:gd name="T55" fmla="*/ 177 h 230"/>
                <a:gd name="T56" fmla="*/ 112 w 248"/>
                <a:gd name="T57" fmla="*/ 187 h 230"/>
                <a:gd name="T58" fmla="*/ 98 w 248"/>
                <a:gd name="T59" fmla="*/ 192 h 230"/>
                <a:gd name="T60" fmla="*/ 45 w 248"/>
                <a:gd name="T61" fmla="*/ 192 h 230"/>
                <a:gd name="T62" fmla="*/ 248 w 248"/>
                <a:gd name="T63" fmla="*/ 0 h 230"/>
                <a:gd name="T64" fmla="*/ 203 w 248"/>
                <a:gd name="T6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8" h="230">
                  <a:moveTo>
                    <a:pt x="45" y="0"/>
                  </a:moveTo>
                  <a:lnTo>
                    <a:pt x="0" y="0"/>
                  </a:lnTo>
                  <a:lnTo>
                    <a:pt x="0" y="230"/>
                  </a:lnTo>
                  <a:lnTo>
                    <a:pt x="91" y="230"/>
                  </a:lnTo>
                  <a:lnTo>
                    <a:pt x="91" y="230"/>
                  </a:lnTo>
                  <a:lnTo>
                    <a:pt x="99" y="229"/>
                  </a:lnTo>
                  <a:lnTo>
                    <a:pt x="107" y="228"/>
                  </a:lnTo>
                  <a:lnTo>
                    <a:pt x="115" y="227"/>
                  </a:lnTo>
                  <a:lnTo>
                    <a:pt x="122" y="225"/>
                  </a:lnTo>
                  <a:lnTo>
                    <a:pt x="129" y="222"/>
                  </a:lnTo>
                  <a:lnTo>
                    <a:pt x="136" y="219"/>
                  </a:lnTo>
                  <a:lnTo>
                    <a:pt x="142" y="215"/>
                  </a:lnTo>
                  <a:lnTo>
                    <a:pt x="147" y="211"/>
                  </a:lnTo>
                  <a:lnTo>
                    <a:pt x="152" y="206"/>
                  </a:lnTo>
                  <a:lnTo>
                    <a:pt x="157" y="200"/>
                  </a:lnTo>
                  <a:lnTo>
                    <a:pt x="160" y="194"/>
                  </a:lnTo>
                  <a:lnTo>
                    <a:pt x="163" y="187"/>
                  </a:lnTo>
                  <a:lnTo>
                    <a:pt x="166" y="180"/>
                  </a:lnTo>
                  <a:lnTo>
                    <a:pt x="168" y="172"/>
                  </a:lnTo>
                  <a:lnTo>
                    <a:pt x="169" y="164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46"/>
                  </a:lnTo>
                  <a:lnTo>
                    <a:pt x="168" y="137"/>
                  </a:lnTo>
                  <a:lnTo>
                    <a:pt x="166" y="129"/>
                  </a:lnTo>
                  <a:lnTo>
                    <a:pt x="163" y="122"/>
                  </a:lnTo>
                  <a:lnTo>
                    <a:pt x="160" y="115"/>
                  </a:lnTo>
                  <a:lnTo>
                    <a:pt x="157" y="109"/>
                  </a:lnTo>
                  <a:lnTo>
                    <a:pt x="152" y="104"/>
                  </a:lnTo>
                  <a:lnTo>
                    <a:pt x="148" y="99"/>
                  </a:lnTo>
                  <a:lnTo>
                    <a:pt x="142" y="94"/>
                  </a:lnTo>
                  <a:lnTo>
                    <a:pt x="137" y="91"/>
                  </a:lnTo>
                  <a:lnTo>
                    <a:pt x="130" y="88"/>
                  </a:lnTo>
                  <a:lnTo>
                    <a:pt x="124" y="85"/>
                  </a:lnTo>
                  <a:lnTo>
                    <a:pt x="117" y="83"/>
                  </a:lnTo>
                  <a:lnTo>
                    <a:pt x="109" y="81"/>
                  </a:lnTo>
                  <a:lnTo>
                    <a:pt x="101" y="81"/>
                  </a:lnTo>
                  <a:lnTo>
                    <a:pt x="93" y="80"/>
                  </a:lnTo>
                  <a:lnTo>
                    <a:pt x="45" y="80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7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8" y="118"/>
                  </a:lnTo>
                  <a:lnTo>
                    <a:pt x="105" y="120"/>
                  </a:lnTo>
                  <a:lnTo>
                    <a:pt x="111" y="123"/>
                  </a:lnTo>
                  <a:lnTo>
                    <a:pt x="116" y="127"/>
                  </a:lnTo>
                  <a:lnTo>
                    <a:pt x="121" y="132"/>
                  </a:lnTo>
                  <a:lnTo>
                    <a:pt x="124" y="138"/>
                  </a:lnTo>
                  <a:lnTo>
                    <a:pt x="126" y="14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63"/>
                  </a:lnTo>
                  <a:lnTo>
                    <a:pt x="124" y="171"/>
                  </a:lnTo>
                  <a:lnTo>
                    <a:pt x="121" y="177"/>
                  </a:lnTo>
                  <a:lnTo>
                    <a:pt x="117" y="182"/>
                  </a:lnTo>
                  <a:lnTo>
                    <a:pt x="112" y="187"/>
                  </a:lnTo>
                  <a:lnTo>
                    <a:pt x="106" y="190"/>
                  </a:lnTo>
                  <a:lnTo>
                    <a:pt x="98" y="192"/>
                  </a:lnTo>
                  <a:lnTo>
                    <a:pt x="89" y="192"/>
                  </a:lnTo>
                  <a:lnTo>
                    <a:pt x="45" y="192"/>
                  </a:lnTo>
                  <a:close/>
                  <a:moveTo>
                    <a:pt x="248" y="230"/>
                  </a:moveTo>
                  <a:lnTo>
                    <a:pt x="248" y="0"/>
                  </a:lnTo>
                  <a:lnTo>
                    <a:pt x="203" y="0"/>
                  </a:lnTo>
                  <a:lnTo>
                    <a:pt x="203" y="230"/>
                  </a:lnTo>
                  <a:lnTo>
                    <a:pt x="248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1" name="Freeform 130"/>
            <p:cNvSpPr>
              <a:spLocks noEditPoints="1"/>
            </p:cNvSpPr>
            <p:nvPr userDrawn="1"/>
          </p:nvSpPr>
          <p:spPr bwMode="auto">
            <a:xfrm>
              <a:off x="1662113" y="6362701"/>
              <a:ext cx="77788" cy="95250"/>
            </a:xfrm>
            <a:custGeom>
              <a:avLst/>
              <a:gdLst>
                <a:gd name="T0" fmla="*/ 196 w 196"/>
                <a:gd name="T1" fmla="*/ 114 h 239"/>
                <a:gd name="T2" fmla="*/ 195 w 196"/>
                <a:gd name="T3" fmla="*/ 92 h 239"/>
                <a:gd name="T4" fmla="*/ 190 w 196"/>
                <a:gd name="T5" fmla="*/ 70 h 239"/>
                <a:gd name="T6" fmla="*/ 183 w 196"/>
                <a:gd name="T7" fmla="*/ 51 h 239"/>
                <a:gd name="T8" fmla="*/ 173 w 196"/>
                <a:gd name="T9" fmla="*/ 34 h 239"/>
                <a:gd name="T10" fmla="*/ 159 w 196"/>
                <a:gd name="T11" fmla="*/ 20 h 239"/>
                <a:gd name="T12" fmla="*/ 143 w 196"/>
                <a:gd name="T13" fmla="*/ 9 h 239"/>
                <a:gd name="T14" fmla="*/ 123 w 196"/>
                <a:gd name="T15" fmla="*/ 2 h 239"/>
                <a:gd name="T16" fmla="*/ 100 w 196"/>
                <a:gd name="T17" fmla="*/ 0 h 239"/>
                <a:gd name="T18" fmla="*/ 89 w 196"/>
                <a:gd name="T19" fmla="*/ 0 h 239"/>
                <a:gd name="T20" fmla="*/ 69 w 196"/>
                <a:gd name="T21" fmla="*/ 4 h 239"/>
                <a:gd name="T22" fmla="*/ 51 w 196"/>
                <a:gd name="T23" fmla="*/ 12 h 239"/>
                <a:gd name="T24" fmla="*/ 35 w 196"/>
                <a:gd name="T25" fmla="*/ 23 h 239"/>
                <a:gd name="T26" fmla="*/ 21 w 196"/>
                <a:gd name="T27" fmla="*/ 38 h 239"/>
                <a:gd name="T28" fmla="*/ 11 w 196"/>
                <a:gd name="T29" fmla="*/ 57 h 239"/>
                <a:gd name="T30" fmla="*/ 4 w 196"/>
                <a:gd name="T31" fmla="*/ 79 h 239"/>
                <a:gd name="T32" fmla="*/ 0 w 196"/>
                <a:gd name="T33" fmla="*/ 105 h 239"/>
                <a:gd name="T34" fmla="*/ 0 w 196"/>
                <a:gd name="T35" fmla="*/ 119 h 239"/>
                <a:gd name="T36" fmla="*/ 2 w 196"/>
                <a:gd name="T37" fmla="*/ 147 h 239"/>
                <a:gd name="T38" fmla="*/ 8 w 196"/>
                <a:gd name="T39" fmla="*/ 173 h 239"/>
                <a:gd name="T40" fmla="*/ 18 w 196"/>
                <a:gd name="T41" fmla="*/ 193 h 239"/>
                <a:gd name="T42" fmla="*/ 30 w 196"/>
                <a:gd name="T43" fmla="*/ 209 h 239"/>
                <a:gd name="T44" fmla="*/ 36 w 196"/>
                <a:gd name="T45" fmla="*/ 215 h 239"/>
                <a:gd name="T46" fmla="*/ 51 w 196"/>
                <a:gd name="T47" fmla="*/ 226 h 239"/>
                <a:gd name="T48" fmla="*/ 68 w 196"/>
                <a:gd name="T49" fmla="*/ 234 h 239"/>
                <a:gd name="T50" fmla="*/ 88 w 196"/>
                <a:gd name="T51" fmla="*/ 239 h 239"/>
                <a:gd name="T52" fmla="*/ 99 w 196"/>
                <a:gd name="T53" fmla="*/ 239 h 239"/>
                <a:gd name="T54" fmla="*/ 124 w 196"/>
                <a:gd name="T55" fmla="*/ 237 h 239"/>
                <a:gd name="T56" fmla="*/ 145 w 196"/>
                <a:gd name="T57" fmla="*/ 231 h 239"/>
                <a:gd name="T58" fmla="*/ 153 w 196"/>
                <a:gd name="T59" fmla="*/ 227 h 239"/>
                <a:gd name="T60" fmla="*/ 169 w 196"/>
                <a:gd name="T61" fmla="*/ 217 h 239"/>
                <a:gd name="T62" fmla="*/ 151 w 196"/>
                <a:gd name="T63" fmla="*/ 180 h 239"/>
                <a:gd name="T64" fmla="*/ 139 w 196"/>
                <a:gd name="T65" fmla="*/ 188 h 239"/>
                <a:gd name="T66" fmla="*/ 128 w 196"/>
                <a:gd name="T67" fmla="*/ 194 h 239"/>
                <a:gd name="T68" fmla="*/ 115 w 196"/>
                <a:gd name="T69" fmla="*/ 197 h 239"/>
                <a:gd name="T70" fmla="*/ 101 w 196"/>
                <a:gd name="T71" fmla="*/ 199 h 239"/>
                <a:gd name="T72" fmla="*/ 91 w 196"/>
                <a:gd name="T73" fmla="*/ 198 h 239"/>
                <a:gd name="T74" fmla="*/ 72 w 196"/>
                <a:gd name="T75" fmla="*/ 191 h 239"/>
                <a:gd name="T76" fmla="*/ 57 w 196"/>
                <a:gd name="T77" fmla="*/ 175 h 239"/>
                <a:gd name="T78" fmla="*/ 47 w 196"/>
                <a:gd name="T79" fmla="*/ 151 h 239"/>
                <a:gd name="T80" fmla="*/ 195 w 196"/>
                <a:gd name="T81" fmla="*/ 135 h 239"/>
                <a:gd name="T82" fmla="*/ 196 w 196"/>
                <a:gd name="T83" fmla="*/ 126 h 239"/>
                <a:gd name="T84" fmla="*/ 196 w 196"/>
                <a:gd name="T85" fmla="*/ 114 h 239"/>
                <a:gd name="T86" fmla="*/ 45 w 196"/>
                <a:gd name="T87" fmla="*/ 98 h 239"/>
                <a:gd name="T88" fmla="*/ 50 w 196"/>
                <a:gd name="T89" fmla="*/ 73 h 239"/>
                <a:gd name="T90" fmla="*/ 61 w 196"/>
                <a:gd name="T91" fmla="*/ 55 h 239"/>
                <a:gd name="T92" fmla="*/ 76 w 196"/>
                <a:gd name="T93" fmla="*/ 44 h 239"/>
                <a:gd name="T94" fmla="*/ 97 w 196"/>
                <a:gd name="T95" fmla="*/ 40 h 239"/>
                <a:gd name="T96" fmla="*/ 104 w 196"/>
                <a:gd name="T97" fmla="*/ 41 h 239"/>
                <a:gd name="T98" fmla="*/ 116 w 196"/>
                <a:gd name="T99" fmla="*/ 43 h 239"/>
                <a:gd name="T100" fmla="*/ 126 w 196"/>
                <a:gd name="T101" fmla="*/ 47 h 239"/>
                <a:gd name="T102" fmla="*/ 137 w 196"/>
                <a:gd name="T103" fmla="*/ 57 h 239"/>
                <a:gd name="T104" fmla="*/ 147 w 196"/>
                <a:gd name="T105" fmla="*/ 76 h 239"/>
                <a:gd name="T106" fmla="*/ 151 w 196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239">
                  <a:moveTo>
                    <a:pt x="196" y="114"/>
                  </a:moveTo>
                  <a:lnTo>
                    <a:pt x="196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0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1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0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8" y="173"/>
                  </a:lnTo>
                  <a:lnTo>
                    <a:pt x="13" y="184"/>
                  </a:lnTo>
                  <a:lnTo>
                    <a:pt x="18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1" y="222"/>
                  </a:lnTo>
                  <a:lnTo>
                    <a:pt x="169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5" y="197"/>
                  </a:lnTo>
                  <a:lnTo>
                    <a:pt x="109" y="198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1" y="198"/>
                  </a:lnTo>
                  <a:lnTo>
                    <a:pt x="81" y="195"/>
                  </a:lnTo>
                  <a:lnTo>
                    <a:pt x="72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6" y="114"/>
                  </a:lnTo>
                  <a:lnTo>
                    <a:pt x="196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6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2" name="Freeform 131"/>
            <p:cNvSpPr>
              <a:spLocks/>
            </p:cNvSpPr>
            <p:nvPr userDrawn="1"/>
          </p:nvSpPr>
          <p:spPr bwMode="auto">
            <a:xfrm>
              <a:off x="1793875" y="6362701"/>
              <a:ext cx="71438" cy="95250"/>
            </a:xfrm>
            <a:custGeom>
              <a:avLst/>
              <a:gdLst>
                <a:gd name="T0" fmla="*/ 92 w 177"/>
                <a:gd name="T1" fmla="*/ 131 h 239"/>
                <a:gd name="T2" fmla="*/ 117 w 177"/>
                <a:gd name="T3" fmla="*/ 137 h 239"/>
                <a:gd name="T4" fmla="*/ 129 w 177"/>
                <a:gd name="T5" fmla="*/ 153 h 239"/>
                <a:gd name="T6" fmla="*/ 132 w 177"/>
                <a:gd name="T7" fmla="*/ 166 h 239"/>
                <a:gd name="T8" fmla="*/ 126 w 177"/>
                <a:gd name="T9" fmla="*/ 185 h 239"/>
                <a:gd name="T10" fmla="*/ 106 w 177"/>
                <a:gd name="T11" fmla="*/ 198 h 239"/>
                <a:gd name="T12" fmla="*/ 85 w 177"/>
                <a:gd name="T13" fmla="*/ 201 h 239"/>
                <a:gd name="T14" fmla="*/ 60 w 177"/>
                <a:gd name="T15" fmla="*/ 197 h 239"/>
                <a:gd name="T16" fmla="*/ 36 w 177"/>
                <a:gd name="T17" fmla="*/ 187 h 239"/>
                <a:gd name="T18" fmla="*/ 0 w 177"/>
                <a:gd name="T19" fmla="*/ 210 h 239"/>
                <a:gd name="T20" fmla="*/ 18 w 177"/>
                <a:gd name="T21" fmla="*/ 222 h 239"/>
                <a:gd name="T22" fmla="*/ 49 w 177"/>
                <a:gd name="T23" fmla="*/ 235 h 239"/>
                <a:gd name="T24" fmla="*/ 83 w 177"/>
                <a:gd name="T25" fmla="*/ 239 h 239"/>
                <a:gd name="T26" fmla="*/ 106 w 177"/>
                <a:gd name="T27" fmla="*/ 238 h 239"/>
                <a:gd name="T28" fmla="*/ 133 w 177"/>
                <a:gd name="T29" fmla="*/ 231 h 239"/>
                <a:gd name="T30" fmla="*/ 154 w 177"/>
                <a:gd name="T31" fmla="*/ 218 h 239"/>
                <a:gd name="T32" fmla="*/ 168 w 177"/>
                <a:gd name="T33" fmla="*/ 202 h 239"/>
                <a:gd name="T34" fmla="*/ 175 w 177"/>
                <a:gd name="T35" fmla="*/ 182 h 239"/>
                <a:gd name="T36" fmla="*/ 177 w 177"/>
                <a:gd name="T37" fmla="*/ 168 h 239"/>
                <a:gd name="T38" fmla="*/ 168 w 177"/>
                <a:gd name="T39" fmla="*/ 137 h 239"/>
                <a:gd name="T40" fmla="*/ 148 w 177"/>
                <a:gd name="T41" fmla="*/ 118 h 239"/>
                <a:gd name="T42" fmla="*/ 133 w 177"/>
                <a:gd name="T43" fmla="*/ 112 h 239"/>
                <a:gd name="T44" fmla="*/ 154 w 177"/>
                <a:gd name="T45" fmla="*/ 99 h 239"/>
                <a:gd name="T46" fmla="*/ 167 w 177"/>
                <a:gd name="T47" fmla="*/ 80 h 239"/>
                <a:gd name="T48" fmla="*/ 170 w 177"/>
                <a:gd name="T49" fmla="*/ 64 h 239"/>
                <a:gd name="T50" fmla="*/ 167 w 177"/>
                <a:gd name="T51" fmla="*/ 45 h 239"/>
                <a:gd name="T52" fmla="*/ 158 w 177"/>
                <a:gd name="T53" fmla="*/ 28 h 239"/>
                <a:gd name="T54" fmla="*/ 144 w 177"/>
                <a:gd name="T55" fmla="*/ 15 h 239"/>
                <a:gd name="T56" fmla="*/ 123 w 177"/>
                <a:gd name="T57" fmla="*/ 5 h 239"/>
                <a:gd name="T58" fmla="*/ 95 w 177"/>
                <a:gd name="T59" fmla="*/ 0 h 239"/>
                <a:gd name="T60" fmla="*/ 74 w 177"/>
                <a:gd name="T61" fmla="*/ 0 h 239"/>
                <a:gd name="T62" fmla="*/ 43 w 177"/>
                <a:gd name="T63" fmla="*/ 7 h 239"/>
                <a:gd name="T64" fmla="*/ 15 w 177"/>
                <a:gd name="T65" fmla="*/ 20 h 239"/>
                <a:gd name="T66" fmla="*/ 27 w 177"/>
                <a:gd name="T67" fmla="*/ 60 h 239"/>
                <a:gd name="T68" fmla="*/ 56 w 177"/>
                <a:gd name="T69" fmla="*/ 44 h 239"/>
                <a:gd name="T70" fmla="*/ 79 w 177"/>
                <a:gd name="T71" fmla="*/ 39 h 239"/>
                <a:gd name="T72" fmla="*/ 96 w 177"/>
                <a:gd name="T73" fmla="*/ 39 h 239"/>
                <a:gd name="T74" fmla="*/ 116 w 177"/>
                <a:gd name="T75" fmla="*/ 47 h 239"/>
                <a:gd name="T76" fmla="*/ 125 w 177"/>
                <a:gd name="T77" fmla="*/ 62 h 239"/>
                <a:gd name="T78" fmla="*/ 125 w 177"/>
                <a:gd name="T79" fmla="*/ 72 h 239"/>
                <a:gd name="T80" fmla="*/ 117 w 177"/>
                <a:gd name="T81" fmla="*/ 86 h 239"/>
                <a:gd name="T82" fmla="*/ 99 w 177"/>
                <a:gd name="T83" fmla="*/ 94 h 239"/>
                <a:gd name="T84" fmla="*/ 61 w 177"/>
                <a:gd name="T85" fmla="*/ 13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7" h="239">
                  <a:moveTo>
                    <a:pt x="61" y="131"/>
                  </a:moveTo>
                  <a:lnTo>
                    <a:pt x="92" y="131"/>
                  </a:lnTo>
                  <a:lnTo>
                    <a:pt x="92" y="131"/>
                  </a:lnTo>
                  <a:lnTo>
                    <a:pt x="102" y="132"/>
                  </a:lnTo>
                  <a:lnTo>
                    <a:pt x="110" y="134"/>
                  </a:lnTo>
                  <a:lnTo>
                    <a:pt x="117" y="137"/>
                  </a:lnTo>
                  <a:lnTo>
                    <a:pt x="122" y="142"/>
                  </a:lnTo>
                  <a:lnTo>
                    <a:pt x="126" y="147"/>
                  </a:lnTo>
                  <a:lnTo>
                    <a:pt x="129" y="153"/>
                  </a:lnTo>
                  <a:lnTo>
                    <a:pt x="131" y="159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1" y="173"/>
                  </a:lnTo>
                  <a:lnTo>
                    <a:pt x="129" y="179"/>
                  </a:lnTo>
                  <a:lnTo>
                    <a:pt x="126" y="185"/>
                  </a:lnTo>
                  <a:lnTo>
                    <a:pt x="121" y="190"/>
                  </a:lnTo>
                  <a:lnTo>
                    <a:pt x="114" y="194"/>
                  </a:lnTo>
                  <a:lnTo>
                    <a:pt x="106" y="198"/>
                  </a:lnTo>
                  <a:lnTo>
                    <a:pt x="96" y="200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77" y="200"/>
                  </a:lnTo>
                  <a:lnTo>
                    <a:pt x="69" y="199"/>
                  </a:lnTo>
                  <a:lnTo>
                    <a:pt x="60" y="197"/>
                  </a:lnTo>
                  <a:lnTo>
                    <a:pt x="52" y="194"/>
                  </a:lnTo>
                  <a:lnTo>
                    <a:pt x="44" y="191"/>
                  </a:lnTo>
                  <a:lnTo>
                    <a:pt x="36" y="187"/>
                  </a:lnTo>
                  <a:lnTo>
                    <a:pt x="28" y="182"/>
                  </a:lnTo>
                  <a:lnTo>
                    <a:pt x="20" y="17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8" y="216"/>
                  </a:lnTo>
                  <a:lnTo>
                    <a:pt x="18" y="222"/>
                  </a:lnTo>
                  <a:lnTo>
                    <a:pt x="28" y="227"/>
                  </a:lnTo>
                  <a:lnTo>
                    <a:pt x="38" y="231"/>
                  </a:lnTo>
                  <a:lnTo>
                    <a:pt x="49" y="235"/>
                  </a:lnTo>
                  <a:lnTo>
                    <a:pt x="60" y="237"/>
                  </a:lnTo>
                  <a:lnTo>
                    <a:pt x="72" y="239"/>
                  </a:lnTo>
                  <a:lnTo>
                    <a:pt x="83" y="239"/>
                  </a:lnTo>
                  <a:lnTo>
                    <a:pt x="83" y="239"/>
                  </a:lnTo>
                  <a:lnTo>
                    <a:pt x="95" y="239"/>
                  </a:lnTo>
                  <a:lnTo>
                    <a:pt x="106" y="238"/>
                  </a:lnTo>
                  <a:lnTo>
                    <a:pt x="116" y="236"/>
                  </a:lnTo>
                  <a:lnTo>
                    <a:pt x="125" y="234"/>
                  </a:lnTo>
                  <a:lnTo>
                    <a:pt x="133" y="231"/>
                  </a:lnTo>
                  <a:lnTo>
                    <a:pt x="141" y="227"/>
                  </a:lnTo>
                  <a:lnTo>
                    <a:pt x="148" y="223"/>
                  </a:lnTo>
                  <a:lnTo>
                    <a:pt x="154" y="218"/>
                  </a:lnTo>
                  <a:lnTo>
                    <a:pt x="159" y="213"/>
                  </a:lnTo>
                  <a:lnTo>
                    <a:pt x="164" y="208"/>
                  </a:lnTo>
                  <a:lnTo>
                    <a:pt x="168" y="202"/>
                  </a:lnTo>
                  <a:lnTo>
                    <a:pt x="171" y="196"/>
                  </a:lnTo>
                  <a:lnTo>
                    <a:pt x="173" y="189"/>
                  </a:lnTo>
                  <a:lnTo>
                    <a:pt x="175" y="182"/>
                  </a:lnTo>
                  <a:lnTo>
                    <a:pt x="176" y="175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76" y="157"/>
                  </a:lnTo>
                  <a:lnTo>
                    <a:pt x="173" y="145"/>
                  </a:lnTo>
                  <a:lnTo>
                    <a:pt x="168" y="137"/>
                  </a:lnTo>
                  <a:lnTo>
                    <a:pt x="162" y="129"/>
                  </a:lnTo>
                  <a:lnTo>
                    <a:pt x="156" y="123"/>
                  </a:lnTo>
                  <a:lnTo>
                    <a:pt x="148" y="118"/>
                  </a:lnTo>
                  <a:lnTo>
                    <a:pt x="141" y="114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41" y="108"/>
                  </a:lnTo>
                  <a:lnTo>
                    <a:pt x="148" y="104"/>
                  </a:lnTo>
                  <a:lnTo>
                    <a:pt x="154" y="99"/>
                  </a:lnTo>
                  <a:lnTo>
                    <a:pt x="159" y="94"/>
                  </a:lnTo>
                  <a:lnTo>
                    <a:pt x="164" y="88"/>
                  </a:lnTo>
                  <a:lnTo>
                    <a:pt x="167" y="80"/>
                  </a:lnTo>
                  <a:lnTo>
                    <a:pt x="169" y="73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69" y="57"/>
                  </a:lnTo>
                  <a:lnTo>
                    <a:pt x="168" y="51"/>
                  </a:lnTo>
                  <a:lnTo>
                    <a:pt x="167" y="45"/>
                  </a:lnTo>
                  <a:lnTo>
                    <a:pt x="165" y="39"/>
                  </a:lnTo>
                  <a:lnTo>
                    <a:pt x="162" y="34"/>
                  </a:lnTo>
                  <a:lnTo>
                    <a:pt x="158" y="28"/>
                  </a:lnTo>
                  <a:lnTo>
                    <a:pt x="154" y="23"/>
                  </a:lnTo>
                  <a:lnTo>
                    <a:pt x="149" y="19"/>
                  </a:lnTo>
                  <a:lnTo>
                    <a:pt x="144" y="15"/>
                  </a:lnTo>
                  <a:lnTo>
                    <a:pt x="138" y="11"/>
                  </a:lnTo>
                  <a:lnTo>
                    <a:pt x="131" y="8"/>
                  </a:lnTo>
                  <a:lnTo>
                    <a:pt x="123" y="5"/>
                  </a:lnTo>
                  <a:lnTo>
                    <a:pt x="114" y="3"/>
                  </a:lnTo>
                  <a:lnTo>
                    <a:pt x="105" y="1"/>
                  </a:lnTo>
                  <a:lnTo>
                    <a:pt x="9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3" y="2"/>
                  </a:lnTo>
                  <a:lnTo>
                    <a:pt x="53" y="4"/>
                  </a:lnTo>
                  <a:lnTo>
                    <a:pt x="43" y="7"/>
                  </a:lnTo>
                  <a:lnTo>
                    <a:pt x="33" y="11"/>
                  </a:lnTo>
                  <a:lnTo>
                    <a:pt x="24" y="15"/>
                  </a:lnTo>
                  <a:lnTo>
                    <a:pt x="15" y="20"/>
                  </a:lnTo>
                  <a:lnTo>
                    <a:pt x="7" y="25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41" y="50"/>
                  </a:lnTo>
                  <a:lnTo>
                    <a:pt x="48" y="47"/>
                  </a:lnTo>
                  <a:lnTo>
                    <a:pt x="56" y="44"/>
                  </a:lnTo>
                  <a:lnTo>
                    <a:pt x="63" y="42"/>
                  </a:lnTo>
                  <a:lnTo>
                    <a:pt x="71" y="40"/>
                  </a:lnTo>
                  <a:lnTo>
                    <a:pt x="79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96" y="39"/>
                  </a:lnTo>
                  <a:lnTo>
                    <a:pt x="104" y="41"/>
                  </a:lnTo>
                  <a:lnTo>
                    <a:pt x="111" y="44"/>
                  </a:lnTo>
                  <a:lnTo>
                    <a:pt x="116" y="47"/>
                  </a:lnTo>
                  <a:lnTo>
                    <a:pt x="120" y="52"/>
                  </a:lnTo>
                  <a:lnTo>
                    <a:pt x="123" y="56"/>
                  </a:lnTo>
                  <a:lnTo>
                    <a:pt x="125" y="62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5" y="72"/>
                  </a:lnTo>
                  <a:lnTo>
                    <a:pt x="124" y="77"/>
                  </a:lnTo>
                  <a:lnTo>
                    <a:pt x="121" y="82"/>
                  </a:lnTo>
                  <a:lnTo>
                    <a:pt x="117" y="86"/>
                  </a:lnTo>
                  <a:lnTo>
                    <a:pt x="112" y="89"/>
                  </a:lnTo>
                  <a:lnTo>
                    <a:pt x="106" y="92"/>
                  </a:lnTo>
                  <a:lnTo>
                    <a:pt x="99" y="94"/>
                  </a:lnTo>
                  <a:lnTo>
                    <a:pt x="90" y="94"/>
                  </a:lnTo>
                  <a:lnTo>
                    <a:pt x="61" y="94"/>
                  </a:lnTo>
                  <a:lnTo>
                    <a:pt x="61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3" name="Freeform 132"/>
            <p:cNvSpPr>
              <a:spLocks noEditPoints="1"/>
            </p:cNvSpPr>
            <p:nvPr userDrawn="1"/>
          </p:nvSpPr>
          <p:spPr bwMode="auto">
            <a:xfrm>
              <a:off x="1878013" y="6362701"/>
              <a:ext cx="74613" cy="95250"/>
            </a:xfrm>
            <a:custGeom>
              <a:avLst/>
              <a:gdLst>
                <a:gd name="T0" fmla="*/ 187 w 187"/>
                <a:gd name="T1" fmla="*/ 77 h 239"/>
                <a:gd name="T2" fmla="*/ 186 w 187"/>
                <a:gd name="T3" fmla="*/ 67 h 239"/>
                <a:gd name="T4" fmla="*/ 183 w 187"/>
                <a:gd name="T5" fmla="*/ 50 h 239"/>
                <a:gd name="T6" fmla="*/ 177 w 187"/>
                <a:gd name="T7" fmla="*/ 36 h 239"/>
                <a:gd name="T8" fmla="*/ 168 w 187"/>
                <a:gd name="T9" fmla="*/ 24 h 239"/>
                <a:gd name="T10" fmla="*/ 156 w 187"/>
                <a:gd name="T11" fmla="*/ 14 h 239"/>
                <a:gd name="T12" fmla="*/ 143 w 187"/>
                <a:gd name="T13" fmla="*/ 7 h 239"/>
                <a:gd name="T14" fmla="*/ 127 w 187"/>
                <a:gd name="T15" fmla="*/ 2 h 239"/>
                <a:gd name="T16" fmla="*/ 109 w 187"/>
                <a:gd name="T17" fmla="*/ 0 h 239"/>
                <a:gd name="T18" fmla="*/ 100 w 187"/>
                <a:gd name="T19" fmla="*/ 0 h 239"/>
                <a:gd name="T20" fmla="*/ 77 w 187"/>
                <a:gd name="T21" fmla="*/ 1 h 239"/>
                <a:gd name="T22" fmla="*/ 57 w 187"/>
                <a:gd name="T23" fmla="*/ 5 h 239"/>
                <a:gd name="T24" fmla="*/ 38 w 187"/>
                <a:gd name="T25" fmla="*/ 11 h 239"/>
                <a:gd name="T26" fmla="*/ 22 w 187"/>
                <a:gd name="T27" fmla="*/ 20 h 239"/>
                <a:gd name="T28" fmla="*/ 39 w 187"/>
                <a:gd name="T29" fmla="*/ 54 h 239"/>
                <a:gd name="T30" fmla="*/ 67 w 187"/>
                <a:gd name="T31" fmla="*/ 43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1 w 187"/>
                <a:gd name="T41" fmla="*/ 70 h 239"/>
                <a:gd name="T42" fmla="*/ 142 w 187"/>
                <a:gd name="T43" fmla="*/ 96 h 239"/>
                <a:gd name="T44" fmla="*/ 133 w 187"/>
                <a:gd name="T45" fmla="*/ 92 h 239"/>
                <a:gd name="T46" fmla="*/ 107 w 187"/>
                <a:gd name="T47" fmla="*/ 88 h 239"/>
                <a:gd name="T48" fmla="*/ 91 w 187"/>
                <a:gd name="T49" fmla="*/ 87 h 239"/>
                <a:gd name="T50" fmla="*/ 63 w 187"/>
                <a:gd name="T51" fmla="*/ 89 h 239"/>
                <a:gd name="T52" fmla="*/ 47 w 187"/>
                <a:gd name="T53" fmla="*/ 94 h 239"/>
                <a:gd name="T54" fmla="*/ 32 w 187"/>
                <a:gd name="T55" fmla="*/ 101 h 239"/>
                <a:gd name="T56" fmla="*/ 20 w 187"/>
                <a:gd name="T57" fmla="*/ 110 h 239"/>
                <a:gd name="T58" fmla="*/ 10 w 187"/>
                <a:gd name="T59" fmla="*/ 121 h 239"/>
                <a:gd name="T60" fmla="*/ 4 w 187"/>
                <a:gd name="T61" fmla="*/ 135 h 239"/>
                <a:gd name="T62" fmla="*/ 0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5 w 187"/>
                <a:gd name="T73" fmla="*/ 222 h 239"/>
                <a:gd name="T74" fmla="*/ 38 w 187"/>
                <a:gd name="T75" fmla="*/ 230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9 h 239"/>
                <a:gd name="T82" fmla="*/ 108 w 187"/>
                <a:gd name="T83" fmla="*/ 234 h 239"/>
                <a:gd name="T84" fmla="*/ 115 w 187"/>
                <a:gd name="T85" fmla="*/ 231 h 239"/>
                <a:gd name="T86" fmla="*/ 134 w 187"/>
                <a:gd name="T87" fmla="*/ 219 h 239"/>
                <a:gd name="T88" fmla="*/ 142 w 187"/>
                <a:gd name="T89" fmla="*/ 235 h 239"/>
                <a:gd name="T90" fmla="*/ 142 w 187"/>
                <a:gd name="T91" fmla="*/ 170 h 239"/>
                <a:gd name="T92" fmla="*/ 138 w 187"/>
                <a:gd name="T93" fmla="*/ 175 h 239"/>
                <a:gd name="T94" fmla="*/ 126 w 187"/>
                <a:gd name="T95" fmla="*/ 185 h 239"/>
                <a:gd name="T96" fmla="*/ 112 w 187"/>
                <a:gd name="T97" fmla="*/ 193 h 239"/>
                <a:gd name="T98" fmla="*/ 95 w 187"/>
                <a:gd name="T99" fmla="*/ 198 h 239"/>
                <a:gd name="T100" fmla="*/ 86 w 187"/>
                <a:gd name="T101" fmla="*/ 199 h 239"/>
                <a:gd name="T102" fmla="*/ 68 w 187"/>
                <a:gd name="T103" fmla="*/ 196 h 239"/>
                <a:gd name="T104" fmla="*/ 55 w 187"/>
                <a:gd name="T105" fmla="*/ 190 h 239"/>
                <a:gd name="T106" fmla="*/ 50 w 187"/>
                <a:gd name="T107" fmla="*/ 185 h 239"/>
                <a:gd name="T108" fmla="*/ 43 w 187"/>
                <a:gd name="T109" fmla="*/ 170 h 239"/>
                <a:gd name="T110" fmla="*/ 42 w 187"/>
                <a:gd name="T111" fmla="*/ 161 h 239"/>
                <a:gd name="T112" fmla="*/ 46 w 187"/>
                <a:gd name="T113" fmla="*/ 146 h 239"/>
                <a:gd name="T114" fmla="*/ 55 w 187"/>
                <a:gd name="T115" fmla="*/ 135 h 239"/>
                <a:gd name="T116" fmla="*/ 70 w 187"/>
                <a:gd name="T117" fmla="*/ 128 h 239"/>
                <a:gd name="T118" fmla="*/ 90 w 187"/>
                <a:gd name="T119" fmla="*/ 126 h 239"/>
                <a:gd name="T120" fmla="*/ 106 w 187"/>
                <a:gd name="T121" fmla="*/ 126 h 239"/>
                <a:gd name="T122" fmla="*/ 120 w 187"/>
                <a:gd name="T123" fmla="*/ 128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6" y="67"/>
                  </a:lnTo>
                  <a:lnTo>
                    <a:pt x="185" y="58"/>
                  </a:lnTo>
                  <a:lnTo>
                    <a:pt x="183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8" y="24"/>
                  </a:lnTo>
                  <a:lnTo>
                    <a:pt x="163" y="19"/>
                  </a:lnTo>
                  <a:lnTo>
                    <a:pt x="156" y="14"/>
                  </a:lnTo>
                  <a:lnTo>
                    <a:pt x="150" y="10"/>
                  </a:lnTo>
                  <a:lnTo>
                    <a:pt x="143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2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3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7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6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8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7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8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7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6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4" name="Freeform 133"/>
            <p:cNvSpPr>
              <a:spLocks noEditPoints="1"/>
            </p:cNvSpPr>
            <p:nvPr userDrawn="1"/>
          </p:nvSpPr>
          <p:spPr bwMode="auto">
            <a:xfrm>
              <a:off x="1962150" y="6365876"/>
              <a:ext cx="95250" cy="114300"/>
            </a:xfrm>
            <a:custGeom>
              <a:avLst/>
              <a:gdLst>
                <a:gd name="T0" fmla="*/ 52 w 238"/>
                <a:gd name="T1" fmla="*/ 0 h 291"/>
                <a:gd name="T2" fmla="*/ 46 w 238"/>
                <a:gd name="T3" fmla="*/ 87 h 291"/>
                <a:gd name="T4" fmla="*/ 46 w 238"/>
                <a:gd name="T5" fmla="*/ 87 h 291"/>
                <a:gd name="T6" fmla="*/ 44 w 238"/>
                <a:gd name="T7" fmla="*/ 105 h 291"/>
                <a:gd name="T8" fmla="*/ 41 w 238"/>
                <a:gd name="T9" fmla="*/ 120 h 291"/>
                <a:gd name="T10" fmla="*/ 38 w 238"/>
                <a:gd name="T11" fmla="*/ 135 h 291"/>
                <a:gd name="T12" fmla="*/ 35 w 238"/>
                <a:gd name="T13" fmla="*/ 149 h 291"/>
                <a:gd name="T14" fmla="*/ 27 w 238"/>
                <a:gd name="T15" fmla="*/ 172 h 291"/>
                <a:gd name="T16" fmla="*/ 20 w 238"/>
                <a:gd name="T17" fmla="*/ 190 h 291"/>
                <a:gd name="T18" fmla="*/ 0 w 238"/>
                <a:gd name="T19" fmla="*/ 190 h 291"/>
                <a:gd name="T20" fmla="*/ 0 w 238"/>
                <a:gd name="T21" fmla="*/ 291 h 291"/>
                <a:gd name="T22" fmla="*/ 42 w 238"/>
                <a:gd name="T23" fmla="*/ 270 h 291"/>
                <a:gd name="T24" fmla="*/ 42 w 238"/>
                <a:gd name="T25" fmla="*/ 230 h 291"/>
                <a:gd name="T26" fmla="*/ 196 w 238"/>
                <a:gd name="T27" fmla="*/ 230 h 291"/>
                <a:gd name="T28" fmla="*/ 196 w 238"/>
                <a:gd name="T29" fmla="*/ 291 h 291"/>
                <a:gd name="T30" fmla="*/ 238 w 238"/>
                <a:gd name="T31" fmla="*/ 270 h 291"/>
                <a:gd name="T32" fmla="*/ 238 w 238"/>
                <a:gd name="T33" fmla="*/ 190 h 291"/>
                <a:gd name="T34" fmla="*/ 208 w 238"/>
                <a:gd name="T35" fmla="*/ 190 h 291"/>
                <a:gd name="T36" fmla="*/ 208 w 238"/>
                <a:gd name="T37" fmla="*/ 0 h 291"/>
                <a:gd name="T38" fmla="*/ 52 w 238"/>
                <a:gd name="T39" fmla="*/ 0 h 291"/>
                <a:gd name="T40" fmla="*/ 163 w 238"/>
                <a:gd name="T41" fmla="*/ 190 h 291"/>
                <a:gd name="T42" fmla="*/ 67 w 238"/>
                <a:gd name="T43" fmla="*/ 190 h 291"/>
                <a:gd name="T44" fmla="*/ 67 w 238"/>
                <a:gd name="T45" fmla="*/ 190 h 291"/>
                <a:gd name="T46" fmla="*/ 74 w 238"/>
                <a:gd name="T47" fmla="*/ 172 h 291"/>
                <a:gd name="T48" fmla="*/ 80 w 238"/>
                <a:gd name="T49" fmla="*/ 150 h 291"/>
                <a:gd name="T50" fmla="*/ 83 w 238"/>
                <a:gd name="T51" fmla="*/ 136 h 291"/>
                <a:gd name="T52" fmla="*/ 86 w 238"/>
                <a:gd name="T53" fmla="*/ 122 h 291"/>
                <a:gd name="T54" fmla="*/ 88 w 238"/>
                <a:gd name="T55" fmla="*/ 105 h 291"/>
                <a:gd name="T56" fmla="*/ 89 w 238"/>
                <a:gd name="T57" fmla="*/ 87 h 291"/>
                <a:gd name="T58" fmla="*/ 93 w 238"/>
                <a:gd name="T59" fmla="*/ 39 h 291"/>
                <a:gd name="T60" fmla="*/ 163 w 238"/>
                <a:gd name="T61" fmla="*/ 39 h 291"/>
                <a:gd name="T62" fmla="*/ 163 w 238"/>
                <a:gd name="T63" fmla="*/ 19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8" h="291">
                  <a:moveTo>
                    <a:pt x="52" y="0"/>
                  </a:moveTo>
                  <a:lnTo>
                    <a:pt x="46" y="87"/>
                  </a:lnTo>
                  <a:lnTo>
                    <a:pt x="46" y="87"/>
                  </a:lnTo>
                  <a:lnTo>
                    <a:pt x="44" y="105"/>
                  </a:lnTo>
                  <a:lnTo>
                    <a:pt x="41" y="120"/>
                  </a:lnTo>
                  <a:lnTo>
                    <a:pt x="38" y="135"/>
                  </a:lnTo>
                  <a:lnTo>
                    <a:pt x="35" y="149"/>
                  </a:lnTo>
                  <a:lnTo>
                    <a:pt x="27" y="172"/>
                  </a:lnTo>
                  <a:lnTo>
                    <a:pt x="20" y="190"/>
                  </a:lnTo>
                  <a:lnTo>
                    <a:pt x="0" y="190"/>
                  </a:lnTo>
                  <a:lnTo>
                    <a:pt x="0" y="291"/>
                  </a:lnTo>
                  <a:lnTo>
                    <a:pt x="42" y="270"/>
                  </a:lnTo>
                  <a:lnTo>
                    <a:pt x="42" y="230"/>
                  </a:lnTo>
                  <a:lnTo>
                    <a:pt x="196" y="230"/>
                  </a:lnTo>
                  <a:lnTo>
                    <a:pt x="196" y="291"/>
                  </a:lnTo>
                  <a:lnTo>
                    <a:pt x="238" y="270"/>
                  </a:lnTo>
                  <a:lnTo>
                    <a:pt x="238" y="190"/>
                  </a:lnTo>
                  <a:lnTo>
                    <a:pt x="208" y="190"/>
                  </a:lnTo>
                  <a:lnTo>
                    <a:pt x="208" y="0"/>
                  </a:lnTo>
                  <a:lnTo>
                    <a:pt x="52" y="0"/>
                  </a:lnTo>
                  <a:close/>
                  <a:moveTo>
                    <a:pt x="163" y="190"/>
                  </a:moveTo>
                  <a:lnTo>
                    <a:pt x="67" y="190"/>
                  </a:lnTo>
                  <a:lnTo>
                    <a:pt x="67" y="190"/>
                  </a:lnTo>
                  <a:lnTo>
                    <a:pt x="74" y="172"/>
                  </a:lnTo>
                  <a:lnTo>
                    <a:pt x="80" y="150"/>
                  </a:lnTo>
                  <a:lnTo>
                    <a:pt x="83" y="136"/>
                  </a:lnTo>
                  <a:lnTo>
                    <a:pt x="86" y="122"/>
                  </a:lnTo>
                  <a:lnTo>
                    <a:pt x="88" y="105"/>
                  </a:lnTo>
                  <a:lnTo>
                    <a:pt x="89" y="87"/>
                  </a:lnTo>
                  <a:lnTo>
                    <a:pt x="93" y="39"/>
                  </a:lnTo>
                  <a:lnTo>
                    <a:pt x="163" y="39"/>
                  </a:lnTo>
                  <a:lnTo>
                    <a:pt x="163" y="1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5" name="Freeform 134"/>
            <p:cNvSpPr>
              <a:spLocks noEditPoints="1"/>
            </p:cNvSpPr>
            <p:nvPr userDrawn="1"/>
          </p:nvSpPr>
          <p:spPr bwMode="auto">
            <a:xfrm>
              <a:off x="2066925" y="6362701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7 h 239"/>
                <a:gd name="T4" fmla="*/ 184 w 187"/>
                <a:gd name="T5" fmla="*/ 50 h 239"/>
                <a:gd name="T6" fmla="*/ 177 w 187"/>
                <a:gd name="T7" fmla="*/ 36 h 239"/>
                <a:gd name="T8" fmla="*/ 168 w 187"/>
                <a:gd name="T9" fmla="*/ 24 h 239"/>
                <a:gd name="T10" fmla="*/ 156 w 187"/>
                <a:gd name="T11" fmla="*/ 14 h 239"/>
                <a:gd name="T12" fmla="*/ 143 w 187"/>
                <a:gd name="T13" fmla="*/ 7 h 239"/>
                <a:gd name="T14" fmla="*/ 127 w 187"/>
                <a:gd name="T15" fmla="*/ 2 h 239"/>
                <a:gd name="T16" fmla="*/ 110 w 187"/>
                <a:gd name="T17" fmla="*/ 0 h 239"/>
                <a:gd name="T18" fmla="*/ 100 w 187"/>
                <a:gd name="T19" fmla="*/ 0 h 239"/>
                <a:gd name="T20" fmla="*/ 78 w 187"/>
                <a:gd name="T21" fmla="*/ 1 h 239"/>
                <a:gd name="T22" fmla="*/ 57 w 187"/>
                <a:gd name="T23" fmla="*/ 5 h 239"/>
                <a:gd name="T24" fmla="*/ 39 w 187"/>
                <a:gd name="T25" fmla="*/ 11 h 239"/>
                <a:gd name="T26" fmla="*/ 22 w 187"/>
                <a:gd name="T27" fmla="*/ 20 h 239"/>
                <a:gd name="T28" fmla="*/ 39 w 187"/>
                <a:gd name="T29" fmla="*/ 54 h 239"/>
                <a:gd name="T30" fmla="*/ 67 w 187"/>
                <a:gd name="T31" fmla="*/ 43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1 w 187"/>
                <a:gd name="T41" fmla="*/ 70 h 239"/>
                <a:gd name="T42" fmla="*/ 142 w 187"/>
                <a:gd name="T43" fmla="*/ 96 h 239"/>
                <a:gd name="T44" fmla="*/ 133 w 187"/>
                <a:gd name="T45" fmla="*/ 92 h 239"/>
                <a:gd name="T46" fmla="*/ 108 w 187"/>
                <a:gd name="T47" fmla="*/ 88 h 239"/>
                <a:gd name="T48" fmla="*/ 91 w 187"/>
                <a:gd name="T49" fmla="*/ 87 h 239"/>
                <a:gd name="T50" fmla="*/ 64 w 187"/>
                <a:gd name="T51" fmla="*/ 89 h 239"/>
                <a:gd name="T52" fmla="*/ 47 w 187"/>
                <a:gd name="T53" fmla="*/ 94 h 239"/>
                <a:gd name="T54" fmla="*/ 33 w 187"/>
                <a:gd name="T55" fmla="*/ 101 h 239"/>
                <a:gd name="T56" fmla="*/ 20 w 187"/>
                <a:gd name="T57" fmla="*/ 110 h 239"/>
                <a:gd name="T58" fmla="*/ 11 w 187"/>
                <a:gd name="T59" fmla="*/ 121 h 239"/>
                <a:gd name="T60" fmla="*/ 4 w 187"/>
                <a:gd name="T61" fmla="*/ 135 h 239"/>
                <a:gd name="T62" fmla="*/ 1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6 w 187"/>
                <a:gd name="T73" fmla="*/ 222 h 239"/>
                <a:gd name="T74" fmla="*/ 38 w 187"/>
                <a:gd name="T75" fmla="*/ 230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9 h 239"/>
                <a:gd name="T82" fmla="*/ 109 w 187"/>
                <a:gd name="T83" fmla="*/ 234 h 239"/>
                <a:gd name="T84" fmla="*/ 116 w 187"/>
                <a:gd name="T85" fmla="*/ 231 h 239"/>
                <a:gd name="T86" fmla="*/ 134 w 187"/>
                <a:gd name="T87" fmla="*/ 219 h 239"/>
                <a:gd name="T88" fmla="*/ 142 w 187"/>
                <a:gd name="T89" fmla="*/ 235 h 239"/>
                <a:gd name="T90" fmla="*/ 142 w 187"/>
                <a:gd name="T91" fmla="*/ 170 h 239"/>
                <a:gd name="T92" fmla="*/ 138 w 187"/>
                <a:gd name="T93" fmla="*/ 175 h 239"/>
                <a:gd name="T94" fmla="*/ 127 w 187"/>
                <a:gd name="T95" fmla="*/ 185 h 239"/>
                <a:gd name="T96" fmla="*/ 112 w 187"/>
                <a:gd name="T97" fmla="*/ 193 h 239"/>
                <a:gd name="T98" fmla="*/ 96 w 187"/>
                <a:gd name="T99" fmla="*/ 198 h 239"/>
                <a:gd name="T100" fmla="*/ 87 w 187"/>
                <a:gd name="T101" fmla="*/ 199 h 239"/>
                <a:gd name="T102" fmla="*/ 69 w 187"/>
                <a:gd name="T103" fmla="*/ 196 h 239"/>
                <a:gd name="T104" fmla="*/ 55 w 187"/>
                <a:gd name="T105" fmla="*/ 190 h 239"/>
                <a:gd name="T106" fmla="*/ 50 w 187"/>
                <a:gd name="T107" fmla="*/ 185 h 239"/>
                <a:gd name="T108" fmla="*/ 44 w 187"/>
                <a:gd name="T109" fmla="*/ 170 h 239"/>
                <a:gd name="T110" fmla="*/ 43 w 187"/>
                <a:gd name="T111" fmla="*/ 161 h 239"/>
                <a:gd name="T112" fmla="*/ 46 w 187"/>
                <a:gd name="T113" fmla="*/ 146 h 239"/>
                <a:gd name="T114" fmla="*/ 55 w 187"/>
                <a:gd name="T115" fmla="*/ 135 h 239"/>
                <a:gd name="T116" fmla="*/ 70 w 187"/>
                <a:gd name="T117" fmla="*/ 128 h 239"/>
                <a:gd name="T118" fmla="*/ 90 w 187"/>
                <a:gd name="T119" fmla="*/ 126 h 239"/>
                <a:gd name="T120" fmla="*/ 107 w 187"/>
                <a:gd name="T121" fmla="*/ 126 h 239"/>
                <a:gd name="T122" fmla="*/ 120 w 187"/>
                <a:gd name="T123" fmla="*/ 128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7"/>
                  </a:lnTo>
                  <a:lnTo>
                    <a:pt x="186" y="58"/>
                  </a:lnTo>
                  <a:lnTo>
                    <a:pt x="184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8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50" y="10"/>
                  </a:lnTo>
                  <a:lnTo>
                    <a:pt x="143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9" y="1"/>
                  </a:lnTo>
                  <a:lnTo>
                    <a:pt x="110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8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8" y="8"/>
                  </a:lnTo>
                  <a:lnTo>
                    <a:pt x="39" y="11"/>
                  </a:lnTo>
                  <a:lnTo>
                    <a:pt x="30" y="16"/>
                  </a:lnTo>
                  <a:lnTo>
                    <a:pt x="22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3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6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2" y="89"/>
                  </a:lnTo>
                  <a:lnTo>
                    <a:pt x="108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4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40" y="97"/>
                  </a:lnTo>
                  <a:lnTo>
                    <a:pt x="33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1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2" y="143"/>
                  </a:lnTo>
                  <a:lnTo>
                    <a:pt x="1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1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6" y="222"/>
                  </a:lnTo>
                  <a:lnTo>
                    <a:pt x="32" y="226"/>
                  </a:lnTo>
                  <a:lnTo>
                    <a:pt x="38" y="230"/>
                  </a:lnTo>
                  <a:lnTo>
                    <a:pt x="45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7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8" y="175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6" y="198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77" y="198"/>
                  </a:lnTo>
                  <a:lnTo>
                    <a:pt x="69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4" y="170"/>
                  </a:lnTo>
                  <a:lnTo>
                    <a:pt x="43" y="161"/>
                  </a:lnTo>
                  <a:lnTo>
                    <a:pt x="43" y="161"/>
                  </a:lnTo>
                  <a:lnTo>
                    <a:pt x="44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7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1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6" name="Freeform 135"/>
            <p:cNvSpPr>
              <a:spLocks/>
            </p:cNvSpPr>
            <p:nvPr userDrawn="1"/>
          </p:nvSpPr>
          <p:spPr bwMode="auto">
            <a:xfrm>
              <a:off x="2159000" y="6365876"/>
              <a:ext cx="69850" cy="90488"/>
            </a:xfrm>
            <a:custGeom>
              <a:avLst/>
              <a:gdLst>
                <a:gd name="T0" fmla="*/ 178 w 178"/>
                <a:gd name="T1" fmla="*/ 0 h 230"/>
                <a:gd name="T2" fmla="*/ 133 w 178"/>
                <a:gd name="T3" fmla="*/ 0 h 230"/>
                <a:gd name="T4" fmla="*/ 133 w 178"/>
                <a:gd name="T5" fmla="*/ 92 h 230"/>
                <a:gd name="T6" fmla="*/ 133 w 178"/>
                <a:gd name="T7" fmla="*/ 92 h 230"/>
                <a:gd name="T8" fmla="*/ 123 w 178"/>
                <a:gd name="T9" fmla="*/ 98 h 230"/>
                <a:gd name="T10" fmla="*/ 112 w 178"/>
                <a:gd name="T11" fmla="*/ 102 h 230"/>
                <a:gd name="T12" fmla="*/ 99 w 178"/>
                <a:gd name="T13" fmla="*/ 105 h 230"/>
                <a:gd name="T14" fmla="*/ 85 w 178"/>
                <a:gd name="T15" fmla="*/ 106 h 230"/>
                <a:gd name="T16" fmla="*/ 85 w 178"/>
                <a:gd name="T17" fmla="*/ 106 h 230"/>
                <a:gd name="T18" fmla="*/ 76 w 178"/>
                <a:gd name="T19" fmla="*/ 105 h 230"/>
                <a:gd name="T20" fmla="*/ 68 w 178"/>
                <a:gd name="T21" fmla="*/ 103 h 230"/>
                <a:gd name="T22" fmla="*/ 61 w 178"/>
                <a:gd name="T23" fmla="*/ 101 h 230"/>
                <a:gd name="T24" fmla="*/ 55 w 178"/>
                <a:gd name="T25" fmla="*/ 97 h 230"/>
                <a:gd name="T26" fmla="*/ 51 w 178"/>
                <a:gd name="T27" fmla="*/ 91 h 230"/>
                <a:gd name="T28" fmla="*/ 48 w 178"/>
                <a:gd name="T29" fmla="*/ 85 h 230"/>
                <a:gd name="T30" fmla="*/ 46 w 178"/>
                <a:gd name="T31" fmla="*/ 76 h 230"/>
                <a:gd name="T32" fmla="*/ 45 w 178"/>
                <a:gd name="T33" fmla="*/ 66 h 230"/>
                <a:gd name="T34" fmla="*/ 45 w 178"/>
                <a:gd name="T35" fmla="*/ 0 h 230"/>
                <a:gd name="T36" fmla="*/ 0 w 178"/>
                <a:gd name="T37" fmla="*/ 0 h 230"/>
                <a:gd name="T38" fmla="*/ 0 w 178"/>
                <a:gd name="T39" fmla="*/ 64 h 230"/>
                <a:gd name="T40" fmla="*/ 0 w 178"/>
                <a:gd name="T41" fmla="*/ 64 h 230"/>
                <a:gd name="T42" fmla="*/ 0 w 178"/>
                <a:gd name="T43" fmla="*/ 74 h 230"/>
                <a:gd name="T44" fmla="*/ 1 w 178"/>
                <a:gd name="T45" fmla="*/ 83 h 230"/>
                <a:gd name="T46" fmla="*/ 3 w 178"/>
                <a:gd name="T47" fmla="*/ 91 h 230"/>
                <a:gd name="T48" fmla="*/ 5 w 178"/>
                <a:gd name="T49" fmla="*/ 99 h 230"/>
                <a:gd name="T50" fmla="*/ 7 w 178"/>
                <a:gd name="T51" fmla="*/ 106 h 230"/>
                <a:gd name="T52" fmla="*/ 11 w 178"/>
                <a:gd name="T53" fmla="*/ 113 h 230"/>
                <a:gd name="T54" fmla="*/ 14 w 178"/>
                <a:gd name="T55" fmla="*/ 119 h 230"/>
                <a:gd name="T56" fmla="*/ 19 w 178"/>
                <a:gd name="T57" fmla="*/ 124 h 230"/>
                <a:gd name="T58" fmla="*/ 24 w 178"/>
                <a:gd name="T59" fmla="*/ 129 h 230"/>
                <a:gd name="T60" fmla="*/ 29 w 178"/>
                <a:gd name="T61" fmla="*/ 133 h 230"/>
                <a:gd name="T62" fmla="*/ 35 w 178"/>
                <a:gd name="T63" fmla="*/ 137 h 230"/>
                <a:gd name="T64" fmla="*/ 42 w 178"/>
                <a:gd name="T65" fmla="*/ 140 h 230"/>
                <a:gd name="T66" fmla="*/ 49 w 178"/>
                <a:gd name="T67" fmla="*/ 142 h 230"/>
                <a:gd name="T68" fmla="*/ 57 w 178"/>
                <a:gd name="T69" fmla="*/ 145 h 230"/>
                <a:gd name="T70" fmla="*/ 65 w 178"/>
                <a:gd name="T71" fmla="*/ 145 h 230"/>
                <a:gd name="T72" fmla="*/ 74 w 178"/>
                <a:gd name="T73" fmla="*/ 146 h 230"/>
                <a:gd name="T74" fmla="*/ 74 w 178"/>
                <a:gd name="T75" fmla="*/ 146 h 230"/>
                <a:gd name="T76" fmla="*/ 91 w 178"/>
                <a:gd name="T77" fmla="*/ 145 h 230"/>
                <a:gd name="T78" fmla="*/ 106 w 178"/>
                <a:gd name="T79" fmla="*/ 141 h 230"/>
                <a:gd name="T80" fmla="*/ 120 w 178"/>
                <a:gd name="T81" fmla="*/ 137 h 230"/>
                <a:gd name="T82" fmla="*/ 133 w 178"/>
                <a:gd name="T83" fmla="*/ 131 h 230"/>
                <a:gd name="T84" fmla="*/ 133 w 178"/>
                <a:gd name="T85" fmla="*/ 230 h 230"/>
                <a:gd name="T86" fmla="*/ 178 w 178"/>
                <a:gd name="T87" fmla="*/ 230 h 230"/>
                <a:gd name="T88" fmla="*/ 178 w 178"/>
                <a:gd name="T8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8" h="230">
                  <a:moveTo>
                    <a:pt x="178" y="0"/>
                  </a:moveTo>
                  <a:lnTo>
                    <a:pt x="133" y="0"/>
                  </a:lnTo>
                  <a:lnTo>
                    <a:pt x="133" y="92"/>
                  </a:lnTo>
                  <a:lnTo>
                    <a:pt x="133" y="92"/>
                  </a:lnTo>
                  <a:lnTo>
                    <a:pt x="123" y="98"/>
                  </a:lnTo>
                  <a:lnTo>
                    <a:pt x="112" y="102"/>
                  </a:lnTo>
                  <a:lnTo>
                    <a:pt x="99" y="105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76" y="105"/>
                  </a:lnTo>
                  <a:lnTo>
                    <a:pt x="68" y="103"/>
                  </a:lnTo>
                  <a:lnTo>
                    <a:pt x="61" y="101"/>
                  </a:lnTo>
                  <a:lnTo>
                    <a:pt x="55" y="97"/>
                  </a:lnTo>
                  <a:lnTo>
                    <a:pt x="51" y="91"/>
                  </a:lnTo>
                  <a:lnTo>
                    <a:pt x="48" y="85"/>
                  </a:lnTo>
                  <a:lnTo>
                    <a:pt x="46" y="76"/>
                  </a:lnTo>
                  <a:lnTo>
                    <a:pt x="45" y="66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4"/>
                  </a:lnTo>
                  <a:lnTo>
                    <a:pt x="1" y="83"/>
                  </a:lnTo>
                  <a:lnTo>
                    <a:pt x="3" y="91"/>
                  </a:lnTo>
                  <a:lnTo>
                    <a:pt x="5" y="99"/>
                  </a:lnTo>
                  <a:lnTo>
                    <a:pt x="7" y="106"/>
                  </a:lnTo>
                  <a:lnTo>
                    <a:pt x="11" y="113"/>
                  </a:lnTo>
                  <a:lnTo>
                    <a:pt x="14" y="119"/>
                  </a:lnTo>
                  <a:lnTo>
                    <a:pt x="19" y="124"/>
                  </a:lnTo>
                  <a:lnTo>
                    <a:pt x="24" y="129"/>
                  </a:lnTo>
                  <a:lnTo>
                    <a:pt x="29" y="133"/>
                  </a:lnTo>
                  <a:lnTo>
                    <a:pt x="35" y="137"/>
                  </a:lnTo>
                  <a:lnTo>
                    <a:pt x="42" y="140"/>
                  </a:lnTo>
                  <a:lnTo>
                    <a:pt x="49" y="142"/>
                  </a:lnTo>
                  <a:lnTo>
                    <a:pt x="57" y="145"/>
                  </a:lnTo>
                  <a:lnTo>
                    <a:pt x="65" y="145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91" y="145"/>
                  </a:lnTo>
                  <a:lnTo>
                    <a:pt x="106" y="141"/>
                  </a:lnTo>
                  <a:lnTo>
                    <a:pt x="120" y="137"/>
                  </a:lnTo>
                  <a:lnTo>
                    <a:pt x="133" y="131"/>
                  </a:lnTo>
                  <a:lnTo>
                    <a:pt x="133" y="230"/>
                  </a:lnTo>
                  <a:lnTo>
                    <a:pt x="178" y="23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7" name="Freeform 136"/>
            <p:cNvSpPr>
              <a:spLocks/>
            </p:cNvSpPr>
            <p:nvPr userDrawn="1"/>
          </p:nvSpPr>
          <p:spPr bwMode="auto">
            <a:xfrm>
              <a:off x="2252663" y="6365876"/>
              <a:ext cx="74613" cy="90488"/>
            </a:xfrm>
            <a:custGeom>
              <a:avLst/>
              <a:gdLst>
                <a:gd name="T0" fmla="*/ 0 w 186"/>
                <a:gd name="T1" fmla="*/ 0 h 230"/>
                <a:gd name="T2" fmla="*/ 0 w 186"/>
                <a:gd name="T3" fmla="*/ 230 h 230"/>
                <a:gd name="T4" fmla="*/ 45 w 186"/>
                <a:gd name="T5" fmla="*/ 230 h 230"/>
                <a:gd name="T6" fmla="*/ 125 w 186"/>
                <a:gd name="T7" fmla="*/ 101 h 230"/>
                <a:gd name="T8" fmla="*/ 125 w 186"/>
                <a:gd name="T9" fmla="*/ 101 h 230"/>
                <a:gd name="T10" fmla="*/ 142 w 186"/>
                <a:gd name="T11" fmla="*/ 72 h 230"/>
                <a:gd name="T12" fmla="*/ 142 w 186"/>
                <a:gd name="T13" fmla="*/ 72 h 230"/>
                <a:gd name="T14" fmla="*/ 142 w 186"/>
                <a:gd name="T15" fmla="*/ 120 h 230"/>
                <a:gd name="T16" fmla="*/ 142 w 186"/>
                <a:gd name="T17" fmla="*/ 230 h 230"/>
                <a:gd name="T18" fmla="*/ 186 w 186"/>
                <a:gd name="T19" fmla="*/ 230 h 230"/>
                <a:gd name="T20" fmla="*/ 186 w 186"/>
                <a:gd name="T21" fmla="*/ 0 h 230"/>
                <a:gd name="T22" fmla="*/ 142 w 186"/>
                <a:gd name="T23" fmla="*/ 0 h 230"/>
                <a:gd name="T24" fmla="*/ 62 w 186"/>
                <a:gd name="T25" fmla="*/ 127 h 230"/>
                <a:gd name="T26" fmla="*/ 62 w 186"/>
                <a:gd name="T27" fmla="*/ 127 h 230"/>
                <a:gd name="T28" fmla="*/ 52 w 186"/>
                <a:gd name="T29" fmla="*/ 143 h 230"/>
                <a:gd name="T30" fmla="*/ 44 w 186"/>
                <a:gd name="T31" fmla="*/ 158 h 230"/>
                <a:gd name="T32" fmla="*/ 44 w 186"/>
                <a:gd name="T33" fmla="*/ 158 h 230"/>
                <a:gd name="T34" fmla="*/ 45 w 186"/>
                <a:gd name="T35" fmla="*/ 108 h 230"/>
                <a:gd name="T36" fmla="*/ 45 w 186"/>
                <a:gd name="T37" fmla="*/ 0 h 230"/>
                <a:gd name="T38" fmla="*/ 0 w 186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6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2" y="120"/>
                  </a:lnTo>
                  <a:lnTo>
                    <a:pt x="142" y="230"/>
                  </a:lnTo>
                  <a:lnTo>
                    <a:pt x="186" y="230"/>
                  </a:lnTo>
                  <a:lnTo>
                    <a:pt x="186" y="0"/>
                  </a:lnTo>
                  <a:lnTo>
                    <a:pt x="142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8" name="Freeform 137"/>
            <p:cNvSpPr>
              <a:spLocks noEditPoints="1"/>
            </p:cNvSpPr>
            <p:nvPr userDrawn="1"/>
          </p:nvSpPr>
          <p:spPr bwMode="auto">
            <a:xfrm>
              <a:off x="2390775" y="6327776"/>
              <a:ext cx="79375" cy="130175"/>
            </a:xfrm>
            <a:custGeom>
              <a:avLst/>
              <a:gdLst>
                <a:gd name="T0" fmla="*/ 159 w 198"/>
                <a:gd name="T1" fmla="*/ 4 h 328"/>
                <a:gd name="T2" fmla="*/ 124 w 198"/>
                <a:gd name="T3" fmla="*/ 5 h 328"/>
                <a:gd name="T4" fmla="*/ 83 w 198"/>
                <a:gd name="T5" fmla="*/ 13 h 328"/>
                <a:gd name="T6" fmla="*/ 48 w 198"/>
                <a:gd name="T7" fmla="*/ 31 h 328"/>
                <a:gd name="T8" fmla="*/ 22 w 198"/>
                <a:gd name="T9" fmla="*/ 59 h 328"/>
                <a:gd name="T10" fmla="*/ 6 w 198"/>
                <a:gd name="T11" fmla="*/ 96 h 328"/>
                <a:gd name="T12" fmla="*/ 0 w 198"/>
                <a:gd name="T13" fmla="*/ 143 h 328"/>
                <a:gd name="T14" fmla="*/ 1 w 198"/>
                <a:gd name="T15" fmla="*/ 223 h 328"/>
                <a:gd name="T16" fmla="*/ 8 w 198"/>
                <a:gd name="T17" fmla="*/ 259 h 328"/>
                <a:gd name="T18" fmla="*/ 22 w 198"/>
                <a:gd name="T19" fmla="*/ 288 h 328"/>
                <a:gd name="T20" fmla="*/ 42 w 198"/>
                <a:gd name="T21" fmla="*/ 310 h 328"/>
                <a:gd name="T22" fmla="*/ 68 w 198"/>
                <a:gd name="T23" fmla="*/ 324 h 328"/>
                <a:gd name="T24" fmla="*/ 98 w 198"/>
                <a:gd name="T25" fmla="*/ 328 h 328"/>
                <a:gd name="T26" fmla="*/ 118 w 198"/>
                <a:gd name="T27" fmla="*/ 326 h 328"/>
                <a:gd name="T28" fmla="*/ 146 w 198"/>
                <a:gd name="T29" fmla="*/ 316 h 328"/>
                <a:gd name="T30" fmla="*/ 169 w 198"/>
                <a:gd name="T31" fmla="*/ 297 h 328"/>
                <a:gd name="T32" fmla="*/ 186 w 198"/>
                <a:gd name="T33" fmla="*/ 271 h 328"/>
                <a:gd name="T34" fmla="*/ 196 w 198"/>
                <a:gd name="T35" fmla="*/ 236 h 328"/>
                <a:gd name="T36" fmla="*/ 198 w 198"/>
                <a:gd name="T37" fmla="*/ 210 h 328"/>
                <a:gd name="T38" fmla="*/ 194 w 198"/>
                <a:gd name="T39" fmla="*/ 173 h 328"/>
                <a:gd name="T40" fmla="*/ 184 w 198"/>
                <a:gd name="T41" fmla="*/ 142 h 328"/>
                <a:gd name="T42" fmla="*/ 167 w 198"/>
                <a:gd name="T43" fmla="*/ 118 h 328"/>
                <a:gd name="T44" fmla="*/ 144 w 198"/>
                <a:gd name="T45" fmla="*/ 102 h 328"/>
                <a:gd name="T46" fmla="*/ 117 w 198"/>
                <a:gd name="T47" fmla="*/ 94 h 328"/>
                <a:gd name="T48" fmla="*/ 96 w 198"/>
                <a:gd name="T49" fmla="*/ 94 h 328"/>
                <a:gd name="T50" fmla="*/ 69 w 198"/>
                <a:gd name="T51" fmla="*/ 103 h 328"/>
                <a:gd name="T52" fmla="*/ 48 w 198"/>
                <a:gd name="T53" fmla="*/ 123 h 328"/>
                <a:gd name="T54" fmla="*/ 42 w 198"/>
                <a:gd name="T55" fmla="*/ 123 h 328"/>
                <a:gd name="T56" fmla="*/ 47 w 198"/>
                <a:gd name="T57" fmla="*/ 97 h 328"/>
                <a:gd name="T58" fmla="*/ 59 w 198"/>
                <a:gd name="T59" fmla="*/ 76 h 328"/>
                <a:gd name="T60" fmla="*/ 78 w 198"/>
                <a:gd name="T61" fmla="*/ 59 h 328"/>
                <a:gd name="T62" fmla="*/ 105 w 198"/>
                <a:gd name="T63" fmla="*/ 48 h 328"/>
                <a:gd name="T64" fmla="*/ 139 w 198"/>
                <a:gd name="T65" fmla="*/ 44 h 328"/>
                <a:gd name="T66" fmla="*/ 162 w 198"/>
                <a:gd name="T67" fmla="*/ 43 h 328"/>
                <a:gd name="T68" fmla="*/ 153 w 198"/>
                <a:gd name="T69" fmla="*/ 211 h 328"/>
                <a:gd name="T70" fmla="*/ 149 w 198"/>
                <a:gd name="T71" fmla="*/ 241 h 328"/>
                <a:gd name="T72" fmla="*/ 135 w 198"/>
                <a:gd name="T73" fmla="*/ 270 h 328"/>
                <a:gd name="T74" fmla="*/ 121 w 198"/>
                <a:gd name="T75" fmla="*/ 281 h 328"/>
                <a:gd name="T76" fmla="*/ 105 w 198"/>
                <a:gd name="T77" fmla="*/ 286 h 328"/>
                <a:gd name="T78" fmla="*/ 93 w 198"/>
                <a:gd name="T79" fmla="*/ 287 h 328"/>
                <a:gd name="T80" fmla="*/ 77 w 198"/>
                <a:gd name="T81" fmla="*/ 282 h 328"/>
                <a:gd name="T82" fmla="*/ 63 w 198"/>
                <a:gd name="T83" fmla="*/ 272 h 328"/>
                <a:gd name="T84" fmla="*/ 53 w 198"/>
                <a:gd name="T85" fmla="*/ 256 h 328"/>
                <a:gd name="T86" fmla="*/ 45 w 198"/>
                <a:gd name="T87" fmla="*/ 227 h 328"/>
                <a:gd name="T88" fmla="*/ 45 w 198"/>
                <a:gd name="T89" fmla="*/ 193 h 328"/>
                <a:gd name="T90" fmla="*/ 55 w 198"/>
                <a:gd name="T91" fmla="*/ 161 h 328"/>
                <a:gd name="T92" fmla="*/ 66 w 198"/>
                <a:gd name="T93" fmla="*/ 147 h 328"/>
                <a:gd name="T94" fmla="*/ 82 w 198"/>
                <a:gd name="T95" fmla="*/ 138 h 328"/>
                <a:gd name="T96" fmla="*/ 101 w 198"/>
                <a:gd name="T97" fmla="*/ 135 h 328"/>
                <a:gd name="T98" fmla="*/ 113 w 198"/>
                <a:gd name="T99" fmla="*/ 136 h 328"/>
                <a:gd name="T100" fmla="*/ 128 w 198"/>
                <a:gd name="T101" fmla="*/ 143 h 328"/>
                <a:gd name="T102" fmla="*/ 139 w 198"/>
                <a:gd name="T103" fmla="*/ 156 h 328"/>
                <a:gd name="T104" fmla="*/ 152 w 198"/>
                <a:gd name="T105" fmla="*/ 194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" h="328">
                  <a:moveTo>
                    <a:pt x="182" y="0"/>
                  </a:moveTo>
                  <a:lnTo>
                    <a:pt x="182" y="0"/>
                  </a:lnTo>
                  <a:lnTo>
                    <a:pt x="159" y="4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24" y="5"/>
                  </a:lnTo>
                  <a:lnTo>
                    <a:pt x="109" y="7"/>
                  </a:lnTo>
                  <a:lnTo>
                    <a:pt x="96" y="10"/>
                  </a:lnTo>
                  <a:lnTo>
                    <a:pt x="83" y="13"/>
                  </a:lnTo>
                  <a:lnTo>
                    <a:pt x="70" y="18"/>
                  </a:lnTo>
                  <a:lnTo>
                    <a:pt x="59" y="24"/>
                  </a:lnTo>
                  <a:lnTo>
                    <a:pt x="48" y="31"/>
                  </a:lnTo>
                  <a:lnTo>
                    <a:pt x="39" y="39"/>
                  </a:lnTo>
                  <a:lnTo>
                    <a:pt x="30" y="48"/>
                  </a:lnTo>
                  <a:lnTo>
                    <a:pt x="22" y="59"/>
                  </a:lnTo>
                  <a:lnTo>
                    <a:pt x="16" y="70"/>
                  </a:lnTo>
                  <a:lnTo>
                    <a:pt x="10" y="82"/>
                  </a:lnTo>
                  <a:lnTo>
                    <a:pt x="6" y="96"/>
                  </a:lnTo>
                  <a:lnTo>
                    <a:pt x="3" y="111"/>
                  </a:lnTo>
                  <a:lnTo>
                    <a:pt x="1" y="126"/>
                  </a:lnTo>
                  <a:lnTo>
                    <a:pt x="0" y="143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2" y="236"/>
                  </a:lnTo>
                  <a:lnTo>
                    <a:pt x="4" y="248"/>
                  </a:lnTo>
                  <a:lnTo>
                    <a:pt x="8" y="259"/>
                  </a:lnTo>
                  <a:lnTo>
                    <a:pt x="12" y="270"/>
                  </a:lnTo>
                  <a:lnTo>
                    <a:pt x="16" y="279"/>
                  </a:lnTo>
                  <a:lnTo>
                    <a:pt x="22" y="288"/>
                  </a:lnTo>
                  <a:lnTo>
                    <a:pt x="28" y="296"/>
                  </a:lnTo>
                  <a:lnTo>
                    <a:pt x="35" y="303"/>
                  </a:lnTo>
                  <a:lnTo>
                    <a:pt x="42" y="310"/>
                  </a:lnTo>
                  <a:lnTo>
                    <a:pt x="50" y="315"/>
                  </a:lnTo>
                  <a:lnTo>
                    <a:pt x="59" y="320"/>
                  </a:lnTo>
                  <a:lnTo>
                    <a:pt x="68" y="324"/>
                  </a:lnTo>
                  <a:lnTo>
                    <a:pt x="78" y="326"/>
                  </a:lnTo>
                  <a:lnTo>
                    <a:pt x="87" y="328"/>
                  </a:lnTo>
                  <a:lnTo>
                    <a:pt x="98" y="328"/>
                  </a:lnTo>
                  <a:lnTo>
                    <a:pt x="98" y="328"/>
                  </a:lnTo>
                  <a:lnTo>
                    <a:pt x="108" y="328"/>
                  </a:lnTo>
                  <a:lnTo>
                    <a:pt x="118" y="326"/>
                  </a:lnTo>
                  <a:lnTo>
                    <a:pt x="128" y="324"/>
                  </a:lnTo>
                  <a:lnTo>
                    <a:pt x="138" y="320"/>
                  </a:lnTo>
                  <a:lnTo>
                    <a:pt x="146" y="316"/>
                  </a:lnTo>
                  <a:lnTo>
                    <a:pt x="155" y="311"/>
                  </a:lnTo>
                  <a:lnTo>
                    <a:pt x="162" y="304"/>
                  </a:lnTo>
                  <a:lnTo>
                    <a:pt x="169" y="297"/>
                  </a:lnTo>
                  <a:lnTo>
                    <a:pt x="176" y="289"/>
                  </a:lnTo>
                  <a:lnTo>
                    <a:pt x="181" y="280"/>
                  </a:lnTo>
                  <a:lnTo>
                    <a:pt x="186" y="271"/>
                  </a:lnTo>
                  <a:lnTo>
                    <a:pt x="190" y="260"/>
                  </a:lnTo>
                  <a:lnTo>
                    <a:pt x="194" y="249"/>
                  </a:lnTo>
                  <a:lnTo>
                    <a:pt x="196" y="236"/>
                  </a:lnTo>
                  <a:lnTo>
                    <a:pt x="198" y="223"/>
                  </a:lnTo>
                  <a:lnTo>
                    <a:pt x="198" y="210"/>
                  </a:lnTo>
                  <a:lnTo>
                    <a:pt x="198" y="210"/>
                  </a:lnTo>
                  <a:lnTo>
                    <a:pt x="198" y="197"/>
                  </a:lnTo>
                  <a:lnTo>
                    <a:pt x="196" y="184"/>
                  </a:lnTo>
                  <a:lnTo>
                    <a:pt x="194" y="173"/>
                  </a:lnTo>
                  <a:lnTo>
                    <a:pt x="191" y="162"/>
                  </a:lnTo>
                  <a:lnTo>
                    <a:pt x="188" y="152"/>
                  </a:lnTo>
                  <a:lnTo>
                    <a:pt x="184" y="142"/>
                  </a:lnTo>
                  <a:lnTo>
                    <a:pt x="179" y="133"/>
                  </a:lnTo>
                  <a:lnTo>
                    <a:pt x="173" y="125"/>
                  </a:lnTo>
                  <a:lnTo>
                    <a:pt x="167" y="118"/>
                  </a:lnTo>
                  <a:lnTo>
                    <a:pt x="160" y="112"/>
                  </a:lnTo>
                  <a:lnTo>
                    <a:pt x="152" y="106"/>
                  </a:lnTo>
                  <a:lnTo>
                    <a:pt x="144" y="102"/>
                  </a:lnTo>
                  <a:lnTo>
                    <a:pt x="135" y="98"/>
                  </a:lnTo>
                  <a:lnTo>
                    <a:pt x="126" y="96"/>
                  </a:lnTo>
                  <a:lnTo>
                    <a:pt x="117" y="94"/>
                  </a:lnTo>
                  <a:lnTo>
                    <a:pt x="106" y="94"/>
                  </a:lnTo>
                  <a:lnTo>
                    <a:pt x="106" y="94"/>
                  </a:lnTo>
                  <a:lnTo>
                    <a:pt x="96" y="94"/>
                  </a:lnTo>
                  <a:lnTo>
                    <a:pt x="87" y="96"/>
                  </a:lnTo>
                  <a:lnTo>
                    <a:pt x="78" y="99"/>
                  </a:lnTo>
                  <a:lnTo>
                    <a:pt x="69" y="103"/>
                  </a:lnTo>
                  <a:lnTo>
                    <a:pt x="62" y="108"/>
                  </a:lnTo>
                  <a:lnTo>
                    <a:pt x="54" y="115"/>
                  </a:lnTo>
                  <a:lnTo>
                    <a:pt x="48" y="123"/>
                  </a:lnTo>
                  <a:lnTo>
                    <a:pt x="42" y="133"/>
                  </a:lnTo>
                  <a:lnTo>
                    <a:pt x="42" y="133"/>
                  </a:lnTo>
                  <a:lnTo>
                    <a:pt x="42" y="123"/>
                  </a:lnTo>
                  <a:lnTo>
                    <a:pt x="43" y="114"/>
                  </a:lnTo>
                  <a:lnTo>
                    <a:pt x="45" y="106"/>
                  </a:lnTo>
                  <a:lnTo>
                    <a:pt x="47" y="97"/>
                  </a:lnTo>
                  <a:lnTo>
                    <a:pt x="50" y="90"/>
                  </a:lnTo>
                  <a:lnTo>
                    <a:pt x="54" y="82"/>
                  </a:lnTo>
                  <a:lnTo>
                    <a:pt x="59" y="76"/>
                  </a:lnTo>
                  <a:lnTo>
                    <a:pt x="65" y="69"/>
                  </a:lnTo>
                  <a:lnTo>
                    <a:pt x="71" y="64"/>
                  </a:lnTo>
                  <a:lnTo>
                    <a:pt x="78" y="59"/>
                  </a:lnTo>
                  <a:lnTo>
                    <a:pt x="86" y="54"/>
                  </a:lnTo>
                  <a:lnTo>
                    <a:pt x="95" y="51"/>
                  </a:lnTo>
                  <a:lnTo>
                    <a:pt x="105" y="48"/>
                  </a:lnTo>
                  <a:lnTo>
                    <a:pt x="115" y="46"/>
                  </a:lnTo>
                  <a:lnTo>
                    <a:pt x="127" y="44"/>
                  </a:lnTo>
                  <a:lnTo>
                    <a:pt x="139" y="44"/>
                  </a:lnTo>
                  <a:lnTo>
                    <a:pt x="139" y="44"/>
                  </a:lnTo>
                  <a:lnTo>
                    <a:pt x="151" y="44"/>
                  </a:lnTo>
                  <a:lnTo>
                    <a:pt x="162" y="43"/>
                  </a:lnTo>
                  <a:lnTo>
                    <a:pt x="182" y="40"/>
                  </a:lnTo>
                  <a:lnTo>
                    <a:pt x="182" y="0"/>
                  </a:lnTo>
                  <a:close/>
                  <a:moveTo>
                    <a:pt x="153" y="211"/>
                  </a:moveTo>
                  <a:lnTo>
                    <a:pt x="153" y="211"/>
                  </a:lnTo>
                  <a:lnTo>
                    <a:pt x="152" y="226"/>
                  </a:lnTo>
                  <a:lnTo>
                    <a:pt x="149" y="241"/>
                  </a:lnTo>
                  <a:lnTo>
                    <a:pt x="145" y="254"/>
                  </a:lnTo>
                  <a:lnTo>
                    <a:pt x="138" y="265"/>
                  </a:lnTo>
                  <a:lnTo>
                    <a:pt x="135" y="270"/>
                  </a:lnTo>
                  <a:lnTo>
                    <a:pt x="131" y="274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16" y="283"/>
                  </a:lnTo>
                  <a:lnTo>
                    <a:pt x="111" y="285"/>
                  </a:lnTo>
                  <a:lnTo>
                    <a:pt x="105" y="286"/>
                  </a:lnTo>
                  <a:lnTo>
                    <a:pt x="99" y="287"/>
                  </a:lnTo>
                  <a:lnTo>
                    <a:pt x="99" y="287"/>
                  </a:lnTo>
                  <a:lnTo>
                    <a:pt x="93" y="287"/>
                  </a:lnTo>
                  <a:lnTo>
                    <a:pt x="87" y="286"/>
                  </a:lnTo>
                  <a:lnTo>
                    <a:pt x="82" y="284"/>
                  </a:lnTo>
                  <a:lnTo>
                    <a:pt x="77" y="282"/>
                  </a:lnTo>
                  <a:lnTo>
                    <a:pt x="72" y="279"/>
                  </a:lnTo>
                  <a:lnTo>
                    <a:pt x="67" y="276"/>
                  </a:lnTo>
                  <a:lnTo>
                    <a:pt x="63" y="272"/>
                  </a:lnTo>
                  <a:lnTo>
                    <a:pt x="59" y="267"/>
                  </a:lnTo>
                  <a:lnTo>
                    <a:pt x="56" y="262"/>
                  </a:lnTo>
                  <a:lnTo>
                    <a:pt x="53" y="256"/>
                  </a:lnTo>
                  <a:lnTo>
                    <a:pt x="50" y="250"/>
                  </a:lnTo>
                  <a:lnTo>
                    <a:pt x="48" y="243"/>
                  </a:lnTo>
                  <a:lnTo>
                    <a:pt x="45" y="227"/>
                  </a:lnTo>
                  <a:lnTo>
                    <a:pt x="44" y="209"/>
                  </a:lnTo>
                  <a:lnTo>
                    <a:pt x="44" y="209"/>
                  </a:lnTo>
                  <a:lnTo>
                    <a:pt x="45" y="193"/>
                  </a:lnTo>
                  <a:lnTo>
                    <a:pt x="48" y="179"/>
                  </a:lnTo>
                  <a:lnTo>
                    <a:pt x="52" y="166"/>
                  </a:lnTo>
                  <a:lnTo>
                    <a:pt x="55" y="161"/>
                  </a:lnTo>
                  <a:lnTo>
                    <a:pt x="58" y="155"/>
                  </a:lnTo>
                  <a:lnTo>
                    <a:pt x="62" y="151"/>
                  </a:lnTo>
                  <a:lnTo>
                    <a:pt x="66" y="147"/>
                  </a:lnTo>
                  <a:lnTo>
                    <a:pt x="71" y="143"/>
                  </a:lnTo>
                  <a:lnTo>
                    <a:pt x="76" y="140"/>
                  </a:lnTo>
                  <a:lnTo>
                    <a:pt x="82" y="138"/>
                  </a:lnTo>
                  <a:lnTo>
                    <a:pt x="88" y="136"/>
                  </a:lnTo>
                  <a:lnTo>
                    <a:pt x="94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7" y="135"/>
                  </a:lnTo>
                  <a:lnTo>
                    <a:pt x="113" y="136"/>
                  </a:lnTo>
                  <a:lnTo>
                    <a:pt x="118" y="138"/>
                  </a:lnTo>
                  <a:lnTo>
                    <a:pt x="123" y="140"/>
                  </a:lnTo>
                  <a:lnTo>
                    <a:pt x="128" y="143"/>
                  </a:lnTo>
                  <a:lnTo>
                    <a:pt x="132" y="147"/>
                  </a:lnTo>
                  <a:lnTo>
                    <a:pt x="136" y="151"/>
                  </a:lnTo>
                  <a:lnTo>
                    <a:pt x="139" y="156"/>
                  </a:lnTo>
                  <a:lnTo>
                    <a:pt x="145" y="167"/>
                  </a:lnTo>
                  <a:lnTo>
                    <a:pt x="150" y="180"/>
                  </a:lnTo>
                  <a:lnTo>
                    <a:pt x="152" y="194"/>
                  </a:lnTo>
                  <a:lnTo>
                    <a:pt x="153" y="211"/>
                  </a:lnTo>
                  <a:lnTo>
                    <a:pt x="153" y="2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9" name="Freeform 138"/>
            <p:cNvSpPr>
              <a:spLocks/>
            </p:cNvSpPr>
            <p:nvPr userDrawn="1"/>
          </p:nvSpPr>
          <p:spPr bwMode="auto">
            <a:xfrm>
              <a:off x="2489200" y="6365876"/>
              <a:ext cx="74613" cy="90488"/>
            </a:xfrm>
            <a:custGeom>
              <a:avLst/>
              <a:gdLst>
                <a:gd name="T0" fmla="*/ 0 w 188"/>
                <a:gd name="T1" fmla="*/ 0 h 230"/>
                <a:gd name="T2" fmla="*/ 0 w 188"/>
                <a:gd name="T3" fmla="*/ 230 h 230"/>
                <a:gd name="T4" fmla="*/ 45 w 188"/>
                <a:gd name="T5" fmla="*/ 230 h 230"/>
                <a:gd name="T6" fmla="*/ 126 w 188"/>
                <a:gd name="T7" fmla="*/ 101 h 230"/>
                <a:gd name="T8" fmla="*/ 126 w 188"/>
                <a:gd name="T9" fmla="*/ 101 h 230"/>
                <a:gd name="T10" fmla="*/ 143 w 188"/>
                <a:gd name="T11" fmla="*/ 72 h 230"/>
                <a:gd name="T12" fmla="*/ 143 w 188"/>
                <a:gd name="T13" fmla="*/ 72 h 230"/>
                <a:gd name="T14" fmla="*/ 143 w 188"/>
                <a:gd name="T15" fmla="*/ 120 h 230"/>
                <a:gd name="T16" fmla="*/ 143 w 188"/>
                <a:gd name="T17" fmla="*/ 230 h 230"/>
                <a:gd name="T18" fmla="*/ 188 w 188"/>
                <a:gd name="T19" fmla="*/ 230 h 230"/>
                <a:gd name="T20" fmla="*/ 188 w 188"/>
                <a:gd name="T21" fmla="*/ 0 h 230"/>
                <a:gd name="T22" fmla="*/ 143 w 188"/>
                <a:gd name="T23" fmla="*/ 0 h 230"/>
                <a:gd name="T24" fmla="*/ 62 w 188"/>
                <a:gd name="T25" fmla="*/ 127 h 230"/>
                <a:gd name="T26" fmla="*/ 62 w 188"/>
                <a:gd name="T27" fmla="*/ 127 h 230"/>
                <a:gd name="T28" fmla="*/ 52 w 188"/>
                <a:gd name="T29" fmla="*/ 143 h 230"/>
                <a:gd name="T30" fmla="*/ 45 w 188"/>
                <a:gd name="T31" fmla="*/ 158 h 230"/>
                <a:gd name="T32" fmla="*/ 45 w 188"/>
                <a:gd name="T33" fmla="*/ 158 h 230"/>
                <a:gd name="T34" fmla="*/ 45 w 188"/>
                <a:gd name="T35" fmla="*/ 108 h 230"/>
                <a:gd name="T36" fmla="*/ 45 w 188"/>
                <a:gd name="T37" fmla="*/ 0 h 230"/>
                <a:gd name="T38" fmla="*/ 0 w 188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8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3" y="120"/>
                  </a:lnTo>
                  <a:lnTo>
                    <a:pt x="143" y="230"/>
                  </a:lnTo>
                  <a:lnTo>
                    <a:pt x="188" y="230"/>
                  </a:lnTo>
                  <a:lnTo>
                    <a:pt x="188" y="0"/>
                  </a:lnTo>
                  <a:lnTo>
                    <a:pt x="143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5" y="158"/>
                  </a:lnTo>
                  <a:lnTo>
                    <a:pt x="45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0" name="Freeform 139"/>
            <p:cNvSpPr>
              <a:spLocks/>
            </p:cNvSpPr>
            <p:nvPr userDrawn="1"/>
          </p:nvSpPr>
          <p:spPr bwMode="auto">
            <a:xfrm>
              <a:off x="2578100" y="6362701"/>
              <a:ext cx="69850" cy="95250"/>
            </a:xfrm>
            <a:custGeom>
              <a:avLst/>
              <a:gdLst>
                <a:gd name="T0" fmla="*/ 93 w 177"/>
                <a:gd name="T1" fmla="*/ 131 h 239"/>
                <a:gd name="T2" fmla="*/ 117 w 177"/>
                <a:gd name="T3" fmla="*/ 137 h 239"/>
                <a:gd name="T4" fmla="*/ 130 w 177"/>
                <a:gd name="T5" fmla="*/ 153 h 239"/>
                <a:gd name="T6" fmla="*/ 132 w 177"/>
                <a:gd name="T7" fmla="*/ 166 h 239"/>
                <a:gd name="T8" fmla="*/ 126 w 177"/>
                <a:gd name="T9" fmla="*/ 185 h 239"/>
                <a:gd name="T10" fmla="*/ 106 w 177"/>
                <a:gd name="T11" fmla="*/ 198 h 239"/>
                <a:gd name="T12" fmla="*/ 85 w 177"/>
                <a:gd name="T13" fmla="*/ 201 h 239"/>
                <a:gd name="T14" fmla="*/ 61 w 177"/>
                <a:gd name="T15" fmla="*/ 197 h 239"/>
                <a:gd name="T16" fmla="*/ 36 w 177"/>
                <a:gd name="T17" fmla="*/ 187 h 239"/>
                <a:gd name="T18" fmla="*/ 0 w 177"/>
                <a:gd name="T19" fmla="*/ 210 h 239"/>
                <a:gd name="T20" fmla="*/ 18 w 177"/>
                <a:gd name="T21" fmla="*/ 222 h 239"/>
                <a:gd name="T22" fmla="*/ 50 w 177"/>
                <a:gd name="T23" fmla="*/ 235 h 239"/>
                <a:gd name="T24" fmla="*/ 83 w 177"/>
                <a:gd name="T25" fmla="*/ 239 h 239"/>
                <a:gd name="T26" fmla="*/ 106 w 177"/>
                <a:gd name="T27" fmla="*/ 238 h 239"/>
                <a:gd name="T28" fmla="*/ 134 w 177"/>
                <a:gd name="T29" fmla="*/ 231 h 239"/>
                <a:gd name="T30" fmla="*/ 154 w 177"/>
                <a:gd name="T31" fmla="*/ 218 h 239"/>
                <a:gd name="T32" fmla="*/ 168 w 177"/>
                <a:gd name="T33" fmla="*/ 202 h 239"/>
                <a:gd name="T34" fmla="*/ 176 w 177"/>
                <a:gd name="T35" fmla="*/ 182 h 239"/>
                <a:gd name="T36" fmla="*/ 177 w 177"/>
                <a:gd name="T37" fmla="*/ 168 h 239"/>
                <a:gd name="T38" fmla="*/ 168 w 177"/>
                <a:gd name="T39" fmla="*/ 137 h 239"/>
                <a:gd name="T40" fmla="*/ 149 w 177"/>
                <a:gd name="T41" fmla="*/ 118 h 239"/>
                <a:gd name="T42" fmla="*/ 133 w 177"/>
                <a:gd name="T43" fmla="*/ 112 h 239"/>
                <a:gd name="T44" fmla="*/ 154 w 177"/>
                <a:gd name="T45" fmla="*/ 99 h 239"/>
                <a:gd name="T46" fmla="*/ 167 w 177"/>
                <a:gd name="T47" fmla="*/ 80 h 239"/>
                <a:gd name="T48" fmla="*/ 170 w 177"/>
                <a:gd name="T49" fmla="*/ 64 h 239"/>
                <a:gd name="T50" fmla="*/ 167 w 177"/>
                <a:gd name="T51" fmla="*/ 45 h 239"/>
                <a:gd name="T52" fmla="*/ 159 w 177"/>
                <a:gd name="T53" fmla="*/ 28 h 239"/>
                <a:gd name="T54" fmla="*/ 144 w 177"/>
                <a:gd name="T55" fmla="*/ 15 h 239"/>
                <a:gd name="T56" fmla="*/ 123 w 177"/>
                <a:gd name="T57" fmla="*/ 5 h 239"/>
                <a:gd name="T58" fmla="*/ 96 w 177"/>
                <a:gd name="T59" fmla="*/ 0 h 239"/>
                <a:gd name="T60" fmla="*/ 74 w 177"/>
                <a:gd name="T61" fmla="*/ 0 h 239"/>
                <a:gd name="T62" fmla="*/ 43 w 177"/>
                <a:gd name="T63" fmla="*/ 7 h 239"/>
                <a:gd name="T64" fmla="*/ 15 w 177"/>
                <a:gd name="T65" fmla="*/ 20 h 239"/>
                <a:gd name="T66" fmla="*/ 27 w 177"/>
                <a:gd name="T67" fmla="*/ 60 h 239"/>
                <a:gd name="T68" fmla="*/ 56 w 177"/>
                <a:gd name="T69" fmla="*/ 44 h 239"/>
                <a:gd name="T70" fmla="*/ 79 w 177"/>
                <a:gd name="T71" fmla="*/ 39 h 239"/>
                <a:gd name="T72" fmla="*/ 97 w 177"/>
                <a:gd name="T73" fmla="*/ 39 h 239"/>
                <a:gd name="T74" fmla="*/ 117 w 177"/>
                <a:gd name="T75" fmla="*/ 47 h 239"/>
                <a:gd name="T76" fmla="*/ 125 w 177"/>
                <a:gd name="T77" fmla="*/ 62 h 239"/>
                <a:gd name="T78" fmla="*/ 125 w 177"/>
                <a:gd name="T79" fmla="*/ 72 h 239"/>
                <a:gd name="T80" fmla="*/ 118 w 177"/>
                <a:gd name="T81" fmla="*/ 86 h 239"/>
                <a:gd name="T82" fmla="*/ 99 w 177"/>
                <a:gd name="T83" fmla="*/ 94 h 239"/>
                <a:gd name="T84" fmla="*/ 61 w 177"/>
                <a:gd name="T85" fmla="*/ 13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7" h="239">
                  <a:moveTo>
                    <a:pt x="61" y="131"/>
                  </a:moveTo>
                  <a:lnTo>
                    <a:pt x="93" y="131"/>
                  </a:lnTo>
                  <a:lnTo>
                    <a:pt x="93" y="131"/>
                  </a:lnTo>
                  <a:lnTo>
                    <a:pt x="102" y="132"/>
                  </a:lnTo>
                  <a:lnTo>
                    <a:pt x="111" y="134"/>
                  </a:lnTo>
                  <a:lnTo>
                    <a:pt x="117" y="137"/>
                  </a:lnTo>
                  <a:lnTo>
                    <a:pt x="123" y="142"/>
                  </a:lnTo>
                  <a:lnTo>
                    <a:pt x="127" y="147"/>
                  </a:lnTo>
                  <a:lnTo>
                    <a:pt x="130" y="153"/>
                  </a:lnTo>
                  <a:lnTo>
                    <a:pt x="131" y="159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1" y="173"/>
                  </a:lnTo>
                  <a:lnTo>
                    <a:pt x="129" y="179"/>
                  </a:lnTo>
                  <a:lnTo>
                    <a:pt x="126" y="185"/>
                  </a:lnTo>
                  <a:lnTo>
                    <a:pt x="121" y="190"/>
                  </a:lnTo>
                  <a:lnTo>
                    <a:pt x="115" y="194"/>
                  </a:lnTo>
                  <a:lnTo>
                    <a:pt x="106" y="198"/>
                  </a:lnTo>
                  <a:lnTo>
                    <a:pt x="97" y="200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77" y="200"/>
                  </a:lnTo>
                  <a:lnTo>
                    <a:pt x="69" y="199"/>
                  </a:lnTo>
                  <a:lnTo>
                    <a:pt x="61" y="197"/>
                  </a:lnTo>
                  <a:lnTo>
                    <a:pt x="53" y="194"/>
                  </a:lnTo>
                  <a:lnTo>
                    <a:pt x="44" y="191"/>
                  </a:lnTo>
                  <a:lnTo>
                    <a:pt x="36" y="187"/>
                  </a:lnTo>
                  <a:lnTo>
                    <a:pt x="28" y="182"/>
                  </a:lnTo>
                  <a:lnTo>
                    <a:pt x="20" y="17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9" y="216"/>
                  </a:lnTo>
                  <a:lnTo>
                    <a:pt x="18" y="222"/>
                  </a:lnTo>
                  <a:lnTo>
                    <a:pt x="28" y="227"/>
                  </a:lnTo>
                  <a:lnTo>
                    <a:pt x="39" y="231"/>
                  </a:lnTo>
                  <a:lnTo>
                    <a:pt x="50" y="235"/>
                  </a:lnTo>
                  <a:lnTo>
                    <a:pt x="61" y="237"/>
                  </a:lnTo>
                  <a:lnTo>
                    <a:pt x="72" y="239"/>
                  </a:lnTo>
                  <a:lnTo>
                    <a:pt x="83" y="239"/>
                  </a:lnTo>
                  <a:lnTo>
                    <a:pt x="83" y="239"/>
                  </a:lnTo>
                  <a:lnTo>
                    <a:pt x="95" y="239"/>
                  </a:lnTo>
                  <a:lnTo>
                    <a:pt x="106" y="238"/>
                  </a:lnTo>
                  <a:lnTo>
                    <a:pt x="116" y="236"/>
                  </a:lnTo>
                  <a:lnTo>
                    <a:pt x="125" y="234"/>
                  </a:lnTo>
                  <a:lnTo>
                    <a:pt x="134" y="231"/>
                  </a:lnTo>
                  <a:lnTo>
                    <a:pt x="141" y="227"/>
                  </a:lnTo>
                  <a:lnTo>
                    <a:pt x="148" y="223"/>
                  </a:lnTo>
                  <a:lnTo>
                    <a:pt x="154" y="218"/>
                  </a:lnTo>
                  <a:lnTo>
                    <a:pt x="160" y="213"/>
                  </a:lnTo>
                  <a:lnTo>
                    <a:pt x="164" y="208"/>
                  </a:lnTo>
                  <a:lnTo>
                    <a:pt x="168" y="202"/>
                  </a:lnTo>
                  <a:lnTo>
                    <a:pt x="171" y="196"/>
                  </a:lnTo>
                  <a:lnTo>
                    <a:pt x="174" y="189"/>
                  </a:lnTo>
                  <a:lnTo>
                    <a:pt x="176" y="182"/>
                  </a:lnTo>
                  <a:lnTo>
                    <a:pt x="177" y="175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76" y="157"/>
                  </a:lnTo>
                  <a:lnTo>
                    <a:pt x="173" y="145"/>
                  </a:lnTo>
                  <a:lnTo>
                    <a:pt x="168" y="137"/>
                  </a:lnTo>
                  <a:lnTo>
                    <a:pt x="163" y="129"/>
                  </a:lnTo>
                  <a:lnTo>
                    <a:pt x="156" y="123"/>
                  </a:lnTo>
                  <a:lnTo>
                    <a:pt x="149" y="118"/>
                  </a:lnTo>
                  <a:lnTo>
                    <a:pt x="141" y="114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41" y="108"/>
                  </a:lnTo>
                  <a:lnTo>
                    <a:pt x="148" y="104"/>
                  </a:lnTo>
                  <a:lnTo>
                    <a:pt x="154" y="99"/>
                  </a:lnTo>
                  <a:lnTo>
                    <a:pt x="159" y="94"/>
                  </a:lnTo>
                  <a:lnTo>
                    <a:pt x="164" y="88"/>
                  </a:lnTo>
                  <a:lnTo>
                    <a:pt x="167" y="80"/>
                  </a:lnTo>
                  <a:lnTo>
                    <a:pt x="169" y="73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70" y="57"/>
                  </a:lnTo>
                  <a:lnTo>
                    <a:pt x="169" y="51"/>
                  </a:lnTo>
                  <a:lnTo>
                    <a:pt x="167" y="45"/>
                  </a:lnTo>
                  <a:lnTo>
                    <a:pt x="165" y="39"/>
                  </a:lnTo>
                  <a:lnTo>
                    <a:pt x="162" y="34"/>
                  </a:lnTo>
                  <a:lnTo>
                    <a:pt x="159" y="28"/>
                  </a:lnTo>
                  <a:lnTo>
                    <a:pt x="155" y="23"/>
                  </a:lnTo>
                  <a:lnTo>
                    <a:pt x="150" y="19"/>
                  </a:lnTo>
                  <a:lnTo>
                    <a:pt x="144" y="15"/>
                  </a:lnTo>
                  <a:lnTo>
                    <a:pt x="138" y="11"/>
                  </a:lnTo>
                  <a:lnTo>
                    <a:pt x="131" y="8"/>
                  </a:lnTo>
                  <a:lnTo>
                    <a:pt x="123" y="5"/>
                  </a:lnTo>
                  <a:lnTo>
                    <a:pt x="115" y="3"/>
                  </a:lnTo>
                  <a:lnTo>
                    <a:pt x="106" y="1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4" y="2"/>
                  </a:lnTo>
                  <a:lnTo>
                    <a:pt x="53" y="4"/>
                  </a:lnTo>
                  <a:lnTo>
                    <a:pt x="43" y="7"/>
                  </a:lnTo>
                  <a:lnTo>
                    <a:pt x="33" y="11"/>
                  </a:lnTo>
                  <a:lnTo>
                    <a:pt x="24" y="15"/>
                  </a:lnTo>
                  <a:lnTo>
                    <a:pt x="15" y="20"/>
                  </a:lnTo>
                  <a:lnTo>
                    <a:pt x="7" y="25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41" y="50"/>
                  </a:lnTo>
                  <a:lnTo>
                    <a:pt x="49" y="47"/>
                  </a:lnTo>
                  <a:lnTo>
                    <a:pt x="56" y="44"/>
                  </a:lnTo>
                  <a:lnTo>
                    <a:pt x="63" y="42"/>
                  </a:lnTo>
                  <a:lnTo>
                    <a:pt x="71" y="40"/>
                  </a:lnTo>
                  <a:lnTo>
                    <a:pt x="79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5" y="41"/>
                  </a:lnTo>
                  <a:lnTo>
                    <a:pt x="111" y="44"/>
                  </a:lnTo>
                  <a:lnTo>
                    <a:pt x="117" y="47"/>
                  </a:lnTo>
                  <a:lnTo>
                    <a:pt x="121" y="52"/>
                  </a:lnTo>
                  <a:lnTo>
                    <a:pt x="124" y="56"/>
                  </a:lnTo>
                  <a:lnTo>
                    <a:pt x="125" y="62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5" y="72"/>
                  </a:lnTo>
                  <a:lnTo>
                    <a:pt x="124" y="77"/>
                  </a:lnTo>
                  <a:lnTo>
                    <a:pt x="121" y="82"/>
                  </a:lnTo>
                  <a:lnTo>
                    <a:pt x="118" y="86"/>
                  </a:lnTo>
                  <a:lnTo>
                    <a:pt x="113" y="89"/>
                  </a:lnTo>
                  <a:lnTo>
                    <a:pt x="107" y="92"/>
                  </a:lnTo>
                  <a:lnTo>
                    <a:pt x="99" y="94"/>
                  </a:lnTo>
                  <a:lnTo>
                    <a:pt x="91" y="94"/>
                  </a:lnTo>
                  <a:lnTo>
                    <a:pt x="61" y="94"/>
                  </a:lnTo>
                  <a:lnTo>
                    <a:pt x="61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1" name="Freeform 140"/>
            <p:cNvSpPr>
              <a:spLocks/>
            </p:cNvSpPr>
            <p:nvPr userDrawn="1"/>
          </p:nvSpPr>
          <p:spPr bwMode="auto">
            <a:xfrm>
              <a:off x="2665413" y="6365876"/>
              <a:ext cx="73025" cy="90488"/>
            </a:xfrm>
            <a:custGeom>
              <a:avLst/>
              <a:gdLst>
                <a:gd name="T0" fmla="*/ 139 w 185"/>
                <a:gd name="T1" fmla="*/ 0 h 230"/>
                <a:gd name="T2" fmla="*/ 139 w 185"/>
                <a:gd name="T3" fmla="*/ 87 h 230"/>
                <a:gd name="T4" fmla="*/ 45 w 185"/>
                <a:gd name="T5" fmla="*/ 87 h 230"/>
                <a:gd name="T6" fmla="*/ 45 w 185"/>
                <a:gd name="T7" fmla="*/ 0 h 230"/>
                <a:gd name="T8" fmla="*/ 0 w 185"/>
                <a:gd name="T9" fmla="*/ 0 h 230"/>
                <a:gd name="T10" fmla="*/ 0 w 185"/>
                <a:gd name="T11" fmla="*/ 230 h 230"/>
                <a:gd name="T12" fmla="*/ 45 w 185"/>
                <a:gd name="T13" fmla="*/ 230 h 230"/>
                <a:gd name="T14" fmla="*/ 45 w 185"/>
                <a:gd name="T15" fmla="*/ 126 h 230"/>
                <a:gd name="T16" fmla="*/ 139 w 185"/>
                <a:gd name="T17" fmla="*/ 126 h 230"/>
                <a:gd name="T18" fmla="*/ 139 w 185"/>
                <a:gd name="T19" fmla="*/ 230 h 230"/>
                <a:gd name="T20" fmla="*/ 185 w 185"/>
                <a:gd name="T21" fmla="*/ 230 h 230"/>
                <a:gd name="T22" fmla="*/ 185 w 185"/>
                <a:gd name="T23" fmla="*/ 0 h 230"/>
                <a:gd name="T24" fmla="*/ 139 w 185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30">
                  <a:moveTo>
                    <a:pt x="139" y="0"/>
                  </a:moveTo>
                  <a:lnTo>
                    <a:pt x="139" y="87"/>
                  </a:lnTo>
                  <a:lnTo>
                    <a:pt x="45" y="87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5" y="230"/>
                  </a:lnTo>
                  <a:lnTo>
                    <a:pt x="45" y="126"/>
                  </a:lnTo>
                  <a:lnTo>
                    <a:pt x="139" y="126"/>
                  </a:lnTo>
                  <a:lnTo>
                    <a:pt x="139" y="230"/>
                  </a:lnTo>
                  <a:lnTo>
                    <a:pt x="185" y="230"/>
                  </a:lnTo>
                  <a:lnTo>
                    <a:pt x="185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2" name="Freeform 141"/>
            <p:cNvSpPr>
              <a:spLocks noEditPoints="1"/>
            </p:cNvSpPr>
            <p:nvPr userDrawn="1"/>
          </p:nvSpPr>
          <p:spPr bwMode="auto">
            <a:xfrm>
              <a:off x="2757488" y="6362701"/>
              <a:ext cx="77788" cy="95250"/>
            </a:xfrm>
            <a:custGeom>
              <a:avLst/>
              <a:gdLst>
                <a:gd name="T0" fmla="*/ 197 w 197"/>
                <a:gd name="T1" fmla="*/ 114 h 239"/>
                <a:gd name="T2" fmla="*/ 195 w 197"/>
                <a:gd name="T3" fmla="*/ 92 h 239"/>
                <a:gd name="T4" fmla="*/ 191 w 197"/>
                <a:gd name="T5" fmla="*/ 70 h 239"/>
                <a:gd name="T6" fmla="*/ 183 w 197"/>
                <a:gd name="T7" fmla="*/ 51 h 239"/>
                <a:gd name="T8" fmla="*/ 173 w 197"/>
                <a:gd name="T9" fmla="*/ 34 h 239"/>
                <a:gd name="T10" fmla="*/ 159 w 197"/>
                <a:gd name="T11" fmla="*/ 20 h 239"/>
                <a:gd name="T12" fmla="*/ 143 w 197"/>
                <a:gd name="T13" fmla="*/ 9 h 239"/>
                <a:gd name="T14" fmla="*/ 123 w 197"/>
                <a:gd name="T15" fmla="*/ 2 h 239"/>
                <a:gd name="T16" fmla="*/ 100 w 197"/>
                <a:gd name="T17" fmla="*/ 0 h 239"/>
                <a:gd name="T18" fmla="*/ 89 w 197"/>
                <a:gd name="T19" fmla="*/ 0 h 239"/>
                <a:gd name="T20" fmla="*/ 69 w 197"/>
                <a:gd name="T21" fmla="*/ 4 h 239"/>
                <a:gd name="T22" fmla="*/ 51 w 197"/>
                <a:gd name="T23" fmla="*/ 12 h 239"/>
                <a:gd name="T24" fmla="*/ 35 w 197"/>
                <a:gd name="T25" fmla="*/ 23 h 239"/>
                <a:gd name="T26" fmla="*/ 22 w 197"/>
                <a:gd name="T27" fmla="*/ 38 h 239"/>
                <a:gd name="T28" fmla="*/ 11 w 197"/>
                <a:gd name="T29" fmla="*/ 57 h 239"/>
                <a:gd name="T30" fmla="*/ 4 w 197"/>
                <a:gd name="T31" fmla="*/ 79 h 239"/>
                <a:gd name="T32" fmla="*/ 1 w 197"/>
                <a:gd name="T33" fmla="*/ 105 h 239"/>
                <a:gd name="T34" fmla="*/ 0 w 197"/>
                <a:gd name="T35" fmla="*/ 119 h 239"/>
                <a:gd name="T36" fmla="*/ 2 w 197"/>
                <a:gd name="T37" fmla="*/ 147 h 239"/>
                <a:gd name="T38" fmla="*/ 9 w 197"/>
                <a:gd name="T39" fmla="*/ 173 h 239"/>
                <a:gd name="T40" fmla="*/ 19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9 h 239"/>
                <a:gd name="T52" fmla="*/ 99 w 197"/>
                <a:gd name="T53" fmla="*/ 239 h 239"/>
                <a:gd name="T54" fmla="*/ 124 w 197"/>
                <a:gd name="T55" fmla="*/ 237 h 239"/>
                <a:gd name="T56" fmla="*/ 145 w 197"/>
                <a:gd name="T57" fmla="*/ 231 h 239"/>
                <a:gd name="T58" fmla="*/ 154 w 197"/>
                <a:gd name="T59" fmla="*/ 227 h 239"/>
                <a:gd name="T60" fmla="*/ 170 w 197"/>
                <a:gd name="T61" fmla="*/ 217 h 239"/>
                <a:gd name="T62" fmla="*/ 151 w 197"/>
                <a:gd name="T63" fmla="*/ 180 h 239"/>
                <a:gd name="T64" fmla="*/ 139 w 197"/>
                <a:gd name="T65" fmla="*/ 188 h 239"/>
                <a:gd name="T66" fmla="*/ 128 w 197"/>
                <a:gd name="T67" fmla="*/ 194 h 239"/>
                <a:gd name="T68" fmla="*/ 116 w 197"/>
                <a:gd name="T69" fmla="*/ 197 h 239"/>
                <a:gd name="T70" fmla="*/ 102 w 197"/>
                <a:gd name="T71" fmla="*/ 199 h 239"/>
                <a:gd name="T72" fmla="*/ 91 w 197"/>
                <a:gd name="T73" fmla="*/ 198 h 239"/>
                <a:gd name="T74" fmla="*/ 73 w 197"/>
                <a:gd name="T75" fmla="*/ 191 h 239"/>
                <a:gd name="T76" fmla="*/ 57 w 197"/>
                <a:gd name="T77" fmla="*/ 175 h 239"/>
                <a:gd name="T78" fmla="*/ 47 w 197"/>
                <a:gd name="T79" fmla="*/ 151 h 239"/>
                <a:gd name="T80" fmla="*/ 195 w 197"/>
                <a:gd name="T81" fmla="*/ 135 h 239"/>
                <a:gd name="T82" fmla="*/ 196 w 197"/>
                <a:gd name="T83" fmla="*/ 126 h 239"/>
                <a:gd name="T84" fmla="*/ 197 w 197"/>
                <a:gd name="T85" fmla="*/ 114 h 239"/>
                <a:gd name="T86" fmla="*/ 45 w 197"/>
                <a:gd name="T87" fmla="*/ 98 h 239"/>
                <a:gd name="T88" fmla="*/ 50 w 197"/>
                <a:gd name="T89" fmla="*/ 73 h 239"/>
                <a:gd name="T90" fmla="*/ 61 w 197"/>
                <a:gd name="T91" fmla="*/ 55 h 239"/>
                <a:gd name="T92" fmla="*/ 77 w 197"/>
                <a:gd name="T93" fmla="*/ 44 h 239"/>
                <a:gd name="T94" fmla="*/ 97 w 197"/>
                <a:gd name="T95" fmla="*/ 40 h 239"/>
                <a:gd name="T96" fmla="*/ 104 w 197"/>
                <a:gd name="T97" fmla="*/ 41 h 239"/>
                <a:gd name="T98" fmla="*/ 116 w 197"/>
                <a:gd name="T99" fmla="*/ 43 h 239"/>
                <a:gd name="T100" fmla="*/ 126 w 197"/>
                <a:gd name="T101" fmla="*/ 47 h 239"/>
                <a:gd name="T102" fmla="*/ 137 w 197"/>
                <a:gd name="T103" fmla="*/ 57 h 239"/>
                <a:gd name="T104" fmla="*/ 147 w 197"/>
                <a:gd name="T105" fmla="*/ 76 h 239"/>
                <a:gd name="T106" fmla="*/ 151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4"/>
                  </a:moveTo>
                  <a:lnTo>
                    <a:pt x="197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2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1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3" y="184"/>
                  </a:lnTo>
                  <a:lnTo>
                    <a:pt x="19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91" y="198"/>
                  </a:lnTo>
                  <a:lnTo>
                    <a:pt x="82" y="195"/>
                  </a:lnTo>
                  <a:lnTo>
                    <a:pt x="73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7" y="114"/>
                  </a:lnTo>
                  <a:lnTo>
                    <a:pt x="197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7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3" name="Freeform 142"/>
            <p:cNvSpPr>
              <a:spLocks/>
            </p:cNvSpPr>
            <p:nvPr userDrawn="1"/>
          </p:nvSpPr>
          <p:spPr bwMode="auto">
            <a:xfrm>
              <a:off x="2849563" y="6362701"/>
              <a:ext cx="73025" cy="95250"/>
            </a:xfrm>
            <a:custGeom>
              <a:avLst/>
              <a:gdLst>
                <a:gd name="T0" fmla="*/ 182 w 182"/>
                <a:gd name="T1" fmla="*/ 39 h 239"/>
                <a:gd name="T2" fmla="*/ 165 w 182"/>
                <a:gd name="T3" fmla="*/ 22 h 239"/>
                <a:gd name="T4" fmla="*/ 146 w 182"/>
                <a:gd name="T5" fmla="*/ 10 h 239"/>
                <a:gd name="T6" fmla="*/ 124 w 182"/>
                <a:gd name="T7" fmla="*/ 2 h 239"/>
                <a:gd name="T8" fmla="*/ 101 w 182"/>
                <a:gd name="T9" fmla="*/ 0 h 239"/>
                <a:gd name="T10" fmla="*/ 90 w 182"/>
                <a:gd name="T11" fmla="*/ 0 h 239"/>
                <a:gd name="T12" fmla="*/ 71 w 182"/>
                <a:gd name="T13" fmla="*/ 4 h 239"/>
                <a:gd name="T14" fmla="*/ 53 w 182"/>
                <a:gd name="T15" fmla="*/ 12 h 239"/>
                <a:gd name="T16" fmla="*/ 37 w 182"/>
                <a:gd name="T17" fmla="*/ 24 h 239"/>
                <a:gd name="T18" fmla="*/ 23 w 182"/>
                <a:gd name="T19" fmla="*/ 39 h 239"/>
                <a:gd name="T20" fmla="*/ 12 w 182"/>
                <a:gd name="T21" fmla="*/ 58 h 239"/>
                <a:gd name="T22" fmla="*/ 5 w 182"/>
                <a:gd name="T23" fmla="*/ 80 h 239"/>
                <a:gd name="T24" fmla="*/ 1 w 182"/>
                <a:gd name="T25" fmla="*/ 106 h 239"/>
                <a:gd name="T26" fmla="*/ 0 w 182"/>
                <a:gd name="T27" fmla="*/ 120 h 239"/>
                <a:gd name="T28" fmla="*/ 2 w 182"/>
                <a:gd name="T29" fmla="*/ 145 h 239"/>
                <a:gd name="T30" fmla="*/ 8 w 182"/>
                <a:gd name="T31" fmla="*/ 169 h 239"/>
                <a:gd name="T32" fmla="*/ 17 w 182"/>
                <a:gd name="T33" fmla="*/ 190 h 239"/>
                <a:gd name="T34" fmla="*/ 29 w 182"/>
                <a:gd name="T35" fmla="*/ 207 h 239"/>
                <a:gd name="T36" fmla="*/ 43 w 182"/>
                <a:gd name="T37" fmla="*/ 221 h 239"/>
                <a:gd name="T38" fmla="*/ 60 w 182"/>
                <a:gd name="T39" fmla="*/ 231 h 239"/>
                <a:gd name="T40" fmla="*/ 79 w 182"/>
                <a:gd name="T41" fmla="*/ 237 h 239"/>
                <a:gd name="T42" fmla="*/ 99 w 182"/>
                <a:gd name="T43" fmla="*/ 239 h 239"/>
                <a:gd name="T44" fmla="*/ 114 w 182"/>
                <a:gd name="T45" fmla="*/ 238 h 239"/>
                <a:gd name="T46" fmla="*/ 139 w 182"/>
                <a:gd name="T47" fmla="*/ 232 h 239"/>
                <a:gd name="T48" fmla="*/ 158 w 182"/>
                <a:gd name="T49" fmla="*/ 220 h 239"/>
                <a:gd name="T50" fmla="*/ 174 w 182"/>
                <a:gd name="T51" fmla="*/ 205 h 239"/>
                <a:gd name="T52" fmla="*/ 152 w 182"/>
                <a:gd name="T53" fmla="*/ 168 h 239"/>
                <a:gd name="T54" fmla="*/ 140 w 182"/>
                <a:gd name="T55" fmla="*/ 181 h 239"/>
                <a:gd name="T56" fmla="*/ 128 w 182"/>
                <a:gd name="T57" fmla="*/ 189 h 239"/>
                <a:gd name="T58" fmla="*/ 115 w 182"/>
                <a:gd name="T59" fmla="*/ 195 h 239"/>
                <a:gd name="T60" fmla="*/ 101 w 182"/>
                <a:gd name="T61" fmla="*/ 197 h 239"/>
                <a:gd name="T62" fmla="*/ 94 w 182"/>
                <a:gd name="T63" fmla="*/ 196 h 239"/>
                <a:gd name="T64" fmla="*/ 82 w 182"/>
                <a:gd name="T65" fmla="*/ 193 h 239"/>
                <a:gd name="T66" fmla="*/ 72 w 182"/>
                <a:gd name="T67" fmla="*/ 188 h 239"/>
                <a:gd name="T68" fmla="*/ 63 w 182"/>
                <a:gd name="T69" fmla="*/ 180 h 239"/>
                <a:gd name="T70" fmla="*/ 56 w 182"/>
                <a:gd name="T71" fmla="*/ 169 h 239"/>
                <a:gd name="T72" fmla="*/ 49 w 182"/>
                <a:gd name="T73" fmla="*/ 150 h 239"/>
                <a:gd name="T74" fmla="*/ 46 w 182"/>
                <a:gd name="T75" fmla="*/ 118 h 239"/>
                <a:gd name="T76" fmla="*/ 47 w 182"/>
                <a:gd name="T77" fmla="*/ 102 h 239"/>
                <a:gd name="T78" fmla="*/ 54 w 182"/>
                <a:gd name="T79" fmla="*/ 74 h 239"/>
                <a:gd name="T80" fmla="*/ 60 w 182"/>
                <a:gd name="T81" fmla="*/ 63 h 239"/>
                <a:gd name="T82" fmla="*/ 68 w 182"/>
                <a:gd name="T83" fmla="*/ 54 h 239"/>
                <a:gd name="T84" fmla="*/ 77 w 182"/>
                <a:gd name="T85" fmla="*/ 48 h 239"/>
                <a:gd name="T86" fmla="*/ 88 w 182"/>
                <a:gd name="T87" fmla="*/ 44 h 239"/>
                <a:gd name="T88" fmla="*/ 99 w 182"/>
                <a:gd name="T89" fmla="*/ 43 h 239"/>
                <a:gd name="T90" fmla="*/ 107 w 182"/>
                <a:gd name="T91" fmla="*/ 43 h 239"/>
                <a:gd name="T92" fmla="*/ 121 w 182"/>
                <a:gd name="T93" fmla="*/ 46 h 239"/>
                <a:gd name="T94" fmla="*/ 135 w 182"/>
                <a:gd name="T95" fmla="*/ 53 h 239"/>
                <a:gd name="T96" fmla="*/ 148 w 182"/>
                <a:gd name="T97" fmla="*/ 64 h 239"/>
                <a:gd name="T98" fmla="*/ 182 w 182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2" h="239">
                  <a:moveTo>
                    <a:pt x="182" y="39"/>
                  </a:moveTo>
                  <a:lnTo>
                    <a:pt x="182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5"/>
                  </a:lnTo>
                  <a:lnTo>
                    <a:pt x="146" y="10"/>
                  </a:lnTo>
                  <a:lnTo>
                    <a:pt x="135" y="5"/>
                  </a:lnTo>
                  <a:lnTo>
                    <a:pt x="124" y="2"/>
                  </a:lnTo>
                  <a:lnTo>
                    <a:pt x="113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0"/>
                  </a:lnTo>
                  <a:lnTo>
                    <a:pt x="80" y="2"/>
                  </a:lnTo>
                  <a:lnTo>
                    <a:pt x="71" y="4"/>
                  </a:lnTo>
                  <a:lnTo>
                    <a:pt x="61" y="8"/>
                  </a:lnTo>
                  <a:lnTo>
                    <a:pt x="53" y="12"/>
                  </a:lnTo>
                  <a:lnTo>
                    <a:pt x="44" y="18"/>
                  </a:lnTo>
                  <a:lnTo>
                    <a:pt x="37" y="24"/>
                  </a:lnTo>
                  <a:lnTo>
                    <a:pt x="30" y="31"/>
                  </a:lnTo>
                  <a:lnTo>
                    <a:pt x="23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5" y="80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90"/>
                  </a:lnTo>
                  <a:lnTo>
                    <a:pt x="23" y="199"/>
                  </a:lnTo>
                  <a:lnTo>
                    <a:pt x="29" y="207"/>
                  </a:lnTo>
                  <a:lnTo>
                    <a:pt x="36" y="214"/>
                  </a:lnTo>
                  <a:lnTo>
                    <a:pt x="43" y="221"/>
                  </a:lnTo>
                  <a:lnTo>
                    <a:pt x="52" y="226"/>
                  </a:lnTo>
                  <a:lnTo>
                    <a:pt x="60" y="231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6"/>
                  </a:lnTo>
                  <a:lnTo>
                    <a:pt x="139" y="232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3"/>
                  </a:lnTo>
                  <a:lnTo>
                    <a:pt x="174" y="205"/>
                  </a:lnTo>
                  <a:lnTo>
                    <a:pt x="181" y="197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1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2" y="193"/>
                  </a:lnTo>
                  <a:lnTo>
                    <a:pt x="115" y="195"/>
                  </a:lnTo>
                  <a:lnTo>
                    <a:pt x="108" y="196"/>
                  </a:lnTo>
                  <a:lnTo>
                    <a:pt x="101" y="197"/>
                  </a:lnTo>
                  <a:lnTo>
                    <a:pt x="101" y="197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1"/>
                  </a:lnTo>
                  <a:lnTo>
                    <a:pt x="72" y="188"/>
                  </a:lnTo>
                  <a:lnTo>
                    <a:pt x="67" y="184"/>
                  </a:lnTo>
                  <a:lnTo>
                    <a:pt x="63" y="180"/>
                  </a:lnTo>
                  <a:lnTo>
                    <a:pt x="60" y="175"/>
                  </a:lnTo>
                  <a:lnTo>
                    <a:pt x="56" y="169"/>
                  </a:lnTo>
                  <a:lnTo>
                    <a:pt x="54" y="164"/>
                  </a:lnTo>
                  <a:lnTo>
                    <a:pt x="49" y="150"/>
                  </a:lnTo>
                  <a:lnTo>
                    <a:pt x="47" y="135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7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8"/>
                  </a:lnTo>
                  <a:lnTo>
                    <a:pt x="68" y="54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8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4"/>
                  </a:lnTo>
                  <a:lnTo>
                    <a:pt x="121" y="46"/>
                  </a:lnTo>
                  <a:lnTo>
                    <a:pt x="128" y="49"/>
                  </a:lnTo>
                  <a:lnTo>
                    <a:pt x="135" y="53"/>
                  </a:lnTo>
                  <a:lnTo>
                    <a:pt x="141" y="58"/>
                  </a:lnTo>
                  <a:lnTo>
                    <a:pt x="148" y="64"/>
                  </a:lnTo>
                  <a:lnTo>
                    <a:pt x="155" y="70"/>
                  </a:lnTo>
                  <a:lnTo>
                    <a:pt x="182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4" name="Freeform 143"/>
            <p:cNvSpPr>
              <a:spLocks noEditPoints="1"/>
            </p:cNvSpPr>
            <p:nvPr userDrawn="1"/>
          </p:nvSpPr>
          <p:spPr bwMode="auto">
            <a:xfrm>
              <a:off x="2936875" y="6362701"/>
              <a:ext cx="74613" cy="95250"/>
            </a:xfrm>
            <a:custGeom>
              <a:avLst/>
              <a:gdLst>
                <a:gd name="T0" fmla="*/ 186 w 186"/>
                <a:gd name="T1" fmla="*/ 77 h 239"/>
                <a:gd name="T2" fmla="*/ 185 w 186"/>
                <a:gd name="T3" fmla="*/ 67 h 239"/>
                <a:gd name="T4" fmla="*/ 182 w 186"/>
                <a:gd name="T5" fmla="*/ 50 h 239"/>
                <a:gd name="T6" fmla="*/ 176 w 186"/>
                <a:gd name="T7" fmla="*/ 36 h 239"/>
                <a:gd name="T8" fmla="*/ 167 w 186"/>
                <a:gd name="T9" fmla="*/ 24 h 239"/>
                <a:gd name="T10" fmla="*/ 156 w 186"/>
                <a:gd name="T11" fmla="*/ 14 h 239"/>
                <a:gd name="T12" fmla="*/ 142 w 186"/>
                <a:gd name="T13" fmla="*/ 7 h 239"/>
                <a:gd name="T14" fmla="*/ 127 w 186"/>
                <a:gd name="T15" fmla="*/ 2 h 239"/>
                <a:gd name="T16" fmla="*/ 109 w 186"/>
                <a:gd name="T17" fmla="*/ 0 h 239"/>
                <a:gd name="T18" fmla="*/ 100 w 186"/>
                <a:gd name="T19" fmla="*/ 0 h 239"/>
                <a:gd name="T20" fmla="*/ 77 w 186"/>
                <a:gd name="T21" fmla="*/ 1 h 239"/>
                <a:gd name="T22" fmla="*/ 57 w 186"/>
                <a:gd name="T23" fmla="*/ 5 h 239"/>
                <a:gd name="T24" fmla="*/ 38 w 186"/>
                <a:gd name="T25" fmla="*/ 11 h 239"/>
                <a:gd name="T26" fmla="*/ 21 w 186"/>
                <a:gd name="T27" fmla="*/ 20 h 239"/>
                <a:gd name="T28" fmla="*/ 39 w 186"/>
                <a:gd name="T29" fmla="*/ 54 h 239"/>
                <a:gd name="T30" fmla="*/ 67 w 186"/>
                <a:gd name="T31" fmla="*/ 43 h 239"/>
                <a:gd name="T32" fmla="*/ 99 w 186"/>
                <a:gd name="T33" fmla="*/ 40 h 239"/>
                <a:gd name="T34" fmla="*/ 108 w 186"/>
                <a:gd name="T35" fmla="*/ 41 h 239"/>
                <a:gd name="T36" fmla="*/ 125 w 186"/>
                <a:gd name="T37" fmla="*/ 46 h 239"/>
                <a:gd name="T38" fmla="*/ 135 w 186"/>
                <a:gd name="T39" fmla="*/ 56 h 239"/>
                <a:gd name="T40" fmla="*/ 141 w 186"/>
                <a:gd name="T41" fmla="*/ 70 h 239"/>
                <a:gd name="T42" fmla="*/ 142 w 186"/>
                <a:gd name="T43" fmla="*/ 96 h 239"/>
                <a:gd name="T44" fmla="*/ 133 w 186"/>
                <a:gd name="T45" fmla="*/ 92 h 239"/>
                <a:gd name="T46" fmla="*/ 107 w 186"/>
                <a:gd name="T47" fmla="*/ 88 h 239"/>
                <a:gd name="T48" fmla="*/ 91 w 186"/>
                <a:gd name="T49" fmla="*/ 87 h 239"/>
                <a:gd name="T50" fmla="*/ 63 w 186"/>
                <a:gd name="T51" fmla="*/ 89 h 239"/>
                <a:gd name="T52" fmla="*/ 47 w 186"/>
                <a:gd name="T53" fmla="*/ 94 h 239"/>
                <a:gd name="T54" fmla="*/ 32 w 186"/>
                <a:gd name="T55" fmla="*/ 101 h 239"/>
                <a:gd name="T56" fmla="*/ 20 w 186"/>
                <a:gd name="T57" fmla="*/ 110 h 239"/>
                <a:gd name="T58" fmla="*/ 10 w 186"/>
                <a:gd name="T59" fmla="*/ 121 h 239"/>
                <a:gd name="T60" fmla="*/ 4 w 186"/>
                <a:gd name="T61" fmla="*/ 135 h 239"/>
                <a:gd name="T62" fmla="*/ 0 w 186"/>
                <a:gd name="T63" fmla="*/ 153 h 239"/>
                <a:gd name="T64" fmla="*/ 0 w 186"/>
                <a:gd name="T65" fmla="*/ 162 h 239"/>
                <a:gd name="T66" fmla="*/ 2 w 186"/>
                <a:gd name="T67" fmla="*/ 182 h 239"/>
                <a:gd name="T68" fmla="*/ 7 w 186"/>
                <a:gd name="T69" fmla="*/ 198 h 239"/>
                <a:gd name="T70" fmla="*/ 15 w 186"/>
                <a:gd name="T71" fmla="*/ 211 h 239"/>
                <a:gd name="T72" fmla="*/ 25 w 186"/>
                <a:gd name="T73" fmla="*/ 222 h 239"/>
                <a:gd name="T74" fmla="*/ 38 w 186"/>
                <a:gd name="T75" fmla="*/ 230 h 239"/>
                <a:gd name="T76" fmla="*/ 51 w 186"/>
                <a:gd name="T77" fmla="*/ 235 h 239"/>
                <a:gd name="T78" fmla="*/ 79 w 186"/>
                <a:gd name="T79" fmla="*/ 239 h 239"/>
                <a:gd name="T80" fmla="*/ 90 w 186"/>
                <a:gd name="T81" fmla="*/ 239 h 239"/>
                <a:gd name="T82" fmla="*/ 108 w 186"/>
                <a:gd name="T83" fmla="*/ 234 h 239"/>
                <a:gd name="T84" fmla="*/ 115 w 186"/>
                <a:gd name="T85" fmla="*/ 231 h 239"/>
                <a:gd name="T86" fmla="*/ 134 w 186"/>
                <a:gd name="T87" fmla="*/ 219 h 239"/>
                <a:gd name="T88" fmla="*/ 142 w 186"/>
                <a:gd name="T89" fmla="*/ 235 h 239"/>
                <a:gd name="T90" fmla="*/ 142 w 186"/>
                <a:gd name="T91" fmla="*/ 170 h 239"/>
                <a:gd name="T92" fmla="*/ 137 w 186"/>
                <a:gd name="T93" fmla="*/ 175 h 239"/>
                <a:gd name="T94" fmla="*/ 126 w 186"/>
                <a:gd name="T95" fmla="*/ 185 h 239"/>
                <a:gd name="T96" fmla="*/ 112 w 186"/>
                <a:gd name="T97" fmla="*/ 193 h 239"/>
                <a:gd name="T98" fmla="*/ 95 w 186"/>
                <a:gd name="T99" fmla="*/ 198 h 239"/>
                <a:gd name="T100" fmla="*/ 86 w 186"/>
                <a:gd name="T101" fmla="*/ 199 h 239"/>
                <a:gd name="T102" fmla="*/ 68 w 186"/>
                <a:gd name="T103" fmla="*/ 196 h 239"/>
                <a:gd name="T104" fmla="*/ 55 w 186"/>
                <a:gd name="T105" fmla="*/ 190 h 239"/>
                <a:gd name="T106" fmla="*/ 50 w 186"/>
                <a:gd name="T107" fmla="*/ 185 h 239"/>
                <a:gd name="T108" fmla="*/ 43 w 186"/>
                <a:gd name="T109" fmla="*/ 170 h 239"/>
                <a:gd name="T110" fmla="*/ 42 w 186"/>
                <a:gd name="T111" fmla="*/ 161 h 239"/>
                <a:gd name="T112" fmla="*/ 46 w 186"/>
                <a:gd name="T113" fmla="*/ 146 h 239"/>
                <a:gd name="T114" fmla="*/ 55 w 186"/>
                <a:gd name="T115" fmla="*/ 135 h 239"/>
                <a:gd name="T116" fmla="*/ 70 w 186"/>
                <a:gd name="T117" fmla="*/ 128 h 239"/>
                <a:gd name="T118" fmla="*/ 89 w 186"/>
                <a:gd name="T119" fmla="*/ 126 h 239"/>
                <a:gd name="T120" fmla="*/ 106 w 186"/>
                <a:gd name="T121" fmla="*/ 126 h 239"/>
                <a:gd name="T122" fmla="*/ 120 w 186"/>
                <a:gd name="T123" fmla="*/ 128 h 239"/>
                <a:gd name="T124" fmla="*/ 142 w 186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239">
                  <a:moveTo>
                    <a:pt x="186" y="235"/>
                  </a:moveTo>
                  <a:lnTo>
                    <a:pt x="186" y="77"/>
                  </a:lnTo>
                  <a:lnTo>
                    <a:pt x="186" y="77"/>
                  </a:lnTo>
                  <a:lnTo>
                    <a:pt x="185" y="67"/>
                  </a:lnTo>
                  <a:lnTo>
                    <a:pt x="184" y="58"/>
                  </a:lnTo>
                  <a:lnTo>
                    <a:pt x="182" y="50"/>
                  </a:lnTo>
                  <a:lnTo>
                    <a:pt x="180" y="43"/>
                  </a:lnTo>
                  <a:lnTo>
                    <a:pt x="176" y="36"/>
                  </a:lnTo>
                  <a:lnTo>
                    <a:pt x="172" y="29"/>
                  </a:lnTo>
                  <a:lnTo>
                    <a:pt x="167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49" y="10"/>
                  </a:lnTo>
                  <a:lnTo>
                    <a:pt x="142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1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2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8" y="41"/>
                  </a:lnTo>
                  <a:lnTo>
                    <a:pt x="117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5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8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6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7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5" name="Freeform 144"/>
            <p:cNvSpPr>
              <a:spLocks/>
            </p:cNvSpPr>
            <p:nvPr userDrawn="1"/>
          </p:nvSpPr>
          <p:spPr bwMode="auto">
            <a:xfrm>
              <a:off x="3033713" y="6432551"/>
              <a:ext cx="25400" cy="44450"/>
            </a:xfrm>
            <a:custGeom>
              <a:avLst/>
              <a:gdLst>
                <a:gd name="T0" fmla="*/ 64 w 64"/>
                <a:gd name="T1" fmla="*/ 0 h 115"/>
                <a:gd name="T2" fmla="*/ 6 w 64"/>
                <a:gd name="T3" fmla="*/ 0 h 115"/>
                <a:gd name="T4" fmla="*/ 0 w 64"/>
                <a:gd name="T5" fmla="*/ 115 h 115"/>
                <a:gd name="T6" fmla="*/ 31 w 64"/>
                <a:gd name="T7" fmla="*/ 115 h 115"/>
                <a:gd name="T8" fmla="*/ 64 w 64"/>
                <a:gd name="T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15">
                  <a:moveTo>
                    <a:pt x="64" y="0"/>
                  </a:moveTo>
                  <a:lnTo>
                    <a:pt x="6" y="0"/>
                  </a:lnTo>
                  <a:lnTo>
                    <a:pt x="0" y="115"/>
                  </a:lnTo>
                  <a:lnTo>
                    <a:pt x="31" y="115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6" name="Freeform 145"/>
            <p:cNvSpPr>
              <a:spLocks/>
            </p:cNvSpPr>
            <p:nvPr userDrawn="1"/>
          </p:nvSpPr>
          <p:spPr bwMode="auto">
            <a:xfrm>
              <a:off x="3127375" y="6365876"/>
              <a:ext cx="90488" cy="92075"/>
            </a:xfrm>
            <a:custGeom>
              <a:avLst/>
              <a:gdLst>
                <a:gd name="T0" fmla="*/ 226 w 226"/>
                <a:gd name="T1" fmla="*/ 230 h 233"/>
                <a:gd name="T2" fmla="*/ 226 w 226"/>
                <a:gd name="T3" fmla="*/ 0 h 233"/>
                <a:gd name="T4" fmla="*/ 177 w 226"/>
                <a:gd name="T5" fmla="*/ 0 h 233"/>
                <a:gd name="T6" fmla="*/ 128 w 226"/>
                <a:gd name="T7" fmla="*/ 111 h 233"/>
                <a:gd name="T8" fmla="*/ 128 w 226"/>
                <a:gd name="T9" fmla="*/ 111 h 233"/>
                <a:gd name="T10" fmla="*/ 113 w 226"/>
                <a:gd name="T11" fmla="*/ 151 h 233"/>
                <a:gd name="T12" fmla="*/ 113 w 226"/>
                <a:gd name="T13" fmla="*/ 151 h 233"/>
                <a:gd name="T14" fmla="*/ 106 w 226"/>
                <a:gd name="T15" fmla="*/ 132 h 233"/>
                <a:gd name="T16" fmla="*/ 98 w 226"/>
                <a:gd name="T17" fmla="*/ 111 h 233"/>
                <a:gd name="T18" fmla="*/ 49 w 226"/>
                <a:gd name="T19" fmla="*/ 0 h 233"/>
                <a:gd name="T20" fmla="*/ 0 w 226"/>
                <a:gd name="T21" fmla="*/ 0 h 233"/>
                <a:gd name="T22" fmla="*/ 0 w 226"/>
                <a:gd name="T23" fmla="*/ 230 h 233"/>
                <a:gd name="T24" fmla="*/ 43 w 226"/>
                <a:gd name="T25" fmla="*/ 230 h 233"/>
                <a:gd name="T26" fmla="*/ 43 w 226"/>
                <a:gd name="T27" fmla="*/ 110 h 233"/>
                <a:gd name="T28" fmla="*/ 43 w 226"/>
                <a:gd name="T29" fmla="*/ 110 h 233"/>
                <a:gd name="T30" fmla="*/ 42 w 226"/>
                <a:gd name="T31" fmla="*/ 69 h 233"/>
                <a:gd name="T32" fmla="*/ 42 w 226"/>
                <a:gd name="T33" fmla="*/ 69 h 233"/>
                <a:gd name="T34" fmla="*/ 48 w 226"/>
                <a:gd name="T35" fmla="*/ 85 h 233"/>
                <a:gd name="T36" fmla="*/ 57 w 226"/>
                <a:gd name="T37" fmla="*/ 106 h 233"/>
                <a:gd name="T38" fmla="*/ 112 w 226"/>
                <a:gd name="T39" fmla="*/ 233 h 233"/>
                <a:gd name="T40" fmla="*/ 166 w 226"/>
                <a:gd name="T41" fmla="*/ 106 h 233"/>
                <a:gd name="T42" fmla="*/ 166 w 226"/>
                <a:gd name="T43" fmla="*/ 106 h 233"/>
                <a:gd name="T44" fmla="*/ 176 w 226"/>
                <a:gd name="T45" fmla="*/ 85 h 233"/>
                <a:gd name="T46" fmla="*/ 182 w 226"/>
                <a:gd name="T47" fmla="*/ 69 h 233"/>
                <a:gd name="T48" fmla="*/ 182 w 226"/>
                <a:gd name="T49" fmla="*/ 69 h 233"/>
                <a:gd name="T50" fmla="*/ 181 w 226"/>
                <a:gd name="T51" fmla="*/ 110 h 233"/>
                <a:gd name="T52" fmla="*/ 181 w 226"/>
                <a:gd name="T53" fmla="*/ 230 h 233"/>
                <a:gd name="T54" fmla="*/ 226 w 226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6" h="233">
                  <a:moveTo>
                    <a:pt x="226" y="230"/>
                  </a:moveTo>
                  <a:lnTo>
                    <a:pt x="226" y="0"/>
                  </a:lnTo>
                  <a:lnTo>
                    <a:pt x="177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6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6" y="106"/>
                  </a:lnTo>
                  <a:lnTo>
                    <a:pt x="166" y="106"/>
                  </a:lnTo>
                  <a:lnTo>
                    <a:pt x="176" y="85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1" y="110"/>
                  </a:lnTo>
                  <a:lnTo>
                    <a:pt x="181" y="230"/>
                  </a:lnTo>
                  <a:lnTo>
                    <a:pt x="226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7" name="Freeform 146"/>
            <p:cNvSpPr>
              <a:spLocks noEditPoints="1"/>
            </p:cNvSpPr>
            <p:nvPr userDrawn="1"/>
          </p:nvSpPr>
          <p:spPr bwMode="auto">
            <a:xfrm>
              <a:off x="3240088" y="6365876"/>
              <a:ext cx="98425" cy="90488"/>
            </a:xfrm>
            <a:custGeom>
              <a:avLst/>
              <a:gdLst>
                <a:gd name="T0" fmla="*/ 0 w 248"/>
                <a:gd name="T1" fmla="*/ 0 h 230"/>
                <a:gd name="T2" fmla="*/ 90 w 248"/>
                <a:gd name="T3" fmla="*/ 230 h 230"/>
                <a:gd name="T4" fmla="*/ 99 w 248"/>
                <a:gd name="T5" fmla="*/ 229 h 230"/>
                <a:gd name="T6" fmla="*/ 115 w 248"/>
                <a:gd name="T7" fmla="*/ 227 h 230"/>
                <a:gd name="T8" fmla="*/ 129 w 248"/>
                <a:gd name="T9" fmla="*/ 222 h 230"/>
                <a:gd name="T10" fmla="*/ 142 w 248"/>
                <a:gd name="T11" fmla="*/ 215 h 230"/>
                <a:gd name="T12" fmla="*/ 152 w 248"/>
                <a:gd name="T13" fmla="*/ 206 h 230"/>
                <a:gd name="T14" fmla="*/ 160 w 248"/>
                <a:gd name="T15" fmla="*/ 194 h 230"/>
                <a:gd name="T16" fmla="*/ 166 w 248"/>
                <a:gd name="T17" fmla="*/ 180 h 230"/>
                <a:gd name="T18" fmla="*/ 169 w 248"/>
                <a:gd name="T19" fmla="*/ 164 h 230"/>
                <a:gd name="T20" fmla="*/ 169 w 248"/>
                <a:gd name="T21" fmla="*/ 155 h 230"/>
                <a:gd name="T22" fmla="*/ 167 w 248"/>
                <a:gd name="T23" fmla="*/ 137 h 230"/>
                <a:gd name="T24" fmla="*/ 163 w 248"/>
                <a:gd name="T25" fmla="*/ 122 h 230"/>
                <a:gd name="T26" fmla="*/ 156 w 248"/>
                <a:gd name="T27" fmla="*/ 109 h 230"/>
                <a:gd name="T28" fmla="*/ 147 w 248"/>
                <a:gd name="T29" fmla="*/ 99 h 230"/>
                <a:gd name="T30" fmla="*/ 136 w 248"/>
                <a:gd name="T31" fmla="*/ 91 h 230"/>
                <a:gd name="T32" fmla="*/ 123 w 248"/>
                <a:gd name="T33" fmla="*/ 85 h 230"/>
                <a:gd name="T34" fmla="*/ 109 w 248"/>
                <a:gd name="T35" fmla="*/ 81 h 230"/>
                <a:gd name="T36" fmla="*/ 93 w 248"/>
                <a:gd name="T37" fmla="*/ 80 h 230"/>
                <a:gd name="T38" fmla="*/ 45 w 248"/>
                <a:gd name="T39" fmla="*/ 0 h 230"/>
                <a:gd name="T40" fmla="*/ 45 w 248"/>
                <a:gd name="T41" fmla="*/ 117 h 230"/>
                <a:gd name="T42" fmla="*/ 89 w 248"/>
                <a:gd name="T43" fmla="*/ 117 h 230"/>
                <a:gd name="T44" fmla="*/ 104 w 248"/>
                <a:gd name="T45" fmla="*/ 120 h 230"/>
                <a:gd name="T46" fmla="*/ 116 w 248"/>
                <a:gd name="T47" fmla="*/ 127 h 230"/>
                <a:gd name="T48" fmla="*/ 124 w 248"/>
                <a:gd name="T49" fmla="*/ 138 h 230"/>
                <a:gd name="T50" fmla="*/ 126 w 248"/>
                <a:gd name="T51" fmla="*/ 155 h 230"/>
                <a:gd name="T52" fmla="*/ 126 w 248"/>
                <a:gd name="T53" fmla="*/ 163 h 230"/>
                <a:gd name="T54" fmla="*/ 121 w 248"/>
                <a:gd name="T55" fmla="*/ 177 h 230"/>
                <a:gd name="T56" fmla="*/ 112 w 248"/>
                <a:gd name="T57" fmla="*/ 187 h 230"/>
                <a:gd name="T58" fmla="*/ 98 w 248"/>
                <a:gd name="T59" fmla="*/ 192 h 230"/>
                <a:gd name="T60" fmla="*/ 45 w 248"/>
                <a:gd name="T61" fmla="*/ 192 h 230"/>
                <a:gd name="T62" fmla="*/ 248 w 248"/>
                <a:gd name="T63" fmla="*/ 0 h 230"/>
                <a:gd name="T64" fmla="*/ 202 w 248"/>
                <a:gd name="T6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8" h="230">
                  <a:moveTo>
                    <a:pt x="45" y="0"/>
                  </a:moveTo>
                  <a:lnTo>
                    <a:pt x="0" y="0"/>
                  </a:lnTo>
                  <a:lnTo>
                    <a:pt x="0" y="230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9" y="229"/>
                  </a:lnTo>
                  <a:lnTo>
                    <a:pt x="107" y="228"/>
                  </a:lnTo>
                  <a:lnTo>
                    <a:pt x="115" y="227"/>
                  </a:lnTo>
                  <a:lnTo>
                    <a:pt x="122" y="225"/>
                  </a:lnTo>
                  <a:lnTo>
                    <a:pt x="129" y="222"/>
                  </a:lnTo>
                  <a:lnTo>
                    <a:pt x="136" y="219"/>
                  </a:lnTo>
                  <a:lnTo>
                    <a:pt x="142" y="215"/>
                  </a:lnTo>
                  <a:lnTo>
                    <a:pt x="147" y="211"/>
                  </a:lnTo>
                  <a:lnTo>
                    <a:pt x="152" y="206"/>
                  </a:lnTo>
                  <a:lnTo>
                    <a:pt x="156" y="200"/>
                  </a:lnTo>
                  <a:lnTo>
                    <a:pt x="160" y="194"/>
                  </a:lnTo>
                  <a:lnTo>
                    <a:pt x="163" y="187"/>
                  </a:lnTo>
                  <a:lnTo>
                    <a:pt x="166" y="180"/>
                  </a:lnTo>
                  <a:lnTo>
                    <a:pt x="167" y="172"/>
                  </a:lnTo>
                  <a:lnTo>
                    <a:pt x="169" y="164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46"/>
                  </a:lnTo>
                  <a:lnTo>
                    <a:pt x="167" y="137"/>
                  </a:lnTo>
                  <a:lnTo>
                    <a:pt x="166" y="129"/>
                  </a:lnTo>
                  <a:lnTo>
                    <a:pt x="163" y="122"/>
                  </a:lnTo>
                  <a:lnTo>
                    <a:pt x="160" y="115"/>
                  </a:lnTo>
                  <a:lnTo>
                    <a:pt x="156" y="109"/>
                  </a:lnTo>
                  <a:lnTo>
                    <a:pt x="152" y="104"/>
                  </a:lnTo>
                  <a:lnTo>
                    <a:pt x="147" y="99"/>
                  </a:lnTo>
                  <a:lnTo>
                    <a:pt x="142" y="94"/>
                  </a:lnTo>
                  <a:lnTo>
                    <a:pt x="136" y="91"/>
                  </a:lnTo>
                  <a:lnTo>
                    <a:pt x="130" y="88"/>
                  </a:lnTo>
                  <a:lnTo>
                    <a:pt x="123" y="85"/>
                  </a:lnTo>
                  <a:lnTo>
                    <a:pt x="116" y="83"/>
                  </a:lnTo>
                  <a:lnTo>
                    <a:pt x="109" y="81"/>
                  </a:lnTo>
                  <a:lnTo>
                    <a:pt x="101" y="81"/>
                  </a:lnTo>
                  <a:lnTo>
                    <a:pt x="93" y="80"/>
                  </a:lnTo>
                  <a:lnTo>
                    <a:pt x="45" y="80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7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7" y="118"/>
                  </a:lnTo>
                  <a:lnTo>
                    <a:pt x="104" y="120"/>
                  </a:lnTo>
                  <a:lnTo>
                    <a:pt x="111" y="123"/>
                  </a:lnTo>
                  <a:lnTo>
                    <a:pt x="116" y="127"/>
                  </a:lnTo>
                  <a:lnTo>
                    <a:pt x="120" y="132"/>
                  </a:lnTo>
                  <a:lnTo>
                    <a:pt x="124" y="138"/>
                  </a:lnTo>
                  <a:lnTo>
                    <a:pt x="125" y="14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63"/>
                  </a:lnTo>
                  <a:lnTo>
                    <a:pt x="124" y="171"/>
                  </a:lnTo>
                  <a:lnTo>
                    <a:pt x="121" y="177"/>
                  </a:lnTo>
                  <a:lnTo>
                    <a:pt x="117" y="182"/>
                  </a:lnTo>
                  <a:lnTo>
                    <a:pt x="112" y="187"/>
                  </a:lnTo>
                  <a:lnTo>
                    <a:pt x="105" y="190"/>
                  </a:lnTo>
                  <a:lnTo>
                    <a:pt x="98" y="192"/>
                  </a:lnTo>
                  <a:lnTo>
                    <a:pt x="89" y="192"/>
                  </a:lnTo>
                  <a:lnTo>
                    <a:pt x="45" y="192"/>
                  </a:lnTo>
                  <a:close/>
                  <a:moveTo>
                    <a:pt x="248" y="230"/>
                  </a:moveTo>
                  <a:lnTo>
                    <a:pt x="248" y="0"/>
                  </a:lnTo>
                  <a:lnTo>
                    <a:pt x="202" y="0"/>
                  </a:lnTo>
                  <a:lnTo>
                    <a:pt x="202" y="230"/>
                  </a:lnTo>
                  <a:lnTo>
                    <a:pt x="248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8" name="Freeform 147"/>
            <p:cNvSpPr>
              <a:spLocks/>
            </p:cNvSpPr>
            <p:nvPr userDrawn="1"/>
          </p:nvSpPr>
          <p:spPr bwMode="auto">
            <a:xfrm>
              <a:off x="3397250" y="6365876"/>
              <a:ext cx="85725" cy="122238"/>
            </a:xfrm>
            <a:custGeom>
              <a:avLst/>
              <a:gdLst>
                <a:gd name="T0" fmla="*/ 214 w 214"/>
                <a:gd name="T1" fmla="*/ 0 h 310"/>
                <a:gd name="T2" fmla="*/ 166 w 214"/>
                <a:gd name="T3" fmla="*/ 0 h 310"/>
                <a:gd name="T4" fmla="*/ 107 w 214"/>
                <a:gd name="T5" fmla="*/ 173 h 310"/>
                <a:gd name="T6" fmla="*/ 49 w 214"/>
                <a:gd name="T7" fmla="*/ 0 h 310"/>
                <a:gd name="T8" fmla="*/ 0 w 214"/>
                <a:gd name="T9" fmla="*/ 0 h 310"/>
                <a:gd name="T10" fmla="*/ 84 w 214"/>
                <a:gd name="T11" fmla="*/ 225 h 310"/>
                <a:gd name="T12" fmla="*/ 51 w 214"/>
                <a:gd name="T13" fmla="*/ 310 h 310"/>
                <a:gd name="T14" fmla="*/ 99 w 214"/>
                <a:gd name="T15" fmla="*/ 310 h 310"/>
                <a:gd name="T16" fmla="*/ 214 w 214"/>
                <a:gd name="T1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310">
                  <a:moveTo>
                    <a:pt x="214" y="0"/>
                  </a:moveTo>
                  <a:lnTo>
                    <a:pt x="166" y="0"/>
                  </a:lnTo>
                  <a:lnTo>
                    <a:pt x="107" y="173"/>
                  </a:lnTo>
                  <a:lnTo>
                    <a:pt x="49" y="0"/>
                  </a:lnTo>
                  <a:lnTo>
                    <a:pt x="0" y="0"/>
                  </a:lnTo>
                  <a:lnTo>
                    <a:pt x="84" y="225"/>
                  </a:lnTo>
                  <a:lnTo>
                    <a:pt x="51" y="310"/>
                  </a:lnTo>
                  <a:lnTo>
                    <a:pt x="99" y="31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9" name="Freeform 148"/>
            <p:cNvSpPr>
              <a:spLocks/>
            </p:cNvSpPr>
            <p:nvPr userDrawn="1"/>
          </p:nvSpPr>
          <p:spPr bwMode="auto">
            <a:xfrm>
              <a:off x="3486150" y="6365876"/>
              <a:ext cx="82550" cy="92075"/>
            </a:xfrm>
            <a:custGeom>
              <a:avLst/>
              <a:gdLst>
                <a:gd name="T0" fmla="*/ 94 w 209"/>
                <a:gd name="T1" fmla="*/ 39 h 234"/>
                <a:gd name="T2" fmla="*/ 164 w 209"/>
                <a:gd name="T3" fmla="*/ 39 h 234"/>
                <a:gd name="T4" fmla="*/ 164 w 209"/>
                <a:gd name="T5" fmla="*/ 230 h 234"/>
                <a:gd name="T6" fmla="*/ 209 w 209"/>
                <a:gd name="T7" fmla="*/ 230 h 234"/>
                <a:gd name="T8" fmla="*/ 209 w 209"/>
                <a:gd name="T9" fmla="*/ 0 h 234"/>
                <a:gd name="T10" fmla="*/ 52 w 209"/>
                <a:gd name="T11" fmla="*/ 0 h 234"/>
                <a:gd name="T12" fmla="*/ 47 w 209"/>
                <a:gd name="T13" fmla="*/ 116 h 234"/>
                <a:gd name="T14" fmla="*/ 47 w 209"/>
                <a:gd name="T15" fmla="*/ 116 h 234"/>
                <a:gd name="T16" fmla="*/ 45 w 209"/>
                <a:gd name="T17" fmla="*/ 135 h 234"/>
                <a:gd name="T18" fmla="*/ 42 w 209"/>
                <a:gd name="T19" fmla="*/ 152 h 234"/>
                <a:gd name="T20" fmla="*/ 38 w 209"/>
                <a:gd name="T21" fmla="*/ 165 h 234"/>
                <a:gd name="T22" fmla="*/ 32 w 209"/>
                <a:gd name="T23" fmla="*/ 175 h 234"/>
                <a:gd name="T24" fmla="*/ 26 w 209"/>
                <a:gd name="T25" fmla="*/ 183 h 234"/>
                <a:gd name="T26" fmla="*/ 18 w 209"/>
                <a:gd name="T27" fmla="*/ 189 h 234"/>
                <a:gd name="T28" fmla="*/ 9 w 209"/>
                <a:gd name="T29" fmla="*/ 193 h 234"/>
                <a:gd name="T30" fmla="*/ 0 w 209"/>
                <a:gd name="T31" fmla="*/ 195 h 234"/>
                <a:gd name="T32" fmla="*/ 12 w 209"/>
                <a:gd name="T33" fmla="*/ 234 h 234"/>
                <a:gd name="T34" fmla="*/ 12 w 209"/>
                <a:gd name="T35" fmla="*/ 234 h 234"/>
                <a:gd name="T36" fmla="*/ 19 w 209"/>
                <a:gd name="T37" fmla="*/ 233 h 234"/>
                <a:gd name="T38" fmla="*/ 27 w 209"/>
                <a:gd name="T39" fmla="*/ 230 h 234"/>
                <a:gd name="T40" fmla="*/ 34 w 209"/>
                <a:gd name="T41" fmla="*/ 228 h 234"/>
                <a:gd name="T42" fmla="*/ 41 w 209"/>
                <a:gd name="T43" fmla="*/ 224 h 234"/>
                <a:gd name="T44" fmla="*/ 48 w 209"/>
                <a:gd name="T45" fmla="*/ 220 h 234"/>
                <a:gd name="T46" fmla="*/ 54 w 209"/>
                <a:gd name="T47" fmla="*/ 215 h 234"/>
                <a:gd name="T48" fmla="*/ 60 w 209"/>
                <a:gd name="T49" fmla="*/ 209 h 234"/>
                <a:gd name="T50" fmla="*/ 66 w 209"/>
                <a:gd name="T51" fmla="*/ 203 h 234"/>
                <a:gd name="T52" fmla="*/ 71 w 209"/>
                <a:gd name="T53" fmla="*/ 195 h 234"/>
                <a:gd name="T54" fmla="*/ 75 w 209"/>
                <a:gd name="T55" fmla="*/ 187 h 234"/>
                <a:gd name="T56" fmla="*/ 79 w 209"/>
                <a:gd name="T57" fmla="*/ 178 h 234"/>
                <a:gd name="T58" fmla="*/ 83 w 209"/>
                <a:gd name="T59" fmla="*/ 168 h 234"/>
                <a:gd name="T60" fmla="*/ 86 w 209"/>
                <a:gd name="T61" fmla="*/ 156 h 234"/>
                <a:gd name="T62" fmla="*/ 88 w 209"/>
                <a:gd name="T63" fmla="*/ 143 h 234"/>
                <a:gd name="T64" fmla="*/ 89 w 209"/>
                <a:gd name="T65" fmla="*/ 130 h 234"/>
                <a:gd name="T66" fmla="*/ 91 w 209"/>
                <a:gd name="T67" fmla="*/ 116 h 234"/>
                <a:gd name="T68" fmla="*/ 94 w 209"/>
                <a:gd name="T69" fmla="*/ 3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9" h="234">
                  <a:moveTo>
                    <a:pt x="94" y="39"/>
                  </a:moveTo>
                  <a:lnTo>
                    <a:pt x="164" y="39"/>
                  </a:lnTo>
                  <a:lnTo>
                    <a:pt x="164" y="230"/>
                  </a:lnTo>
                  <a:lnTo>
                    <a:pt x="209" y="230"/>
                  </a:lnTo>
                  <a:lnTo>
                    <a:pt x="209" y="0"/>
                  </a:lnTo>
                  <a:lnTo>
                    <a:pt x="52" y="0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5" y="135"/>
                  </a:lnTo>
                  <a:lnTo>
                    <a:pt x="42" y="152"/>
                  </a:lnTo>
                  <a:lnTo>
                    <a:pt x="38" y="165"/>
                  </a:lnTo>
                  <a:lnTo>
                    <a:pt x="32" y="175"/>
                  </a:lnTo>
                  <a:lnTo>
                    <a:pt x="26" y="183"/>
                  </a:lnTo>
                  <a:lnTo>
                    <a:pt x="18" y="189"/>
                  </a:lnTo>
                  <a:lnTo>
                    <a:pt x="9" y="193"/>
                  </a:lnTo>
                  <a:lnTo>
                    <a:pt x="0" y="195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19" y="233"/>
                  </a:lnTo>
                  <a:lnTo>
                    <a:pt x="27" y="230"/>
                  </a:lnTo>
                  <a:lnTo>
                    <a:pt x="34" y="228"/>
                  </a:lnTo>
                  <a:lnTo>
                    <a:pt x="41" y="224"/>
                  </a:lnTo>
                  <a:lnTo>
                    <a:pt x="48" y="220"/>
                  </a:lnTo>
                  <a:lnTo>
                    <a:pt x="54" y="215"/>
                  </a:lnTo>
                  <a:lnTo>
                    <a:pt x="60" y="209"/>
                  </a:lnTo>
                  <a:lnTo>
                    <a:pt x="66" y="203"/>
                  </a:lnTo>
                  <a:lnTo>
                    <a:pt x="71" y="195"/>
                  </a:lnTo>
                  <a:lnTo>
                    <a:pt x="75" y="187"/>
                  </a:lnTo>
                  <a:lnTo>
                    <a:pt x="79" y="178"/>
                  </a:lnTo>
                  <a:lnTo>
                    <a:pt x="83" y="168"/>
                  </a:lnTo>
                  <a:lnTo>
                    <a:pt x="86" y="156"/>
                  </a:lnTo>
                  <a:lnTo>
                    <a:pt x="88" y="143"/>
                  </a:lnTo>
                  <a:lnTo>
                    <a:pt x="89" y="130"/>
                  </a:lnTo>
                  <a:lnTo>
                    <a:pt x="91" y="116"/>
                  </a:lnTo>
                  <a:lnTo>
                    <a:pt x="9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0" name="Freeform 149"/>
            <p:cNvSpPr>
              <a:spLocks/>
            </p:cNvSpPr>
            <p:nvPr userDrawn="1"/>
          </p:nvSpPr>
          <p:spPr bwMode="auto">
            <a:xfrm>
              <a:off x="3584575" y="6365876"/>
              <a:ext cx="85725" cy="122238"/>
            </a:xfrm>
            <a:custGeom>
              <a:avLst/>
              <a:gdLst>
                <a:gd name="T0" fmla="*/ 214 w 214"/>
                <a:gd name="T1" fmla="*/ 0 h 310"/>
                <a:gd name="T2" fmla="*/ 166 w 214"/>
                <a:gd name="T3" fmla="*/ 0 h 310"/>
                <a:gd name="T4" fmla="*/ 107 w 214"/>
                <a:gd name="T5" fmla="*/ 173 h 310"/>
                <a:gd name="T6" fmla="*/ 49 w 214"/>
                <a:gd name="T7" fmla="*/ 0 h 310"/>
                <a:gd name="T8" fmla="*/ 0 w 214"/>
                <a:gd name="T9" fmla="*/ 0 h 310"/>
                <a:gd name="T10" fmla="*/ 84 w 214"/>
                <a:gd name="T11" fmla="*/ 225 h 310"/>
                <a:gd name="T12" fmla="*/ 51 w 214"/>
                <a:gd name="T13" fmla="*/ 310 h 310"/>
                <a:gd name="T14" fmla="*/ 99 w 214"/>
                <a:gd name="T15" fmla="*/ 310 h 310"/>
                <a:gd name="T16" fmla="*/ 214 w 214"/>
                <a:gd name="T1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310">
                  <a:moveTo>
                    <a:pt x="214" y="0"/>
                  </a:moveTo>
                  <a:lnTo>
                    <a:pt x="166" y="0"/>
                  </a:lnTo>
                  <a:lnTo>
                    <a:pt x="107" y="173"/>
                  </a:lnTo>
                  <a:lnTo>
                    <a:pt x="49" y="0"/>
                  </a:lnTo>
                  <a:lnTo>
                    <a:pt x="0" y="0"/>
                  </a:lnTo>
                  <a:lnTo>
                    <a:pt x="84" y="225"/>
                  </a:lnTo>
                  <a:lnTo>
                    <a:pt x="51" y="310"/>
                  </a:lnTo>
                  <a:lnTo>
                    <a:pt x="99" y="31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1" name="Freeform 150"/>
            <p:cNvSpPr>
              <a:spLocks/>
            </p:cNvSpPr>
            <p:nvPr userDrawn="1"/>
          </p:nvSpPr>
          <p:spPr bwMode="auto">
            <a:xfrm>
              <a:off x="3681413" y="6365876"/>
              <a:ext cx="69850" cy="90488"/>
            </a:xfrm>
            <a:custGeom>
              <a:avLst/>
              <a:gdLst>
                <a:gd name="T0" fmla="*/ 179 w 179"/>
                <a:gd name="T1" fmla="*/ 0 h 230"/>
                <a:gd name="T2" fmla="*/ 134 w 179"/>
                <a:gd name="T3" fmla="*/ 0 h 230"/>
                <a:gd name="T4" fmla="*/ 134 w 179"/>
                <a:gd name="T5" fmla="*/ 92 h 230"/>
                <a:gd name="T6" fmla="*/ 134 w 179"/>
                <a:gd name="T7" fmla="*/ 92 h 230"/>
                <a:gd name="T8" fmla="*/ 125 w 179"/>
                <a:gd name="T9" fmla="*/ 98 h 230"/>
                <a:gd name="T10" fmla="*/ 113 w 179"/>
                <a:gd name="T11" fmla="*/ 102 h 230"/>
                <a:gd name="T12" fmla="*/ 100 w 179"/>
                <a:gd name="T13" fmla="*/ 105 h 230"/>
                <a:gd name="T14" fmla="*/ 85 w 179"/>
                <a:gd name="T15" fmla="*/ 106 h 230"/>
                <a:gd name="T16" fmla="*/ 85 w 179"/>
                <a:gd name="T17" fmla="*/ 106 h 230"/>
                <a:gd name="T18" fmla="*/ 76 w 179"/>
                <a:gd name="T19" fmla="*/ 105 h 230"/>
                <a:gd name="T20" fmla="*/ 68 w 179"/>
                <a:gd name="T21" fmla="*/ 103 h 230"/>
                <a:gd name="T22" fmla="*/ 61 w 179"/>
                <a:gd name="T23" fmla="*/ 101 h 230"/>
                <a:gd name="T24" fmla="*/ 56 w 179"/>
                <a:gd name="T25" fmla="*/ 97 h 230"/>
                <a:gd name="T26" fmla="*/ 51 w 179"/>
                <a:gd name="T27" fmla="*/ 91 h 230"/>
                <a:gd name="T28" fmla="*/ 48 w 179"/>
                <a:gd name="T29" fmla="*/ 85 h 230"/>
                <a:gd name="T30" fmla="*/ 46 w 179"/>
                <a:gd name="T31" fmla="*/ 76 h 230"/>
                <a:gd name="T32" fmla="*/ 45 w 179"/>
                <a:gd name="T33" fmla="*/ 66 h 230"/>
                <a:gd name="T34" fmla="*/ 45 w 179"/>
                <a:gd name="T35" fmla="*/ 0 h 230"/>
                <a:gd name="T36" fmla="*/ 0 w 179"/>
                <a:gd name="T37" fmla="*/ 0 h 230"/>
                <a:gd name="T38" fmla="*/ 0 w 179"/>
                <a:gd name="T39" fmla="*/ 64 h 230"/>
                <a:gd name="T40" fmla="*/ 0 w 179"/>
                <a:gd name="T41" fmla="*/ 64 h 230"/>
                <a:gd name="T42" fmla="*/ 1 w 179"/>
                <a:gd name="T43" fmla="*/ 74 h 230"/>
                <a:gd name="T44" fmla="*/ 2 w 179"/>
                <a:gd name="T45" fmla="*/ 83 h 230"/>
                <a:gd name="T46" fmla="*/ 3 w 179"/>
                <a:gd name="T47" fmla="*/ 91 h 230"/>
                <a:gd name="T48" fmla="*/ 5 w 179"/>
                <a:gd name="T49" fmla="*/ 99 h 230"/>
                <a:gd name="T50" fmla="*/ 8 w 179"/>
                <a:gd name="T51" fmla="*/ 106 h 230"/>
                <a:gd name="T52" fmla="*/ 11 w 179"/>
                <a:gd name="T53" fmla="*/ 113 h 230"/>
                <a:gd name="T54" fmla="*/ 15 w 179"/>
                <a:gd name="T55" fmla="*/ 119 h 230"/>
                <a:gd name="T56" fmla="*/ 19 w 179"/>
                <a:gd name="T57" fmla="*/ 124 h 230"/>
                <a:gd name="T58" fmla="*/ 24 w 179"/>
                <a:gd name="T59" fmla="*/ 129 h 230"/>
                <a:gd name="T60" fmla="*/ 30 w 179"/>
                <a:gd name="T61" fmla="*/ 133 h 230"/>
                <a:gd name="T62" fmla="*/ 36 w 179"/>
                <a:gd name="T63" fmla="*/ 137 h 230"/>
                <a:gd name="T64" fmla="*/ 42 w 179"/>
                <a:gd name="T65" fmla="*/ 140 h 230"/>
                <a:gd name="T66" fmla="*/ 50 w 179"/>
                <a:gd name="T67" fmla="*/ 142 h 230"/>
                <a:gd name="T68" fmla="*/ 57 w 179"/>
                <a:gd name="T69" fmla="*/ 145 h 230"/>
                <a:gd name="T70" fmla="*/ 65 w 179"/>
                <a:gd name="T71" fmla="*/ 145 h 230"/>
                <a:gd name="T72" fmla="*/ 74 w 179"/>
                <a:gd name="T73" fmla="*/ 146 h 230"/>
                <a:gd name="T74" fmla="*/ 74 w 179"/>
                <a:gd name="T75" fmla="*/ 146 h 230"/>
                <a:gd name="T76" fmla="*/ 91 w 179"/>
                <a:gd name="T77" fmla="*/ 145 h 230"/>
                <a:gd name="T78" fmla="*/ 108 w 179"/>
                <a:gd name="T79" fmla="*/ 141 h 230"/>
                <a:gd name="T80" fmla="*/ 122 w 179"/>
                <a:gd name="T81" fmla="*/ 137 h 230"/>
                <a:gd name="T82" fmla="*/ 134 w 179"/>
                <a:gd name="T83" fmla="*/ 131 h 230"/>
                <a:gd name="T84" fmla="*/ 134 w 179"/>
                <a:gd name="T85" fmla="*/ 230 h 230"/>
                <a:gd name="T86" fmla="*/ 179 w 179"/>
                <a:gd name="T87" fmla="*/ 230 h 230"/>
                <a:gd name="T88" fmla="*/ 179 w 179"/>
                <a:gd name="T8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lnTo>
                    <a:pt x="134" y="0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25" y="98"/>
                  </a:lnTo>
                  <a:lnTo>
                    <a:pt x="113" y="102"/>
                  </a:lnTo>
                  <a:lnTo>
                    <a:pt x="100" y="105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76" y="105"/>
                  </a:lnTo>
                  <a:lnTo>
                    <a:pt x="68" y="103"/>
                  </a:lnTo>
                  <a:lnTo>
                    <a:pt x="61" y="101"/>
                  </a:lnTo>
                  <a:lnTo>
                    <a:pt x="56" y="97"/>
                  </a:lnTo>
                  <a:lnTo>
                    <a:pt x="51" y="91"/>
                  </a:lnTo>
                  <a:lnTo>
                    <a:pt x="48" y="85"/>
                  </a:lnTo>
                  <a:lnTo>
                    <a:pt x="46" y="76"/>
                  </a:lnTo>
                  <a:lnTo>
                    <a:pt x="45" y="66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1" y="74"/>
                  </a:lnTo>
                  <a:lnTo>
                    <a:pt x="2" y="83"/>
                  </a:lnTo>
                  <a:lnTo>
                    <a:pt x="3" y="91"/>
                  </a:lnTo>
                  <a:lnTo>
                    <a:pt x="5" y="99"/>
                  </a:lnTo>
                  <a:lnTo>
                    <a:pt x="8" y="106"/>
                  </a:lnTo>
                  <a:lnTo>
                    <a:pt x="11" y="113"/>
                  </a:lnTo>
                  <a:lnTo>
                    <a:pt x="15" y="119"/>
                  </a:lnTo>
                  <a:lnTo>
                    <a:pt x="19" y="124"/>
                  </a:lnTo>
                  <a:lnTo>
                    <a:pt x="24" y="129"/>
                  </a:lnTo>
                  <a:lnTo>
                    <a:pt x="30" y="133"/>
                  </a:lnTo>
                  <a:lnTo>
                    <a:pt x="36" y="137"/>
                  </a:lnTo>
                  <a:lnTo>
                    <a:pt x="42" y="140"/>
                  </a:lnTo>
                  <a:lnTo>
                    <a:pt x="50" y="142"/>
                  </a:lnTo>
                  <a:lnTo>
                    <a:pt x="57" y="145"/>
                  </a:lnTo>
                  <a:lnTo>
                    <a:pt x="65" y="145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91" y="145"/>
                  </a:lnTo>
                  <a:lnTo>
                    <a:pt x="108" y="141"/>
                  </a:lnTo>
                  <a:lnTo>
                    <a:pt x="122" y="137"/>
                  </a:lnTo>
                  <a:lnTo>
                    <a:pt x="134" y="131"/>
                  </a:lnTo>
                  <a:lnTo>
                    <a:pt x="134" y="230"/>
                  </a:lnTo>
                  <a:lnTo>
                    <a:pt x="179" y="230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2" name="Freeform 151"/>
            <p:cNvSpPr>
              <a:spLocks/>
            </p:cNvSpPr>
            <p:nvPr userDrawn="1"/>
          </p:nvSpPr>
          <p:spPr bwMode="auto">
            <a:xfrm>
              <a:off x="3775075" y="6365876"/>
              <a:ext cx="117475" cy="90488"/>
            </a:xfrm>
            <a:custGeom>
              <a:avLst/>
              <a:gdLst>
                <a:gd name="T0" fmla="*/ 294 w 294"/>
                <a:gd name="T1" fmla="*/ 0 h 230"/>
                <a:gd name="T2" fmla="*/ 249 w 294"/>
                <a:gd name="T3" fmla="*/ 0 h 230"/>
                <a:gd name="T4" fmla="*/ 249 w 294"/>
                <a:gd name="T5" fmla="*/ 190 h 230"/>
                <a:gd name="T6" fmla="*/ 169 w 294"/>
                <a:gd name="T7" fmla="*/ 190 h 230"/>
                <a:gd name="T8" fmla="*/ 169 w 294"/>
                <a:gd name="T9" fmla="*/ 0 h 230"/>
                <a:gd name="T10" fmla="*/ 125 w 294"/>
                <a:gd name="T11" fmla="*/ 0 h 230"/>
                <a:gd name="T12" fmla="*/ 125 w 294"/>
                <a:gd name="T13" fmla="*/ 190 h 230"/>
                <a:gd name="T14" fmla="*/ 45 w 294"/>
                <a:gd name="T15" fmla="*/ 190 h 230"/>
                <a:gd name="T16" fmla="*/ 45 w 294"/>
                <a:gd name="T17" fmla="*/ 0 h 230"/>
                <a:gd name="T18" fmla="*/ 0 w 294"/>
                <a:gd name="T19" fmla="*/ 0 h 230"/>
                <a:gd name="T20" fmla="*/ 0 w 294"/>
                <a:gd name="T21" fmla="*/ 230 h 230"/>
                <a:gd name="T22" fmla="*/ 294 w 294"/>
                <a:gd name="T23" fmla="*/ 230 h 230"/>
                <a:gd name="T24" fmla="*/ 294 w 29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230">
                  <a:moveTo>
                    <a:pt x="294" y="0"/>
                  </a:moveTo>
                  <a:lnTo>
                    <a:pt x="249" y="0"/>
                  </a:lnTo>
                  <a:lnTo>
                    <a:pt x="249" y="190"/>
                  </a:lnTo>
                  <a:lnTo>
                    <a:pt x="169" y="190"/>
                  </a:lnTo>
                  <a:lnTo>
                    <a:pt x="169" y="0"/>
                  </a:lnTo>
                  <a:lnTo>
                    <a:pt x="125" y="0"/>
                  </a:lnTo>
                  <a:lnTo>
                    <a:pt x="125" y="190"/>
                  </a:lnTo>
                  <a:lnTo>
                    <a:pt x="45" y="19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294" y="23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3" name="Freeform 152"/>
            <p:cNvSpPr>
              <a:spLocks noEditPoints="1"/>
            </p:cNvSpPr>
            <p:nvPr userDrawn="1"/>
          </p:nvSpPr>
          <p:spPr bwMode="auto">
            <a:xfrm>
              <a:off x="3910013" y="6362701"/>
              <a:ext cx="74613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7 h 239"/>
                <a:gd name="T4" fmla="*/ 183 w 187"/>
                <a:gd name="T5" fmla="*/ 50 h 239"/>
                <a:gd name="T6" fmla="*/ 177 w 187"/>
                <a:gd name="T7" fmla="*/ 36 h 239"/>
                <a:gd name="T8" fmla="*/ 169 w 187"/>
                <a:gd name="T9" fmla="*/ 24 h 239"/>
                <a:gd name="T10" fmla="*/ 157 w 187"/>
                <a:gd name="T11" fmla="*/ 14 h 239"/>
                <a:gd name="T12" fmla="*/ 144 w 187"/>
                <a:gd name="T13" fmla="*/ 7 h 239"/>
                <a:gd name="T14" fmla="*/ 128 w 187"/>
                <a:gd name="T15" fmla="*/ 2 h 239"/>
                <a:gd name="T16" fmla="*/ 110 w 187"/>
                <a:gd name="T17" fmla="*/ 0 h 239"/>
                <a:gd name="T18" fmla="*/ 101 w 187"/>
                <a:gd name="T19" fmla="*/ 0 h 239"/>
                <a:gd name="T20" fmla="*/ 78 w 187"/>
                <a:gd name="T21" fmla="*/ 1 h 239"/>
                <a:gd name="T22" fmla="*/ 58 w 187"/>
                <a:gd name="T23" fmla="*/ 5 h 239"/>
                <a:gd name="T24" fmla="*/ 40 w 187"/>
                <a:gd name="T25" fmla="*/ 11 h 239"/>
                <a:gd name="T26" fmla="*/ 23 w 187"/>
                <a:gd name="T27" fmla="*/ 20 h 239"/>
                <a:gd name="T28" fmla="*/ 40 w 187"/>
                <a:gd name="T29" fmla="*/ 54 h 239"/>
                <a:gd name="T30" fmla="*/ 68 w 187"/>
                <a:gd name="T31" fmla="*/ 43 h 239"/>
                <a:gd name="T32" fmla="*/ 100 w 187"/>
                <a:gd name="T33" fmla="*/ 40 h 239"/>
                <a:gd name="T34" fmla="*/ 110 w 187"/>
                <a:gd name="T35" fmla="*/ 41 h 239"/>
                <a:gd name="T36" fmla="*/ 126 w 187"/>
                <a:gd name="T37" fmla="*/ 46 h 239"/>
                <a:gd name="T38" fmla="*/ 137 w 187"/>
                <a:gd name="T39" fmla="*/ 56 h 239"/>
                <a:gd name="T40" fmla="*/ 142 w 187"/>
                <a:gd name="T41" fmla="*/ 70 h 239"/>
                <a:gd name="T42" fmla="*/ 143 w 187"/>
                <a:gd name="T43" fmla="*/ 96 h 239"/>
                <a:gd name="T44" fmla="*/ 134 w 187"/>
                <a:gd name="T45" fmla="*/ 92 h 239"/>
                <a:gd name="T46" fmla="*/ 109 w 187"/>
                <a:gd name="T47" fmla="*/ 88 h 239"/>
                <a:gd name="T48" fmla="*/ 92 w 187"/>
                <a:gd name="T49" fmla="*/ 87 h 239"/>
                <a:gd name="T50" fmla="*/ 64 w 187"/>
                <a:gd name="T51" fmla="*/ 89 h 239"/>
                <a:gd name="T52" fmla="*/ 48 w 187"/>
                <a:gd name="T53" fmla="*/ 94 h 239"/>
                <a:gd name="T54" fmla="*/ 33 w 187"/>
                <a:gd name="T55" fmla="*/ 101 h 239"/>
                <a:gd name="T56" fmla="*/ 21 w 187"/>
                <a:gd name="T57" fmla="*/ 110 h 239"/>
                <a:gd name="T58" fmla="*/ 11 w 187"/>
                <a:gd name="T59" fmla="*/ 121 h 239"/>
                <a:gd name="T60" fmla="*/ 4 w 187"/>
                <a:gd name="T61" fmla="*/ 135 h 239"/>
                <a:gd name="T62" fmla="*/ 0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7 w 187"/>
                <a:gd name="T73" fmla="*/ 222 h 239"/>
                <a:gd name="T74" fmla="*/ 39 w 187"/>
                <a:gd name="T75" fmla="*/ 230 h 239"/>
                <a:gd name="T76" fmla="*/ 52 w 187"/>
                <a:gd name="T77" fmla="*/ 235 h 239"/>
                <a:gd name="T78" fmla="*/ 80 w 187"/>
                <a:gd name="T79" fmla="*/ 239 h 239"/>
                <a:gd name="T80" fmla="*/ 91 w 187"/>
                <a:gd name="T81" fmla="*/ 239 h 239"/>
                <a:gd name="T82" fmla="*/ 109 w 187"/>
                <a:gd name="T83" fmla="*/ 234 h 239"/>
                <a:gd name="T84" fmla="*/ 116 w 187"/>
                <a:gd name="T85" fmla="*/ 231 h 239"/>
                <a:gd name="T86" fmla="*/ 135 w 187"/>
                <a:gd name="T87" fmla="*/ 219 h 239"/>
                <a:gd name="T88" fmla="*/ 143 w 187"/>
                <a:gd name="T89" fmla="*/ 235 h 239"/>
                <a:gd name="T90" fmla="*/ 143 w 187"/>
                <a:gd name="T91" fmla="*/ 170 h 239"/>
                <a:gd name="T92" fmla="*/ 139 w 187"/>
                <a:gd name="T93" fmla="*/ 175 h 239"/>
                <a:gd name="T94" fmla="*/ 127 w 187"/>
                <a:gd name="T95" fmla="*/ 185 h 239"/>
                <a:gd name="T96" fmla="*/ 113 w 187"/>
                <a:gd name="T97" fmla="*/ 193 h 239"/>
                <a:gd name="T98" fmla="*/ 96 w 187"/>
                <a:gd name="T99" fmla="*/ 198 h 239"/>
                <a:gd name="T100" fmla="*/ 88 w 187"/>
                <a:gd name="T101" fmla="*/ 199 h 239"/>
                <a:gd name="T102" fmla="*/ 69 w 187"/>
                <a:gd name="T103" fmla="*/ 196 h 239"/>
                <a:gd name="T104" fmla="*/ 56 w 187"/>
                <a:gd name="T105" fmla="*/ 190 h 239"/>
                <a:gd name="T106" fmla="*/ 51 w 187"/>
                <a:gd name="T107" fmla="*/ 185 h 239"/>
                <a:gd name="T108" fmla="*/ 45 w 187"/>
                <a:gd name="T109" fmla="*/ 170 h 239"/>
                <a:gd name="T110" fmla="*/ 44 w 187"/>
                <a:gd name="T111" fmla="*/ 161 h 239"/>
                <a:gd name="T112" fmla="*/ 47 w 187"/>
                <a:gd name="T113" fmla="*/ 146 h 239"/>
                <a:gd name="T114" fmla="*/ 56 w 187"/>
                <a:gd name="T115" fmla="*/ 135 h 239"/>
                <a:gd name="T116" fmla="*/ 71 w 187"/>
                <a:gd name="T117" fmla="*/ 128 h 239"/>
                <a:gd name="T118" fmla="*/ 91 w 187"/>
                <a:gd name="T119" fmla="*/ 126 h 239"/>
                <a:gd name="T120" fmla="*/ 108 w 187"/>
                <a:gd name="T121" fmla="*/ 126 h 239"/>
                <a:gd name="T122" fmla="*/ 121 w 187"/>
                <a:gd name="T123" fmla="*/ 128 h 239"/>
                <a:gd name="T124" fmla="*/ 143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7"/>
                  </a:lnTo>
                  <a:lnTo>
                    <a:pt x="185" y="58"/>
                  </a:lnTo>
                  <a:lnTo>
                    <a:pt x="183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9" y="24"/>
                  </a:lnTo>
                  <a:lnTo>
                    <a:pt x="163" y="19"/>
                  </a:lnTo>
                  <a:lnTo>
                    <a:pt x="157" y="14"/>
                  </a:lnTo>
                  <a:lnTo>
                    <a:pt x="151" y="10"/>
                  </a:lnTo>
                  <a:lnTo>
                    <a:pt x="144" y="7"/>
                  </a:lnTo>
                  <a:lnTo>
                    <a:pt x="136" y="5"/>
                  </a:lnTo>
                  <a:lnTo>
                    <a:pt x="128" y="2"/>
                  </a:lnTo>
                  <a:lnTo>
                    <a:pt x="119" y="1"/>
                  </a:lnTo>
                  <a:lnTo>
                    <a:pt x="110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89" y="0"/>
                  </a:lnTo>
                  <a:lnTo>
                    <a:pt x="78" y="1"/>
                  </a:lnTo>
                  <a:lnTo>
                    <a:pt x="68" y="3"/>
                  </a:lnTo>
                  <a:lnTo>
                    <a:pt x="58" y="5"/>
                  </a:lnTo>
                  <a:lnTo>
                    <a:pt x="49" y="8"/>
                  </a:lnTo>
                  <a:lnTo>
                    <a:pt x="40" y="11"/>
                  </a:lnTo>
                  <a:lnTo>
                    <a:pt x="31" y="16"/>
                  </a:lnTo>
                  <a:lnTo>
                    <a:pt x="23" y="20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54" y="48"/>
                  </a:lnTo>
                  <a:lnTo>
                    <a:pt x="68" y="43"/>
                  </a:lnTo>
                  <a:lnTo>
                    <a:pt x="83" y="41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10" y="41"/>
                  </a:lnTo>
                  <a:lnTo>
                    <a:pt x="118" y="43"/>
                  </a:lnTo>
                  <a:lnTo>
                    <a:pt x="126" y="46"/>
                  </a:lnTo>
                  <a:lnTo>
                    <a:pt x="132" y="50"/>
                  </a:lnTo>
                  <a:lnTo>
                    <a:pt x="137" y="56"/>
                  </a:lnTo>
                  <a:lnTo>
                    <a:pt x="140" y="62"/>
                  </a:lnTo>
                  <a:lnTo>
                    <a:pt x="142" y="70"/>
                  </a:lnTo>
                  <a:lnTo>
                    <a:pt x="143" y="79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34" y="92"/>
                  </a:lnTo>
                  <a:lnTo>
                    <a:pt x="122" y="89"/>
                  </a:lnTo>
                  <a:lnTo>
                    <a:pt x="109" y="88"/>
                  </a:lnTo>
                  <a:lnTo>
                    <a:pt x="92" y="87"/>
                  </a:lnTo>
                  <a:lnTo>
                    <a:pt x="92" y="87"/>
                  </a:lnTo>
                  <a:lnTo>
                    <a:pt x="73" y="88"/>
                  </a:lnTo>
                  <a:lnTo>
                    <a:pt x="64" y="89"/>
                  </a:lnTo>
                  <a:lnTo>
                    <a:pt x="56" y="91"/>
                  </a:lnTo>
                  <a:lnTo>
                    <a:pt x="48" y="94"/>
                  </a:lnTo>
                  <a:lnTo>
                    <a:pt x="40" y="97"/>
                  </a:lnTo>
                  <a:lnTo>
                    <a:pt x="33" y="101"/>
                  </a:lnTo>
                  <a:lnTo>
                    <a:pt x="27" y="105"/>
                  </a:lnTo>
                  <a:lnTo>
                    <a:pt x="21" y="110"/>
                  </a:lnTo>
                  <a:lnTo>
                    <a:pt x="15" y="115"/>
                  </a:lnTo>
                  <a:lnTo>
                    <a:pt x="11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2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1" y="217"/>
                  </a:lnTo>
                  <a:lnTo>
                    <a:pt x="27" y="222"/>
                  </a:lnTo>
                  <a:lnTo>
                    <a:pt x="33" y="226"/>
                  </a:lnTo>
                  <a:lnTo>
                    <a:pt x="39" y="230"/>
                  </a:lnTo>
                  <a:lnTo>
                    <a:pt x="45" y="233"/>
                  </a:lnTo>
                  <a:lnTo>
                    <a:pt x="52" y="235"/>
                  </a:lnTo>
                  <a:lnTo>
                    <a:pt x="66" y="238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91" y="239"/>
                  </a:lnTo>
                  <a:lnTo>
                    <a:pt x="101" y="237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4"/>
                  </a:lnTo>
                  <a:lnTo>
                    <a:pt x="135" y="219"/>
                  </a:lnTo>
                  <a:lnTo>
                    <a:pt x="143" y="212"/>
                  </a:lnTo>
                  <a:lnTo>
                    <a:pt x="143" y="235"/>
                  </a:lnTo>
                  <a:lnTo>
                    <a:pt x="187" y="235"/>
                  </a:lnTo>
                  <a:close/>
                  <a:moveTo>
                    <a:pt x="143" y="170"/>
                  </a:moveTo>
                  <a:lnTo>
                    <a:pt x="143" y="170"/>
                  </a:lnTo>
                  <a:lnTo>
                    <a:pt x="139" y="175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1" y="190"/>
                  </a:lnTo>
                  <a:lnTo>
                    <a:pt x="113" y="193"/>
                  </a:lnTo>
                  <a:lnTo>
                    <a:pt x="105" y="196"/>
                  </a:lnTo>
                  <a:lnTo>
                    <a:pt x="96" y="198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78" y="198"/>
                  </a:lnTo>
                  <a:lnTo>
                    <a:pt x="69" y="196"/>
                  </a:lnTo>
                  <a:lnTo>
                    <a:pt x="62" y="194"/>
                  </a:lnTo>
                  <a:lnTo>
                    <a:pt x="56" y="190"/>
                  </a:lnTo>
                  <a:lnTo>
                    <a:pt x="56" y="190"/>
                  </a:lnTo>
                  <a:lnTo>
                    <a:pt x="51" y="185"/>
                  </a:lnTo>
                  <a:lnTo>
                    <a:pt x="47" y="178"/>
                  </a:lnTo>
                  <a:lnTo>
                    <a:pt x="45" y="170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53"/>
                  </a:lnTo>
                  <a:lnTo>
                    <a:pt x="47" y="146"/>
                  </a:lnTo>
                  <a:lnTo>
                    <a:pt x="51" y="140"/>
                  </a:lnTo>
                  <a:lnTo>
                    <a:pt x="56" y="135"/>
                  </a:lnTo>
                  <a:lnTo>
                    <a:pt x="63" y="131"/>
                  </a:lnTo>
                  <a:lnTo>
                    <a:pt x="71" y="128"/>
                  </a:lnTo>
                  <a:lnTo>
                    <a:pt x="80" y="126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108" y="126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31" y="131"/>
                  </a:lnTo>
                  <a:lnTo>
                    <a:pt x="143" y="136"/>
                  </a:lnTo>
                  <a:lnTo>
                    <a:pt x="143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4" name="Freeform 153"/>
            <p:cNvSpPr>
              <a:spLocks noEditPoints="1"/>
            </p:cNvSpPr>
            <p:nvPr userDrawn="1"/>
          </p:nvSpPr>
          <p:spPr bwMode="auto">
            <a:xfrm>
              <a:off x="4002088" y="6362701"/>
              <a:ext cx="79375" cy="95250"/>
            </a:xfrm>
            <a:custGeom>
              <a:avLst/>
              <a:gdLst>
                <a:gd name="T0" fmla="*/ 197 w 197"/>
                <a:gd name="T1" fmla="*/ 114 h 239"/>
                <a:gd name="T2" fmla="*/ 196 w 197"/>
                <a:gd name="T3" fmla="*/ 92 h 239"/>
                <a:gd name="T4" fmla="*/ 191 w 197"/>
                <a:gd name="T5" fmla="*/ 70 h 239"/>
                <a:gd name="T6" fmla="*/ 184 w 197"/>
                <a:gd name="T7" fmla="*/ 51 h 239"/>
                <a:gd name="T8" fmla="*/ 173 w 197"/>
                <a:gd name="T9" fmla="*/ 34 h 239"/>
                <a:gd name="T10" fmla="*/ 160 w 197"/>
                <a:gd name="T11" fmla="*/ 20 h 239"/>
                <a:gd name="T12" fmla="*/ 143 w 197"/>
                <a:gd name="T13" fmla="*/ 9 h 239"/>
                <a:gd name="T14" fmla="*/ 123 w 197"/>
                <a:gd name="T15" fmla="*/ 2 h 239"/>
                <a:gd name="T16" fmla="*/ 101 w 197"/>
                <a:gd name="T17" fmla="*/ 0 h 239"/>
                <a:gd name="T18" fmla="*/ 90 w 197"/>
                <a:gd name="T19" fmla="*/ 0 h 239"/>
                <a:gd name="T20" fmla="*/ 69 w 197"/>
                <a:gd name="T21" fmla="*/ 4 h 239"/>
                <a:gd name="T22" fmla="*/ 51 w 197"/>
                <a:gd name="T23" fmla="*/ 12 h 239"/>
                <a:gd name="T24" fmla="*/ 35 w 197"/>
                <a:gd name="T25" fmla="*/ 23 h 239"/>
                <a:gd name="T26" fmla="*/ 22 w 197"/>
                <a:gd name="T27" fmla="*/ 38 h 239"/>
                <a:gd name="T28" fmla="*/ 12 w 197"/>
                <a:gd name="T29" fmla="*/ 57 h 239"/>
                <a:gd name="T30" fmla="*/ 5 w 197"/>
                <a:gd name="T31" fmla="*/ 79 h 239"/>
                <a:gd name="T32" fmla="*/ 1 w 197"/>
                <a:gd name="T33" fmla="*/ 105 h 239"/>
                <a:gd name="T34" fmla="*/ 0 w 197"/>
                <a:gd name="T35" fmla="*/ 119 h 239"/>
                <a:gd name="T36" fmla="*/ 2 w 197"/>
                <a:gd name="T37" fmla="*/ 147 h 239"/>
                <a:gd name="T38" fmla="*/ 9 w 197"/>
                <a:gd name="T39" fmla="*/ 173 h 239"/>
                <a:gd name="T40" fmla="*/ 19 w 197"/>
                <a:gd name="T41" fmla="*/ 193 h 239"/>
                <a:gd name="T42" fmla="*/ 30 w 197"/>
                <a:gd name="T43" fmla="*/ 209 h 239"/>
                <a:gd name="T44" fmla="*/ 37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9 h 239"/>
                <a:gd name="T52" fmla="*/ 99 w 197"/>
                <a:gd name="T53" fmla="*/ 239 h 239"/>
                <a:gd name="T54" fmla="*/ 125 w 197"/>
                <a:gd name="T55" fmla="*/ 237 h 239"/>
                <a:gd name="T56" fmla="*/ 145 w 197"/>
                <a:gd name="T57" fmla="*/ 231 h 239"/>
                <a:gd name="T58" fmla="*/ 154 w 197"/>
                <a:gd name="T59" fmla="*/ 227 h 239"/>
                <a:gd name="T60" fmla="*/ 170 w 197"/>
                <a:gd name="T61" fmla="*/ 217 h 239"/>
                <a:gd name="T62" fmla="*/ 152 w 197"/>
                <a:gd name="T63" fmla="*/ 180 h 239"/>
                <a:gd name="T64" fmla="*/ 139 w 197"/>
                <a:gd name="T65" fmla="*/ 188 h 239"/>
                <a:gd name="T66" fmla="*/ 129 w 197"/>
                <a:gd name="T67" fmla="*/ 194 h 239"/>
                <a:gd name="T68" fmla="*/ 116 w 197"/>
                <a:gd name="T69" fmla="*/ 197 h 239"/>
                <a:gd name="T70" fmla="*/ 102 w 197"/>
                <a:gd name="T71" fmla="*/ 199 h 239"/>
                <a:gd name="T72" fmla="*/ 92 w 197"/>
                <a:gd name="T73" fmla="*/ 198 h 239"/>
                <a:gd name="T74" fmla="*/ 73 w 197"/>
                <a:gd name="T75" fmla="*/ 191 h 239"/>
                <a:gd name="T76" fmla="*/ 58 w 197"/>
                <a:gd name="T77" fmla="*/ 175 h 239"/>
                <a:gd name="T78" fmla="*/ 47 w 197"/>
                <a:gd name="T79" fmla="*/ 151 h 239"/>
                <a:gd name="T80" fmla="*/ 196 w 197"/>
                <a:gd name="T81" fmla="*/ 135 h 239"/>
                <a:gd name="T82" fmla="*/ 196 w 197"/>
                <a:gd name="T83" fmla="*/ 126 h 239"/>
                <a:gd name="T84" fmla="*/ 197 w 197"/>
                <a:gd name="T85" fmla="*/ 114 h 239"/>
                <a:gd name="T86" fmla="*/ 45 w 197"/>
                <a:gd name="T87" fmla="*/ 98 h 239"/>
                <a:gd name="T88" fmla="*/ 51 w 197"/>
                <a:gd name="T89" fmla="*/ 73 h 239"/>
                <a:gd name="T90" fmla="*/ 61 w 197"/>
                <a:gd name="T91" fmla="*/ 55 h 239"/>
                <a:gd name="T92" fmla="*/ 77 w 197"/>
                <a:gd name="T93" fmla="*/ 44 h 239"/>
                <a:gd name="T94" fmla="*/ 98 w 197"/>
                <a:gd name="T95" fmla="*/ 40 h 239"/>
                <a:gd name="T96" fmla="*/ 104 w 197"/>
                <a:gd name="T97" fmla="*/ 41 h 239"/>
                <a:gd name="T98" fmla="*/ 116 w 197"/>
                <a:gd name="T99" fmla="*/ 43 h 239"/>
                <a:gd name="T100" fmla="*/ 126 w 197"/>
                <a:gd name="T101" fmla="*/ 47 h 239"/>
                <a:gd name="T102" fmla="*/ 138 w 197"/>
                <a:gd name="T103" fmla="*/ 57 h 239"/>
                <a:gd name="T104" fmla="*/ 147 w 197"/>
                <a:gd name="T105" fmla="*/ 76 h 239"/>
                <a:gd name="T106" fmla="*/ 152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4"/>
                  </a:moveTo>
                  <a:lnTo>
                    <a:pt x="197" y="114"/>
                  </a:lnTo>
                  <a:lnTo>
                    <a:pt x="197" y="103"/>
                  </a:lnTo>
                  <a:lnTo>
                    <a:pt x="196" y="92"/>
                  </a:lnTo>
                  <a:lnTo>
                    <a:pt x="194" y="81"/>
                  </a:lnTo>
                  <a:lnTo>
                    <a:pt x="191" y="70"/>
                  </a:lnTo>
                  <a:lnTo>
                    <a:pt x="188" y="60"/>
                  </a:lnTo>
                  <a:lnTo>
                    <a:pt x="184" y="51"/>
                  </a:lnTo>
                  <a:lnTo>
                    <a:pt x="179" y="42"/>
                  </a:lnTo>
                  <a:lnTo>
                    <a:pt x="173" y="34"/>
                  </a:lnTo>
                  <a:lnTo>
                    <a:pt x="167" y="26"/>
                  </a:lnTo>
                  <a:lnTo>
                    <a:pt x="160" y="20"/>
                  </a:lnTo>
                  <a:lnTo>
                    <a:pt x="152" y="14"/>
                  </a:lnTo>
                  <a:lnTo>
                    <a:pt x="143" y="9"/>
                  </a:lnTo>
                  <a:lnTo>
                    <a:pt x="134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2" y="38"/>
                  </a:lnTo>
                  <a:lnTo>
                    <a:pt x="16" y="47"/>
                  </a:lnTo>
                  <a:lnTo>
                    <a:pt x="12" y="57"/>
                  </a:lnTo>
                  <a:lnTo>
                    <a:pt x="8" y="68"/>
                  </a:lnTo>
                  <a:lnTo>
                    <a:pt x="5" y="79"/>
                  </a:lnTo>
                  <a:lnTo>
                    <a:pt x="2" y="92"/>
                  </a:lnTo>
                  <a:lnTo>
                    <a:pt x="1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4" y="184"/>
                  </a:lnTo>
                  <a:lnTo>
                    <a:pt x="19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7" y="215"/>
                  </a:lnTo>
                  <a:lnTo>
                    <a:pt x="44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5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7"/>
                  </a:lnTo>
                  <a:lnTo>
                    <a:pt x="178" y="209"/>
                  </a:lnTo>
                  <a:lnTo>
                    <a:pt x="152" y="180"/>
                  </a:lnTo>
                  <a:lnTo>
                    <a:pt x="152" y="180"/>
                  </a:lnTo>
                  <a:lnTo>
                    <a:pt x="139" y="188"/>
                  </a:lnTo>
                  <a:lnTo>
                    <a:pt x="129" y="194"/>
                  </a:lnTo>
                  <a:lnTo>
                    <a:pt x="129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92" y="198"/>
                  </a:lnTo>
                  <a:lnTo>
                    <a:pt x="82" y="195"/>
                  </a:lnTo>
                  <a:lnTo>
                    <a:pt x="73" y="191"/>
                  </a:lnTo>
                  <a:lnTo>
                    <a:pt x="65" y="184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6" y="135"/>
                  </a:lnTo>
                  <a:lnTo>
                    <a:pt x="196" y="135"/>
                  </a:lnTo>
                  <a:lnTo>
                    <a:pt x="196" y="126"/>
                  </a:lnTo>
                  <a:lnTo>
                    <a:pt x="197" y="114"/>
                  </a:lnTo>
                  <a:lnTo>
                    <a:pt x="197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1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7" y="44"/>
                  </a:lnTo>
                  <a:lnTo>
                    <a:pt x="87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8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2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5" name="Freeform 154"/>
            <p:cNvSpPr>
              <a:spLocks/>
            </p:cNvSpPr>
            <p:nvPr userDrawn="1"/>
          </p:nvSpPr>
          <p:spPr bwMode="auto">
            <a:xfrm>
              <a:off x="4100513" y="6365876"/>
              <a:ext cx="88900" cy="92075"/>
            </a:xfrm>
            <a:custGeom>
              <a:avLst/>
              <a:gdLst>
                <a:gd name="T0" fmla="*/ 226 w 226"/>
                <a:gd name="T1" fmla="*/ 230 h 233"/>
                <a:gd name="T2" fmla="*/ 226 w 226"/>
                <a:gd name="T3" fmla="*/ 0 h 233"/>
                <a:gd name="T4" fmla="*/ 177 w 226"/>
                <a:gd name="T5" fmla="*/ 0 h 233"/>
                <a:gd name="T6" fmla="*/ 128 w 226"/>
                <a:gd name="T7" fmla="*/ 111 h 233"/>
                <a:gd name="T8" fmla="*/ 128 w 226"/>
                <a:gd name="T9" fmla="*/ 111 h 233"/>
                <a:gd name="T10" fmla="*/ 113 w 226"/>
                <a:gd name="T11" fmla="*/ 151 h 233"/>
                <a:gd name="T12" fmla="*/ 113 w 226"/>
                <a:gd name="T13" fmla="*/ 151 h 233"/>
                <a:gd name="T14" fmla="*/ 107 w 226"/>
                <a:gd name="T15" fmla="*/ 132 h 233"/>
                <a:gd name="T16" fmla="*/ 98 w 226"/>
                <a:gd name="T17" fmla="*/ 111 h 233"/>
                <a:gd name="T18" fmla="*/ 49 w 226"/>
                <a:gd name="T19" fmla="*/ 0 h 233"/>
                <a:gd name="T20" fmla="*/ 0 w 226"/>
                <a:gd name="T21" fmla="*/ 0 h 233"/>
                <a:gd name="T22" fmla="*/ 0 w 226"/>
                <a:gd name="T23" fmla="*/ 230 h 233"/>
                <a:gd name="T24" fmla="*/ 43 w 226"/>
                <a:gd name="T25" fmla="*/ 230 h 233"/>
                <a:gd name="T26" fmla="*/ 43 w 226"/>
                <a:gd name="T27" fmla="*/ 110 h 233"/>
                <a:gd name="T28" fmla="*/ 43 w 226"/>
                <a:gd name="T29" fmla="*/ 110 h 233"/>
                <a:gd name="T30" fmla="*/ 42 w 226"/>
                <a:gd name="T31" fmla="*/ 69 h 233"/>
                <a:gd name="T32" fmla="*/ 42 w 226"/>
                <a:gd name="T33" fmla="*/ 69 h 233"/>
                <a:gd name="T34" fmla="*/ 48 w 226"/>
                <a:gd name="T35" fmla="*/ 85 h 233"/>
                <a:gd name="T36" fmla="*/ 57 w 226"/>
                <a:gd name="T37" fmla="*/ 106 h 233"/>
                <a:gd name="T38" fmla="*/ 112 w 226"/>
                <a:gd name="T39" fmla="*/ 233 h 233"/>
                <a:gd name="T40" fmla="*/ 167 w 226"/>
                <a:gd name="T41" fmla="*/ 106 h 233"/>
                <a:gd name="T42" fmla="*/ 167 w 226"/>
                <a:gd name="T43" fmla="*/ 106 h 233"/>
                <a:gd name="T44" fmla="*/ 176 w 226"/>
                <a:gd name="T45" fmla="*/ 85 h 233"/>
                <a:gd name="T46" fmla="*/ 182 w 226"/>
                <a:gd name="T47" fmla="*/ 69 h 233"/>
                <a:gd name="T48" fmla="*/ 182 w 226"/>
                <a:gd name="T49" fmla="*/ 69 h 233"/>
                <a:gd name="T50" fmla="*/ 181 w 226"/>
                <a:gd name="T51" fmla="*/ 110 h 233"/>
                <a:gd name="T52" fmla="*/ 181 w 226"/>
                <a:gd name="T53" fmla="*/ 230 h 233"/>
                <a:gd name="T54" fmla="*/ 226 w 226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6" h="233">
                  <a:moveTo>
                    <a:pt x="226" y="230"/>
                  </a:moveTo>
                  <a:lnTo>
                    <a:pt x="226" y="0"/>
                  </a:lnTo>
                  <a:lnTo>
                    <a:pt x="177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7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76" y="85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1" y="110"/>
                  </a:lnTo>
                  <a:lnTo>
                    <a:pt x="181" y="230"/>
                  </a:lnTo>
                  <a:lnTo>
                    <a:pt x="226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6" name="Freeform 155"/>
            <p:cNvSpPr>
              <a:spLocks/>
            </p:cNvSpPr>
            <p:nvPr userDrawn="1"/>
          </p:nvSpPr>
          <p:spPr bwMode="auto">
            <a:xfrm>
              <a:off x="4256088" y="6365876"/>
              <a:ext cx="88900" cy="92075"/>
            </a:xfrm>
            <a:custGeom>
              <a:avLst/>
              <a:gdLst>
                <a:gd name="T0" fmla="*/ 227 w 227"/>
                <a:gd name="T1" fmla="*/ 230 h 233"/>
                <a:gd name="T2" fmla="*/ 227 w 227"/>
                <a:gd name="T3" fmla="*/ 0 h 233"/>
                <a:gd name="T4" fmla="*/ 178 w 227"/>
                <a:gd name="T5" fmla="*/ 0 h 233"/>
                <a:gd name="T6" fmla="*/ 128 w 227"/>
                <a:gd name="T7" fmla="*/ 111 h 233"/>
                <a:gd name="T8" fmla="*/ 128 w 227"/>
                <a:gd name="T9" fmla="*/ 111 h 233"/>
                <a:gd name="T10" fmla="*/ 113 w 227"/>
                <a:gd name="T11" fmla="*/ 151 h 233"/>
                <a:gd name="T12" fmla="*/ 113 w 227"/>
                <a:gd name="T13" fmla="*/ 151 h 233"/>
                <a:gd name="T14" fmla="*/ 106 w 227"/>
                <a:gd name="T15" fmla="*/ 132 h 233"/>
                <a:gd name="T16" fmla="*/ 98 w 227"/>
                <a:gd name="T17" fmla="*/ 111 h 233"/>
                <a:gd name="T18" fmla="*/ 49 w 227"/>
                <a:gd name="T19" fmla="*/ 0 h 233"/>
                <a:gd name="T20" fmla="*/ 0 w 227"/>
                <a:gd name="T21" fmla="*/ 0 h 233"/>
                <a:gd name="T22" fmla="*/ 0 w 227"/>
                <a:gd name="T23" fmla="*/ 230 h 233"/>
                <a:gd name="T24" fmla="*/ 43 w 227"/>
                <a:gd name="T25" fmla="*/ 230 h 233"/>
                <a:gd name="T26" fmla="*/ 43 w 227"/>
                <a:gd name="T27" fmla="*/ 110 h 233"/>
                <a:gd name="T28" fmla="*/ 43 w 227"/>
                <a:gd name="T29" fmla="*/ 110 h 233"/>
                <a:gd name="T30" fmla="*/ 42 w 227"/>
                <a:gd name="T31" fmla="*/ 69 h 233"/>
                <a:gd name="T32" fmla="*/ 42 w 227"/>
                <a:gd name="T33" fmla="*/ 69 h 233"/>
                <a:gd name="T34" fmla="*/ 48 w 227"/>
                <a:gd name="T35" fmla="*/ 85 h 233"/>
                <a:gd name="T36" fmla="*/ 57 w 227"/>
                <a:gd name="T37" fmla="*/ 106 h 233"/>
                <a:gd name="T38" fmla="*/ 112 w 227"/>
                <a:gd name="T39" fmla="*/ 233 h 233"/>
                <a:gd name="T40" fmla="*/ 167 w 227"/>
                <a:gd name="T41" fmla="*/ 106 h 233"/>
                <a:gd name="T42" fmla="*/ 167 w 227"/>
                <a:gd name="T43" fmla="*/ 106 h 233"/>
                <a:gd name="T44" fmla="*/ 177 w 227"/>
                <a:gd name="T45" fmla="*/ 85 h 233"/>
                <a:gd name="T46" fmla="*/ 183 w 227"/>
                <a:gd name="T47" fmla="*/ 69 h 233"/>
                <a:gd name="T48" fmla="*/ 183 w 227"/>
                <a:gd name="T49" fmla="*/ 69 h 233"/>
                <a:gd name="T50" fmla="*/ 182 w 227"/>
                <a:gd name="T51" fmla="*/ 110 h 233"/>
                <a:gd name="T52" fmla="*/ 182 w 227"/>
                <a:gd name="T53" fmla="*/ 230 h 233"/>
                <a:gd name="T54" fmla="*/ 227 w 227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7" h="233">
                  <a:moveTo>
                    <a:pt x="227" y="230"/>
                  </a:moveTo>
                  <a:lnTo>
                    <a:pt x="227" y="0"/>
                  </a:lnTo>
                  <a:lnTo>
                    <a:pt x="178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6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77" y="85"/>
                  </a:lnTo>
                  <a:lnTo>
                    <a:pt x="183" y="69"/>
                  </a:lnTo>
                  <a:lnTo>
                    <a:pt x="183" y="69"/>
                  </a:lnTo>
                  <a:lnTo>
                    <a:pt x="182" y="110"/>
                  </a:lnTo>
                  <a:lnTo>
                    <a:pt x="182" y="230"/>
                  </a:lnTo>
                  <a:lnTo>
                    <a:pt x="227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7" name="Freeform 156"/>
            <p:cNvSpPr>
              <a:spLocks/>
            </p:cNvSpPr>
            <p:nvPr userDrawn="1"/>
          </p:nvSpPr>
          <p:spPr bwMode="auto">
            <a:xfrm>
              <a:off x="4368800" y="6365876"/>
              <a:ext cx="74613" cy="90488"/>
            </a:xfrm>
            <a:custGeom>
              <a:avLst/>
              <a:gdLst>
                <a:gd name="T0" fmla="*/ 0 w 186"/>
                <a:gd name="T1" fmla="*/ 0 h 230"/>
                <a:gd name="T2" fmla="*/ 0 w 186"/>
                <a:gd name="T3" fmla="*/ 230 h 230"/>
                <a:gd name="T4" fmla="*/ 45 w 186"/>
                <a:gd name="T5" fmla="*/ 230 h 230"/>
                <a:gd name="T6" fmla="*/ 124 w 186"/>
                <a:gd name="T7" fmla="*/ 101 h 230"/>
                <a:gd name="T8" fmla="*/ 124 w 186"/>
                <a:gd name="T9" fmla="*/ 101 h 230"/>
                <a:gd name="T10" fmla="*/ 142 w 186"/>
                <a:gd name="T11" fmla="*/ 72 h 230"/>
                <a:gd name="T12" fmla="*/ 142 w 186"/>
                <a:gd name="T13" fmla="*/ 72 h 230"/>
                <a:gd name="T14" fmla="*/ 141 w 186"/>
                <a:gd name="T15" fmla="*/ 120 h 230"/>
                <a:gd name="T16" fmla="*/ 141 w 186"/>
                <a:gd name="T17" fmla="*/ 230 h 230"/>
                <a:gd name="T18" fmla="*/ 186 w 186"/>
                <a:gd name="T19" fmla="*/ 230 h 230"/>
                <a:gd name="T20" fmla="*/ 186 w 186"/>
                <a:gd name="T21" fmla="*/ 0 h 230"/>
                <a:gd name="T22" fmla="*/ 141 w 186"/>
                <a:gd name="T23" fmla="*/ 0 h 230"/>
                <a:gd name="T24" fmla="*/ 62 w 186"/>
                <a:gd name="T25" fmla="*/ 127 h 230"/>
                <a:gd name="T26" fmla="*/ 62 w 186"/>
                <a:gd name="T27" fmla="*/ 127 h 230"/>
                <a:gd name="T28" fmla="*/ 52 w 186"/>
                <a:gd name="T29" fmla="*/ 143 h 230"/>
                <a:gd name="T30" fmla="*/ 44 w 186"/>
                <a:gd name="T31" fmla="*/ 158 h 230"/>
                <a:gd name="T32" fmla="*/ 44 w 186"/>
                <a:gd name="T33" fmla="*/ 158 h 230"/>
                <a:gd name="T34" fmla="*/ 45 w 186"/>
                <a:gd name="T35" fmla="*/ 108 h 230"/>
                <a:gd name="T36" fmla="*/ 45 w 186"/>
                <a:gd name="T37" fmla="*/ 0 h 230"/>
                <a:gd name="T38" fmla="*/ 0 w 186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6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4" y="101"/>
                  </a:lnTo>
                  <a:lnTo>
                    <a:pt x="124" y="101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1" y="120"/>
                  </a:lnTo>
                  <a:lnTo>
                    <a:pt x="141" y="230"/>
                  </a:lnTo>
                  <a:lnTo>
                    <a:pt x="186" y="230"/>
                  </a:lnTo>
                  <a:lnTo>
                    <a:pt x="186" y="0"/>
                  </a:lnTo>
                  <a:lnTo>
                    <a:pt x="141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8" name="Freeform 157"/>
            <p:cNvSpPr>
              <a:spLocks noEditPoints="1"/>
            </p:cNvSpPr>
            <p:nvPr userDrawn="1"/>
          </p:nvSpPr>
          <p:spPr bwMode="auto">
            <a:xfrm>
              <a:off x="4465638" y="6362701"/>
              <a:ext cx="76200" cy="127000"/>
            </a:xfrm>
            <a:custGeom>
              <a:avLst/>
              <a:gdLst>
                <a:gd name="T0" fmla="*/ 194 w 194"/>
                <a:gd name="T1" fmla="*/ 123 h 319"/>
                <a:gd name="T2" fmla="*/ 192 w 194"/>
                <a:gd name="T3" fmla="*/ 92 h 319"/>
                <a:gd name="T4" fmla="*/ 187 w 194"/>
                <a:gd name="T5" fmla="*/ 67 h 319"/>
                <a:gd name="T6" fmla="*/ 179 w 194"/>
                <a:gd name="T7" fmla="*/ 45 h 319"/>
                <a:gd name="T8" fmla="*/ 168 w 194"/>
                <a:gd name="T9" fmla="*/ 28 h 319"/>
                <a:gd name="T10" fmla="*/ 155 w 194"/>
                <a:gd name="T11" fmla="*/ 16 h 319"/>
                <a:gd name="T12" fmla="*/ 140 w 194"/>
                <a:gd name="T13" fmla="*/ 7 h 319"/>
                <a:gd name="T14" fmla="*/ 123 w 194"/>
                <a:gd name="T15" fmla="*/ 2 h 319"/>
                <a:gd name="T16" fmla="*/ 105 w 194"/>
                <a:gd name="T17" fmla="*/ 0 h 319"/>
                <a:gd name="T18" fmla="*/ 96 w 194"/>
                <a:gd name="T19" fmla="*/ 0 h 319"/>
                <a:gd name="T20" fmla="*/ 79 w 194"/>
                <a:gd name="T21" fmla="*/ 4 h 319"/>
                <a:gd name="T22" fmla="*/ 65 w 194"/>
                <a:gd name="T23" fmla="*/ 11 h 319"/>
                <a:gd name="T24" fmla="*/ 45 w 194"/>
                <a:gd name="T25" fmla="*/ 26 h 319"/>
                <a:gd name="T26" fmla="*/ 0 w 194"/>
                <a:gd name="T27" fmla="*/ 5 h 319"/>
                <a:gd name="T28" fmla="*/ 45 w 194"/>
                <a:gd name="T29" fmla="*/ 296 h 319"/>
                <a:gd name="T30" fmla="*/ 45 w 194"/>
                <a:gd name="T31" fmla="*/ 213 h 319"/>
                <a:gd name="T32" fmla="*/ 58 w 194"/>
                <a:gd name="T33" fmla="*/ 225 h 319"/>
                <a:gd name="T34" fmla="*/ 72 w 194"/>
                <a:gd name="T35" fmla="*/ 233 h 319"/>
                <a:gd name="T36" fmla="*/ 87 w 194"/>
                <a:gd name="T37" fmla="*/ 238 h 319"/>
                <a:gd name="T38" fmla="*/ 102 w 194"/>
                <a:gd name="T39" fmla="*/ 239 h 319"/>
                <a:gd name="T40" fmla="*/ 111 w 194"/>
                <a:gd name="T41" fmla="*/ 239 h 319"/>
                <a:gd name="T42" fmla="*/ 129 w 194"/>
                <a:gd name="T43" fmla="*/ 235 h 319"/>
                <a:gd name="T44" fmla="*/ 145 w 194"/>
                <a:gd name="T45" fmla="*/ 228 h 319"/>
                <a:gd name="T46" fmla="*/ 160 w 194"/>
                <a:gd name="T47" fmla="*/ 218 h 319"/>
                <a:gd name="T48" fmla="*/ 172 w 194"/>
                <a:gd name="T49" fmla="*/ 203 h 319"/>
                <a:gd name="T50" fmla="*/ 182 w 194"/>
                <a:gd name="T51" fmla="*/ 185 h 319"/>
                <a:gd name="T52" fmla="*/ 189 w 194"/>
                <a:gd name="T53" fmla="*/ 164 h 319"/>
                <a:gd name="T54" fmla="*/ 193 w 194"/>
                <a:gd name="T55" fmla="*/ 137 h 319"/>
                <a:gd name="T56" fmla="*/ 194 w 194"/>
                <a:gd name="T57" fmla="*/ 123 h 319"/>
                <a:gd name="T58" fmla="*/ 149 w 194"/>
                <a:gd name="T59" fmla="*/ 124 h 319"/>
                <a:gd name="T60" fmla="*/ 146 w 194"/>
                <a:gd name="T61" fmla="*/ 157 h 319"/>
                <a:gd name="T62" fmla="*/ 139 w 194"/>
                <a:gd name="T63" fmla="*/ 175 h 319"/>
                <a:gd name="T64" fmla="*/ 133 w 194"/>
                <a:gd name="T65" fmla="*/ 184 h 319"/>
                <a:gd name="T66" fmla="*/ 125 w 194"/>
                <a:gd name="T67" fmla="*/ 191 h 319"/>
                <a:gd name="T68" fmla="*/ 116 w 194"/>
                <a:gd name="T69" fmla="*/ 195 h 319"/>
                <a:gd name="T70" fmla="*/ 104 w 194"/>
                <a:gd name="T71" fmla="*/ 198 h 319"/>
                <a:gd name="T72" fmla="*/ 98 w 194"/>
                <a:gd name="T73" fmla="*/ 198 h 319"/>
                <a:gd name="T74" fmla="*/ 81 w 194"/>
                <a:gd name="T75" fmla="*/ 195 h 319"/>
                <a:gd name="T76" fmla="*/ 66 w 194"/>
                <a:gd name="T77" fmla="*/ 188 h 319"/>
                <a:gd name="T78" fmla="*/ 54 w 194"/>
                <a:gd name="T79" fmla="*/ 178 h 319"/>
                <a:gd name="T80" fmla="*/ 44 w 194"/>
                <a:gd name="T81" fmla="*/ 168 h 319"/>
                <a:gd name="T82" fmla="*/ 44 w 194"/>
                <a:gd name="T83" fmla="*/ 70 h 319"/>
                <a:gd name="T84" fmla="*/ 56 w 194"/>
                <a:gd name="T85" fmla="*/ 58 h 319"/>
                <a:gd name="T86" fmla="*/ 69 w 194"/>
                <a:gd name="T87" fmla="*/ 49 h 319"/>
                <a:gd name="T88" fmla="*/ 82 w 194"/>
                <a:gd name="T89" fmla="*/ 43 h 319"/>
                <a:gd name="T90" fmla="*/ 96 w 194"/>
                <a:gd name="T91" fmla="*/ 41 h 319"/>
                <a:gd name="T92" fmla="*/ 102 w 194"/>
                <a:gd name="T93" fmla="*/ 42 h 319"/>
                <a:gd name="T94" fmla="*/ 113 w 194"/>
                <a:gd name="T95" fmla="*/ 44 h 319"/>
                <a:gd name="T96" fmla="*/ 124 w 194"/>
                <a:gd name="T97" fmla="*/ 49 h 319"/>
                <a:gd name="T98" fmla="*/ 132 w 194"/>
                <a:gd name="T99" fmla="*/ 56 h 319"/>
                <a:gd name="T100" fmla="*/ 138 w 194"/>
                <a:gd name="T101" fmla="*/ 67 h 319"/>
                <a:gd name="T102" fmla="*/ 145 w 194"/>
                <a:gd name="T103" fmla="*/ 87 h 319"/>
                <a:gd name="T104" fmla="*/ 149 w 194"/>
                <a:gd name="T105" fmla="*/ 124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" h="319">
                  <a:moveTo>
                    <a:pt x="194" y="123"/>
                  </a:moveTo>
                  <a:lnTo>
                    <a:pt x="194" y="123"/>
                  </a:lnTo>
                  <a:lnTo>
                    <a:pt x="193" y="107"/>
                  </a:lnTo>
                  <a:lnTo>
                    <a:pt x="192" y="92"/>
                  </a:lnTo>
                  <a:lnTo>
                    <a:pt x="190" y="79"/>
                  </a:lnTo>
                  <a:lnTo>
                    <a:pt x="187" y="67"/>
                  </a:lnTo>
                  <a:lnTo>
                    <a:pt x="183" y="55"/>
                  </a:lnTo>
                  <a:lnTo>
                    <a:pt x="179" y="45"/>
                  </a:lnTo>
                  <a:lnTo>
                    <a:pt x="174" y="36"/>
                  </a:lnTo>
                  <a:lnTo>
                    <a:pt x="168" y="28"/>
                  </a:lnTo>
                  <a:lnTo>
                    <a:pt x="162" y="22"/>
                  </a:lnTo>
                  <a:lnTo>
                    <a:pt x="155" y="16"/>
                  </a:lnTo>
                  <a:lnTo>
                    <a:pt x="148" y="11"/>
                  </a:lnTo>
                  <a:lnTo>
                    <a:pt x="140" y="7"/>
                  </a:lnTo>
                  <a:lnTo>
                    <a:pt x="132" y="4"/>
                  </a:lnTo>
                  <a:lnTo>
                    <a:pt x="123" y="2"/>
                  </a:lnTo>
                  <a:lnTo>
                    <a:pt x="114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96" y="0"/>
                  </a:lnTo>
                  <a:lnTo>
                    <a:pt x="87" y="2"/>
                  </a:lnTo>
                  <a:lnTo>
                    <a:pt x="79" y="4"/>
                  </a:lnTo>
                  <a:lnTo>
                    <a:pt x="72" y="7"/>
                  </a:lnTo>
                  <a:lnTo>
                    <a:pt x="65" y="11"/>
                  </a:lnTo>
                  <a:lnTo>
                    <a:pt x="58" y="16"/>
                  </a:lnTo>
                  <a:lnTo>
                    <a:pt x="45" y="26"/>
                  </a:lnTo>
                  <a:lnTo>
                    <a:pt x="45" y="5"/>
                  </a:lnTo>
                  <a:lnTo>
                    <a:pt x="0" y="5"/>
                  </a:lnTo>
                  <a:lnTo>
                    <a:pt x="0" y="319"/>
                  </a:lnTo>
                  <a:lnTo>
                    <a:pt x="45" y="296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51" y="219"/>
                  </a:lnTo>
                  <a:lnTo>
                    <a:pt x="58" y="225"/>
                  </a:lnTo>
                  <a:lnTo>
                    <a:pt x="65" y="229"/>
                  </a:lnTo>
                  <a:lnTo>
                    <a:pt x="72" y="233"/>
                  </a:lnTo>
                  <a:lnTo>
                    <a:pt x="80" y="236"/>
                  </a:lnTo>
                  <a:lnTo>
                    <a:pt x="87" y="238"/>
                  </a:lnTo>
                  <a:lnTo>
                    <a:pt x="95" y="239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11" y="239"/>
                  </a:lnTo>
                  <a:lnTo>
                    <a:pt x="121" y="238"/>
                  </a:lnTo>
                  <a:lnTo>
                    <a:pt x="129" y="235"/>
                  </a:lnTo>
                  <a:lnTo>
                    <a:pt x="138" y="232"/>
                  </a:lnTo>
                  <a:lnTo>
                    <a:pt x="145" y="228"/>
                  </a:lnTo>
                  <a:lnTo>
                    <a:pt x="153" y="223"/>
                  </a:lnTo>
                  <a:lnTo>
                    <a:pt x="160" y="218"/>
                  </a:lnTo>
                  <a:lnTo>
                    <a:pt x="166" y="211"/>
                  </a:lnTo>
                  <a:lnTo>
                    <a:pt x="172" y="203"/>
                  </a:lnTo>
                  <a:lnTo>
                    <a:pt x="178" y="195"/>
                  </a:lnTo>
                  <a:lnTo>
                    <a:pt x="182" y="185"/>
                  </a:lnTo>
                  <a:lnTo>
                    <a:pt x="186" y="175"/>
                  </a:lnTo>
                  <a:lnTo>
                    <a:pt x="189" y="164"/>
                  </a:lnTo>
                  <a:lnTo>
                    <a:pt x="192" y="151"/>
                  </a:lnTo>
                  <a:lnTo>
                    <a:pt x="193" y="137"/>
                  </a:lnTo>
                  <a:lnTo>
                    <a:pt x="194" y="123"/>
                  </a:lnTo>
                  <a:lnTo>
                    <a:pt x="194" y="123"/>
                  </a:lnTo>
                  <a:close/>
                  <a:moveTo>
                    <a:pt x="149" y="124"/>
                  </a:moveTo>
                  <a:lnTo>
                    <a:pt x="149" y="124"/>
                  </a:lnTo>
                  <a:lnTo>
                    <a:pt x="148" y="141"/>
                  </a:lnTo>
                  <a:lnTo>
                    <a:pt x="146" y="157"/>
                  </a:lnTo>
                  <a:lnTo>
                    <a:pt x="142" y="169"/>
                  </a:lnTo>
                  <a:lnTo>
                    <a:pt x="139" y="175"/>
                  </a:lnTo>
                  <a:lnTo>
                    <a:pt x="136" y="180"/>
                  </a:lnTo>
                  <a:lnTo>
                    <a:pt x="133" y="184"/>
                  </a:lnTo>
                  <a:lnTo>
                    <a:pt x="129" y="188"/>
                  </a:lnTo>
                  <a:lnTo>
                    <a:pt x="125" y="191"/>
                  </a:lnTo>
                  <a:lnTo>
                    <a:pt x="121" y="193"/>
                  </a:lnTo>
                  <a:lnTo>
                    <a:pt x="116" y="195"/>
                  </a:lnTo>
                  <a:lnTo>
                    <a:pt x="110" y="197"/>
                  </a:lnTo>
                  <a:lnTo>
                    <a:pt x="104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0" y="197"/>
                  </a:lnTo>
                  <a:lnTo>
                    <a:pt x="81" y="195"/>
                  </a:lnTo>
                  <a:lnTo>
                    <a:pt x="74" y="192"/>
                  </a:lnTo>
                  <a:lnTo>
                    <a:pt x="66" y="188"/>
                  </a:lnTo>
                  <a:lnTo>
                    <a:pt x="60" y="183"/>
                  </a:lnTo>
                  <a:lnTo>
                    <a:pt x="54" y="178"/>
                  </a:lnTo>
                  <a:lnTo>
                    <a:pt x="49" y="173"/>
                  </a:lnTo>
                  <a:lnTo>
                    <a:pt x="44" y="168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50" y="64"/>
                  </a:lnTo>
                  <a:lnTo>
                    <a:pt x="56" y="58"/>
                  </a:lnTo>
                  <a:lnTo>
                    <a:pt x="62" y="53"/>
                  </a:lnTo>
                  <a:lnTo>
                    <a:pt x="69" y="49"/>
                  </a:lnTo>
                  <a:lnTo>
                    <a:pt x="75" y="46"/>
                  </a:lnTo>
                  <a:lnTo>
                    <a:pt x="82" y="43"/>
                  </a:lnTo>
                  <a:lnTo>
                    <a:pt x="89" y="42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4" y="49"/>
                  </a:lnTo>
                  <a:lnTo>
                    <a:pt x="128" y="52"/>
                  </a:lnTo>
                  <a:lnTo>
                    <a:pt x="132" y="56"/>
                  </a:lnTo>
                  <a:lnTo>
                    <a:pt x="135" y="61"/>
                  </a:lnTo>
                  <a:lnTo>
                    <a:pt x="138" y="67"/>
                  </a:lnTo>
                  <a:lnTo>
                    <a:pt x="141" y="73"/>
                  </a:lnTo>
                  <a:lnTo>
                    <a:pt x="145" y="87"/>
                  </a:lnTo>
                  <a:lnTo>
                    <a:pt x="148" y="104"/>
                  </a:lnTo>
                  <a:lnTo>
                    <a:pt x="149" y="124"/>
                  </a:lnTo>
                  <a:lnTo>
                    <a:pt x="149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9" name="Freeform 158"/>
            <p:cNvSpPr>
              <a:spLocks/>
            </p:cNvSpPr>
            <p:nvPr userDrawn="1"/>
          </p:nvSpPr>
          <p:spPr bwMode="auto">
            <a:xfrm>
              <a:off x="4560888" y="6430963"/>
              <a:ext cx="26988" cy="26988"/>
            </a:xfrm>
            <a:custGeom>
              <a:avLst/>
              <a:gdLst>
                <a:gd name="T0" fmla="*/ 68 w 68"/>
                <a:gd name="T1" fmla="*/ 35 h 69"/>
                <a:gd name="T2" fmla="*/ 68 w 68"/>
                <a:gd name="T3" fmla="*/ 35 h 69"/>
                <a:gd name="T4" fmla="*/ 68 w 68"/>
                <a:gd name="T5" fmla="*/ 28 h 69"/>
                <a:gd name="T6" fmla="*/ 66 w 68"/>
                <a:gd name="T7" fmla="*/ 21 h 69"/>
                <a:gd name="T8" fmla="*/ 63 w 68"/>
                <a:gd name="T9" fmla="*/ 15 h 69"/>
                <a:gd name="T10" fmla="*/ 58 w 68"/>
                <a:gd name="T11" fmla="*/ 10 h 69"/>
                <a:gd name="T12" fmla="*/ 53 w 68"/>
                <a:gd name="T13" fmla="*/ 6 h 69"/>
                <a:gd name="T14" fmla="*/ 47 w 68"/>
                <a:gd name="T15" fmla="*/ 3 h 69"/>
                <a:gd name="T16" fmla="*/ 41 w 68"/>
                <a:gd name="T17" fmla="*/ 1 h 69"/>
                <a:gd name="T18" fmla="*/ 34 w 68"/>
                <a:gd name="T19" fmla="*/ 0 h 69"/>
                <a:gd name="T20" fmla="*/ 34 w 68"/>
                <a:gd name="T21" fmla="*/ 0 h 69"/>
                <a:gd name="T22" fmla="*/ 27 w 68"/>
                <a:gd name="T23" fmla="*/ 1 h 69"/>
                <a:gd name="T24" fmla="*/ 20 w 68"/>
                <a:gd name="T25" fmla="*/ 3 h 69"/>
                <a:gd name="T26" fmla="*/ 14 w 68"/>
                <a:gd name="T27" fmla="*/ 6 h 69"/>
                <a:gd name="T28" fmla="*/ 9 w 68"/>
                <a:gd name="T29" fmla="*/ 10 h 69"/>
                <a:gd name="T30" fmla="*/ 5 w 68"/>
                <a:gd name="T31" fmla="*/ 15 h 69"/>
                <a:gd name="T32" fmla="*/ 2 w 68"/>
                <a:gd name="T33" fmla="*/ 21 h 69"/>
                <a:gd name="T34" fmla="*/ 0 w 68"/>
                <a:gd name="T35" fmla="*/ 28 h 69"/>
                <a:gd name="T36" fmla="*/ 0 w 68"/>
                <a:gd name="T37" fmla="*/ 35 h 69"/>
                <a:gd name="T38" fmla="*/ 0 w 68"/>
                <a:gd name="T39" fmla="*/ 35 h 69"/>
                <a:gd name="T40" fmla="*/ 0 w 68"/>
                <a:gd name="T41" fmla="*/ 42 h 69"/>
                <a:gd name="T42" fmla="*/ 2 w 68"/>
                <a:gd name="T43" fmla="*/ 49 h 69"/>
                <a:gd name="T44" fmla="*/ 5 w 68"/>
                <a:gd name="T45" fmla="*/ 54 h 69"/>
                <a:gd name="T46" fmla="*/ 9 w 68"/>
                <a:gd name="T47" fmla="*/ 59 h 69"/>
                <a:gd name="T48" fmla="*/ 14 w 68"/>
                <a:gd name="T49" fmla="*/ 64 h 69"/>
                <a:gd name="T50" fmla="*/ 20 w 68"/>
                <a:gd name="T51" fmla="*/ 67 h 69"/>
                <a:gd name="T52" fmla="*/ 27 w 68"/>
                <a:gd name="T53" fmla="*/ 69 h 69"/>
                <a:gd name="T54" fmla="*/ 34 w 68"/>
                <a:gd name="T55" fmla="*/ 69 h 69"/>
                <a:gd name="T56" fmla="*/ 34 w 68"/>
                <a:gd name="T57" fmla="*/ 69 h 69"/>
                <a:gd name="T58" fmla="*/ 41 w 68"/>
                <a:gd name="T59" fmla="*/ 69 h 69"/>
                <a:gd name="T60" fmla="*/ 47 w 68"/>
                <a:gd name="T61" fmla="*/ 67 h 69"/>
                <a:gd name="T62" fmla="*/ 53 w 68"/>
                <a:gd name="T63" fmla="*/ 64 h 69"/>
                <a:gd name="T64" fmla="*/ 58 w 68"/>
                <a:gd name="T65" fmla="*/ 59 h 69"/>
                <a:gd name="T66" fmla="*/ 63 w 68"/>
                <a:gd name="T67" fmla="*/ 54 h 69"/>
                <a:gd name="T68" fmla="*/ 66 w 68"/>
                <a:gd name="T69" fmla="*/ 49 h 69"/>
                <a:gd name="T70" fmla="*/ 68 w 68"/>
                <a:gd name="T71" fmla="*/ 42 h 69"/>
                <a:gd name="T72" fmla="*/ 68 w 68"/>
                <a:gd name="T73" fmla="*/ 35 h 69"/>
                <a:gd name="T74" fmla="*/ 68 w 68"/>
                <a:gd name="T75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8" h="69">
                  <a:moveTo>
                    <a:pt x="68" y="35"/>
                  </a:moveTo>
                  <a:lnTo>
                    <a:pt x="68" y="35"/>
                  </a:lnTo>
                  <a:lnTo>
                    <a:pt x="68" y="28"/>
                  </a:lnTo>
                  <a:lnTo>
                    <a:pt x="66" y="21"/>
                  </a:lnTo>
                  <a:lnTo>
                    <a:pt x="63" y="15"/>
                  </a:lnTo>
                  <a:lnTo>
                    <a:pt x="58" y="10"/>
                  </a:lnTo>
                  <a:lnTo>
                    <a:pt x="53" y="6"/>
                  </a:lnTo>
                  <a:lnTo>
                    <a:pt x="47" y="3"/>
                  </a:lnTo>
                  <a:lnTo>
                    <a:pt x="41" y="1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7" y="1"/>
                  </a:lnTo>
                  <a:lnTo>
                    <a:pt x="20" y="3"/>
                  </a:lnTo>
                  <a:lnTo>
                    <a:pt x="14" y="6"/>
                  </a:lnTo>
                  <a:lnTo>
                    <a:pt x="9" y="10"/>
                  </a:lnTo>
                  <a:lnTo>
                    <a:pt x="5" y="15"/>
                  </a:lnTo>
                  <a:lnTo>
                    <a:pt x="2" y="21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42"/>
                  </a:lnTo>
                  <a:lnTo>
                    <a:pt x="2" y="49"/>
                  </a:lnTo>
                  <a:lnTo>
                    <a:pt x="5" y="54"/>
                  </a:lnTo>
                  <a:lnTo>
                    <a:pt x="9" y="59"/>
                  </a:lnTo>
                  <a:lnTo>
                    <a:pt x="14" y="64"/>
                  </a:lnTo>
                  <a:lnTo>
                    <a:pt x="20" y="67"/>
                  </a:lnTo>
                  <a:lnTo>
                    <a:pt x="27" y="69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41" y="69"/>
                  </a:lnTo>
                  <a:lnTo>
                    <a:pt x="47" y="67"/>
                  </a:lnTo>
                  <a:lnTo>
                    <a:pt x="53" y="64"/>
                  </a:lnTo>
                  <a:lnTo>
                    <a:pt x="58" y="59"/>
                  </a:lnTo>
                  <a:lnTo>
                    <a:pt x="63" y="54"/>
                  </a:lnTo>
                  <a:lnTo>
                    <a:pt x="66" y="49"/>
                  </a:lnTo>
                  <a:lnTo>
                    <a:pt x="68" y="42"/>
                  </a:lnTo>
                  <a:lnTo>
                    <a:pt x="68" y="35"/>
                  </a:lnTo>
                  <a:lnTo>
                    <a:pt x="68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295070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503" y="384047"/>
            <a:ext cx="5413248" cy="457274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996696" y="1691640"/>
            <a:ext cx="45974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96696" y="2660904"/>
            <a:ext cx="459740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028" y="5340096"/>
            <a:ext cx="1515759" cy="1156968"/>
          </a:xfrm>
          <a:prstGeom prst="rect">
            <a:avLst/>
          </a:prstGeom>
        </p:spPr>
      </p:pic>
      <p:grpSp>
        <p:nvGrpSpPr>
          <p:cNvPr id="86" name="Group 85"/>
          <p:cNvGrpSpPr/>
          <p:nvPr userDrawn="1"/>
        </p:nvGrpSpPr>
        <p:grpSpPr>
          <a:xfrm>
            <a:off x="601662" y="5892019"/>
            <a:ext cx="4152900" cy="603250"/>
            <a:chOff x="457200" y="5894388"/>
            <a:chExt cx="4152900" cy="603250"/>
          </a:xfrm>
        </p:grpSpPr>
        <p:sp>
          <p:nvSpPr>
            <p:cNvPr id="8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57200" y="5894388"/>
              <a:ext cx="4152900" cy="603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88" name="Rectangle 87"/>
            <p:cNvSpPr>
              <a:spLocks noChangeArrowheads="1"/>
            </p:cNvSpPr>
            <p:nvPr userDrawn="1"/>
          </p:nvSpPr>
          <p:spPr bwMode="auto">
            <a:xfrm>
              <a:off x="465138" y="5894388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89" name="Rectangle 88"/>
            <p:cNvSpPr>
              <a:spLocks noChangeArrowheads="1"/>
            </p:cNvSpPr>
            <p:nvPr userDrawn="1"/>
          </p:nvSpPr>
          <p:spPr bwMode="auto">
            <a:xfrm>
              <a:off x="631825" y="5894388"/>
              <a:ext cx="101600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0" name="Rectangle 89"/>
            <p:cNvSpPr>
              <a:spLocks noChangeArrowheads="1"/>
            </p:cNvSpPr>
            <p:nvPr userDrawn="1"/>
          </p:nvSpPr>
          <p:spPr bwMode="auto">
            <a:xfrm>
              <a:off x="801688" y="5894388"/>
              <a:ext cx="100013" cy="984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1" name="Freeform 90"/>
            <p:cNvSpPr>
              <a:spLocks/>
            </p:cNvSpPr>
            <p:nvPr userDrawn="1"/>
          </p:nvSpPr>
          <p:spPr bwMode="auto">
            <a:xfrm>
              <a:off x="461963" y="6122988"/>
              <a:ext cx="104775" cy="122238"/>
            </a:xfrm>
            <a:custGeom>
              <a:avLst/>
              <a:gdLst>
                <a:gd name="T0" fmla="*/ 120 w 264"/>
                <a:gd name="T1" fmla="*/ 305 h 305"/>
                <a:gd name="T2" fmla="*/ 264 w 264"/>
                <a:gd name="T3" fmla="*/ 0 h 305"/>
                <a:gd name="T4" fmla="*/ 212 w 264"/>
                <a:gd name="T5" fmla="*/ 0 h 305"/>
                <a:gd name="T6" fmla="*/ 170 w 264"/>
                <a:gd name="T7" fmla="*/ 98 h 305"/>
                <a:gd name="T8" fmla="*/ 170 w 264"/>
                <a:gd name="T9" fmla="*/ 98 h 305"/>
                <a:gd name="T10" fmla="*/ 153 w 264"/>
                <a:gd name="T11" fmla="*/ 136 h 305"/>
                <a:gd name="T12" fmla="*/ 140 w 264"/>
                <a:gd name="T13" fmla="*/ 167 h 305"/>
                <a:gd name="T14" fmla="*/ 140 w 264"/>
                <a:gd name="T15" fmla="*/ 167 h 305"/>
                <a:gd name="T16" fmla="*/ 126 w 264"/>
                <a:gd name="T17" fmla="*/ 135 h 305"/>
                <a:gd name="T18" fmla="*/ 106 w 264"/>
                <a:gd name="T19" fmla="*/ 97 h 305"/>
                <a:gd name="T20" fmla="*/ 56 w 264"/>
                <a:gd name="T21" fmla="*/ 0 h 305"/>
                <a:gd name="T22" fmla="*/ 0 w 264"/>
                <a:gd name="T23" fmla="*/ 0 h 305"/>
                <a:gd name="T24" fmla="*/ 114 w 264"/>
                <a:gd name="T25" fmla="*/ 213 h 305"/>
                <a:gd name="T26" fmla="*/ 68 w 264"/>
                <a:gd name="T27" fmla="*/ 305 h 305"/>
                <a:gd name="T28" fmla="*/ 120 w 264"/>
                <a:gd name="T29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305">
                  <a:moveTo>
                    <a:pt x="120" y="305"/>
                  </a:moveTo>
                  <a:lnTo>
                    <a:pt x="264" y="0"/>
                  </a:lnTo>
                  <a:lnTo>
                    <a:pt x="212" y="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53" y="136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26" y="135"/>
                  </a:lnTo>
                  <a:lnTo>
                    <a:pt x="106" y="97"/>
                  </a:lnTo>
                  <a:lnTo>
                    <a:pt x="56" y="0"/>
                  </a:lnTo>
                  <a:lnTo>
                    <a:pt x="0" y="0"/>
                  </a:lnTo>
                  <a:lnTo>
                    <a:pt x="114" y="213"/>
                  </a:lnTo>
                  <a:lnTo>
                    <a:pt x="68" y="305"/>
                  </a:lnTo>
                  <a:lnTo>
                    <a:pt x="120" y="3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2" name="Freeform 91"/>
            <p:cNvSpPr>
              <a:spLocks noEditPoints="1"/>
            </p:cNvSpPr>
            <p:nvPr userDrawn="1"/>
          </p:nvSpPr>
          <p:spPr bwMode="auto">
            <a:xfrm>
              <a:off x="623888" y="6153151"/>
              <a:ext cx="73025" cy="92075"/>
            </a:xfrm>
            <a:custGeom>
              <a:avLst/>
              <a:gdLst>
                <a:gd name="T0" fmla="*/ 0 w 184"/>
                <a:gd name="T1" fmla="*/ 229 h 229"/>
                <a:gd name="T2" fmla="*/ 106 w 184"/>
                <a:gd name="T3" fmla="*/ 229 h 229"/>
                <a:gd name="T4" fmla="*/ 132 w 184"/>
                <a:gd name="T5" fmla="*/ 227 h 229"/>
                <a:gd name="T6" fmla="*/ 146 w 184"/>
                <a:gd name="T7" fmla="*/ 222 h 229"/>
                <a:gd name="T8" fmla="*/ 159 w 184"/>
                <a:gd name="T9" fmla="*/ 215 h 229"/>
                <a:gd name="T10" fmla="*/ 169 w 184"/>
                <a:gd name="T11" fmla="*/ 207 h 229"/>
                <a:gd name="T12" fmla="*/ 176 w 184"/>
                <a:gd name="T13" fmla="*/ 196 h 229"/>
                <a:gd name="T14" fmla="*/ 182 w 184"/>
                <a:gd name="T15" fmla="*/ 182 h 229"/>
                <a:gd name="T16" fmla="*/ 184 w 184"/>
                <a:gd name="T17" fmla="*/ 167 h 229"/>
                <a:gd name="T18" fmla="*/ 184 w 184"/>
                <a:gd name="T19" fmla="*/ 159 h 229"/>
                <a:gd name="T20" fmla="*/ 181 w 184"/>
                <a:gd name="T21" fmla="*/ 138 h 229"/>
                <a:gd name="T22" fmla="*/ 172 w 184"/>
                <a:gd name="T23" fmla="*/ 122 h 229"/>
                <a:gd name="T24" fmla="*/ 161 w 184"/>
                <a:gd name="T25" fmla="*/ 112 h 229"/>
                <a:gd name="T26" fmla="*/ 147 w 184"/>
                <a:gd name="T27" fmla="*/ 106 h 229"/>
                <a:gd name="T28" fmla="*/ 154 w 184"/>
                <a:gd name="T29" fmla="*/ 102 h 229"/>
                <a:gd name="T30" fmla="*/ 164 w 184"/>
                <a:gd name="T31" fmla="*/ 94 h 229"/>
                <a:gd name="T32" fmla="*/ 172 w 184"/>
                <a:gd name="T33" fmla="*/ 82 h 229"/>
                <a:gd name="T34" fmla="*/ 177 w 184"/>
                <a:gd name="T35" fmla="*/ 68 h 229"/>
                <a:gd name="T36" fmla="*/ 177 w 184"/>
                <a:gd name="T37" fmla="*/ 60 h 229"/>
                <a:gd name="T38" fmla="*/ 176 w 184"/>
                <a:gd name="T39" fmla="*/ 46 h 229"/>
                <a:gd name="T40" fmla="*/ 173 w 184"/>
                <a:gd name="T41" fmla="*/ 34 h 229"/>
                <a:gd name="T42" fmla="*/ 167 w 184"/>
                <a:gd name="T43" fmla="*/ 24 h 229"/>
                <a:gd name="T44" fmla="*/ 159 w 184"/>
                <a:gd name="T45" fmla="*/ 15 h 229"/>
                <a:gd name="T46" fmla="*/ 150 w 184"/>
                <a:gd name="T47" fmla="*/ 9 h 229"/>
                <a:gd name="T48" fmla="*/ 126 w 184"/>
                <a:gd name="T49" fmla="*/ 1 h 229"/>
                <a:gd name="T50" fmla="*/ 0 w 184"/>
                <a:gd name="T51" fmla="*/ 0 h 229"/>
                <a:gd name="T52" fmla="*/ 45 w 184"/>
                <a:gd name="T53" fmla="*/ 37 h 229"/>
                <a:gd name="T54" fmla="*/ 104 w 184"/>
                <a:gd name="T55" fmla="*/ 37 h 229"/>
                <a:gd name="T56" fmla="*/ 117 w 184"/>
                <a:gd name="T57" fmla="*/ 39 h 229"/>
                <a:gd name="T58" fmla="*/ 126 w 184"/>
                <a:gd name="T59" fmla="*/ 45 h 229"/>
                <a:gd name="T60" fmla="*/ 131 w 184"/>
                <a:gd name="T61" fmla="*/ 53 h 229"/>
                <a:gd name="T62" fmla="*/ 133 w 184"/>
                <a:gd name="T63" fmla="*/ 64 h 229"/>
                <a:gd name="T64" fmla="*/ 132 w 184"/>
                <a:gd name="T65" fmla="*/ 69 h 229"/>
                <a:gd name="T66" fmla="*/ 129 w 184"/>
                <a:gd name="T67" fmla="*/ 78 h 229"/>
                <a:gd name="T68" fmla="*/ 122 w 184"/>
                <a:gd name="T69" fmla="*/ 85 h 229"/>
                <a:gd name="T70" fmla="*/ 111 w 184"/>
                <a:gd name="T71" fmla="*/ 89 h 229"/>
                <a:gd name="T72" fmla="*/ 45 w 184"/>
                <a:gd name="T73" fmla="*/ 90 h 229"/>
                <a:gd name="T74" fmla="*/ 45 w 184"/>
                <a:gd name="T75" fmla="*/ 127 h 229"/>
                <a:gd name="T76" fmla="*/ 105 w 184"/>
                <a:gd name="T77" fmla="*/ 127 h 229"/>
                <a:gd name="T78" fmla="*/ 120 w 184"/>
                <a:gd name="T79" fmla="*/ 129 h 229"/>
                <a:gd name="T80" fmla="*/ 130 w 184"/>
                <a:gd name="T81" fmla="*/ 136 h 229"/>
                <a:gd name="T82" fmla="*/ 137 w 184"/>
                <a:gd name="T83" fmla="*/ 146 h 229"/>
                <a:gd name="T84" fmla="*/ 140 w 184"/>
                <a:gd name="T85" fmla="*/ 160 h 229"/>
                <a:gd name="T86" fmla="*/ 139 w 184"/>
                <a:gd name="T87" fmla="*/ 167 h 229"/>
                <a:gd name="T88" fmla="*/ 135 w 184"/>
                <a:gd name="T89" fmla="*/ 178 h 229"/>
                <a:gd name="T90" fmla="*/ 127 w 184"/>
                <a:gd name="T91" fmla="*/ 187 h 229"/>
                <a:gd name="T92" fmla="*/ 113 w 184"/>
                <a:gd name="T93" fmla="*/ 191 h 229"/>
                <a:gd name="T94" fmla="*/ 45 w 184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4" h="229">
                  <a:moveTo>
                    <a:pt x="0" y="0"/>
                  </a:move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24" y="228"/>
                  </a:lnTo>
                  <a:lnTo>
                    <a:pt x="132" y="227"/>
                  </a:lnTo>
                  <a:lnTo>
                    <a:pt x="139" y="225"/>
                  </a:lnTo>
                  <a:lnTo>
                    <a:pt x="146" y="222"/>
                  </a:lnTo>
                  <a:lnTo>
                    <a:pt x="153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6" y="196"/>
                  </a:lnTo>
                  <a:lnTo>
                    <a:pt x="179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4" y="159"/>
                  </a:lnTo>
                  <a:lnTo>
                    <a:pt x="184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7" y="129"/>
                  </a:lnTo>
                  <a:lnTo>
                    <a:pt x="172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4" y="108"/>
                  </a:lnTo>
                  <a:lnTo>
                    <a:pt x="147" y="106"/>
                  </a:lnTo>
                  <a:lnTo>
                    <a:pt x="147" y="106"/>
                  </a:lnTo>
                  <a:lnTo>
                    <a:pt x="154" y="102"/>
                  </a:lnTo>
                  <a:lnTo>
                    <a:pt x="159" y="98"/>
                  </a:lnTo>
                  <a:lnTo>
                    <a:pt x="164" y="94"/>
                  </a:lnTo>
                  <a:lnTo>
                    <a:pt x="169" y="88"/>
                  </a:lnTo>
                  <a:lnTo>
                    <a:pt x="172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7" y="60"/>
                  </a:lnTo>
                  <a:lnTo>
                    <a:pt x="177" y="60"/>
                  </a:lnTo>
                  <a:lnTo>
                    <a:pt x="177" y="53"/>
                  </a:lnTo>
                  <a:lnTo>
                    <a:pt x="176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0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59" y="15"/>
                  </a:lnTo>
                  <a:lnTo>
                    <a:pt x="155" y="12"/>
                  </a:lnTo>
                  <a:lnTo>
                    <a:pt x="150" y="9"/>
                  </a:lnTo>
                  <a:lnTo>
                    <a:pt x="139" y="4"/>
                  </a:lnTo>
                  <a:lnTo>
                    <a:pt x="126" y="1"/>
                  </a:lnTo>
                  <a:lnTo>
                    <a:pt x="112" y="0"/>
                  </a:lnTo>
                  <a:lnTo>
                    <a:pt x="0" y="0"/>
                  </a:lnTo>
                  <a:close/>
                  <a:moveTo>
                    <a:pt x="45" y="90"/>
                  </a:moveTo>
                  <a:lnTo>
                    <a:pt x="45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1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6" y="45"/>
                  </a:lnTo>
                  <a:lnTo>
                    <a:pt x="129" y="49"/>
                  </a:lnTo>
                  <a:lnTo>
                    <a:pt x="131" y="53"/>
                  </a:lnTo>
                  <a:lnTo>
                    <a:pt x="132" y="58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9"/>
                  </a:lnTo>
                  <a:lnTo>
                    <a:pt x="131" y="74"/>
                  </a:lnTo>
                  <a:lnTo>
                    <a:pt x="129" y="78"/>
                  </a:lnTo>
                  <a:lnTo>
                    <a:pt x="126" y="82"/>
                  </a:lnTo>
                  <a:lnTo>
                    <a:pt x="122" y="85"/>
                  </a:lnTo>
                  <a:lnTo>
                    <a:pt x="117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5" y="90"/>
                  </a:lnTo>
                  <a:close/>
                  <a:moveTo>
                    <a:pt x="45" y="192"/>
                  </a:moveTo>
                  <a:lnTo>
                    <a:pt x="45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13" y="128"/>
                  </a:lnTo>
                  <a:lnTo>
                    <a:pt x="120" y="129"/>
                  </a:lnTo>
                  <a:lnTo>
                    <a:pt x="125" y="132"/>
                  </a:lnTo>
                  <a:lnTo>
                    <a:pt x="130" y="136"/>
                  </a:lnTo>
                  <a:lnTo>
                    <a:pt x="134" y="141"/>
                  </a:lnTo>
                  <a:lnTo>
                    <a:pt x="137" y="146"/>
                  </a:lnTo>
                  <a:lnTo>
                    <a:pt x="139" y="153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9" y="167"/>
                  </a:lnTo>
                  <a:lnTo>
                    <a:pt x="138" y="173"/>
                  </a:lnTo>
                  <a:lnTo>
                    <a:pt x="135" y="178"/>
                  </a:lnTo>
                  <a:lnTo>
                    <a:pt x="131" y="183"/>
                  </a:lnTo>
                  <a:lnTo>
                    <a:pt x="127" y="187"/>
                  </a:lnTo>
                  <a:lnTo>
                    <a:pt x="120" y="190"/>
                  </a:lnTo>
                  <a:lnTo>
                    <a:pt x="113" y="191"/>
                  </a:lnTo>
                  <a:lnTo>
                    <a:pt x="104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3" name="Freeform 92"/>
            <p:cNvSpPr>
              <a:spLocks noEditPoints="1"/>
            </p:cNvSpPr>
            <p:nvPr userDrawn="1"/>
          </p:nvSpPr>
          <p:spPr bwMode="auto">
            <a:xfrm>
              <a:off x="711200" y="6151563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6 w 187"/>
                <a:gd name="T3" fmla="*/ 68 h 239"/>
                <a:gd name="T4" fmla="*/ 183 w 187"/>
                <a:gd name="T5" fmla="*/ 51 h 239"/>
                <a:gd name="T6" fmla="*/ 177 w 187"/>
                <a:gd name="T7" fmla="*/ 36 h 239"/>
                <a:gd name="T8" fmla="*/ 168 w 187"/>
                <a:gd name="T9" fmla="*/ 24 h 239"/>
                <a:gd name="T10" fmla="*/ 157 w 187"/>
                <a:gd name="T11" fmla="*/ 15 h 239"/>
                <a:gd name="T12" fmla="*/ 143 w 187"/>
                <a:gd name="T13" fmla="*/ 8 h 239"/>
                <a:gd name="T14" fmla="*/ 128 w 187"/>
                <a:gd name="T15" fmla="*/ 3 h 239"/>
                <a:gd name="T16" fmla="*/ 110 w 187"/>
                <a:gd name="T17" fmla="*/ 1 h 239"/>
                <a:gd name="T18" fmla="*/ 100 w 187"/>
                <a:gd name="T19" fmla="*/ 0 h 239"/>
                <a:gd name="T20" fmla="*/ 77 w 187"/>
                <a:gd name="T21" fmla="*/ 2 h 239"/>
                <a:gd name="T22" fmla="*/ 57 w 187"/>
                <a:gd name="T23" fmla="*/ 6 h 239"/>
                <a:gd name="T24" fmla="*/ 38 w 187"/>
                <a:gd name="T25" fmla="*/ 12 h 239"/>
                <a:gd name="T26" fmla="*/ 21 w 187"/>
                <a:gd name="T27" fmla="*/ 21 h 239"/>
                <a:gd name="T28" fmla="*/ 39 w 187"/>
                <a:gd name="T29" fmla="*/ 55 h 239"/>
                <a:gd name="T30" fmla="*/ 67 w 187"/>
                <a:gd name="T31" fmla="*/ 44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2 w 187"/>
                <a:gd name="T41" fmla="*/ 70 h 239"/>
                <a:gd name="T42" fmla="*/ 143 w 187"/>
                <a:gd name="T43" fmla="*/ 96 h 239"/>
                <a:gd name="T44" fmla="*/ 134 w 187"/>
                <a:gd name="T45" fmla="*/ 93 h 239"/>
                <a:gd name="T46" fmla="*/ 107 w 187"/>
                <a:gd name="T47" fmla="*/ 88 h 239"/>
                <a:gd name="T48" fmla="*/ 91 w 187"/>
                <a:gd name="T49" fmla="*/ 88 h 239"/>
                <a:gd name="T50" fmla="*/ 63 w 187"/>
                <a:gd name="T51" fmla="*/ 90 h 239"/>
                <a:gd name="T52" fmla="*/ 47 w 187"/>
                <a:gd name="T53" fmla="*/ 94 h 239"/>
                <a:gd name="T54" fmla="*/ 32 w 187"/>
                <a:gd name="T55" fmla="*/ 101 h 239"/>
                <a:gd name="T56" fmla="*/ 20 w 187"/>
                <a:gd name="T57" fmla="*/ 110 h 239"/>
                <a:gd name="T58" fmla="*/ 10 w 187"/>
                <a:gd name="T59" fmla="*/ 122 h 239"/>
                <a:gd name="T60" fmla="*/ 4 w 187"/>
                <a:gd name="T61" fmla="*/ 136 h 239"/>
                <a:gd name="T62" fmla="*/ 0 w 187"/>
                <a:gd name="T63" fmla="*/ 152 h 239"/>
                <a:gd name="T64" fmla="*/ 0 w 187"/>
                <a:gd name="T65" fmla="*/ 162 h 239"/>
                <a:gd name="T66" fmla="*/ 1 w 187"/>
                <a:gd name="T67" fmla="*/ 181 h 239"/>
                <a:gd name="T68" fmla="*/ 7 w 187"/>
                <a:gd name="T69" fmla="*/ 197 h 239"/>
                <a:gd name="T70" fmla="*/ 15 w 187"/>
                <a:gd name="T71" fmla="*/ 211 h 239"/>
                <a:gd name="T72" fmla="*/ 25 w 187"/>
                <a:gd name="T73" fmla="*/ 221 h 239"/>
                <a:gd name="T74" fmla="*/ 38 w 187"/>
                <a:gd name="T75" fmla="*/ 229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8 h 239"/>
                <a:gd name="T82" fmla="*/ 109 w 187"/>
                <a:gd name="T83" fmla="*/ 234 h 239"/>
                <a:gd name="T84" fmla="*/ 116 w 187"/>
                <a:gd name="T85" fmla="*/ 231 h 239"/>
                <a:gd name="T86" fmla="*/ 135 w 187"/>
                <a:gd name="T87" fmla="*/ 218 h 239"/>
                <a:gd name="T88" fmla="*/ 143 w 187"/>
                <a:gd name="T89" fmla="*/ 234 h 239"/>
                <a:gd name="T90" fmla="*/ 143 w 187"/>
                <a:gd name="T91" fmla="*/ 169 h 239"/>
                <a:gd name="T92" fmla="*/ 138 w 187"/>
                <a:gd name="T93" fmla="*/ 174 h 239"/>
                <a:gd name="T94" fmla="*/ 127 w 187"/>
                <a:gd name="T95" fmla="*/ 185 h 239"/>
                <a:gd name="T96" fmla="*/ 113 w 187"/>
                <a:gd name="T97" fmla="*/ 193 h 239"/>
                <a:gd name="T98" fmla="*/ 95 w 187"/>
                <a:gd name="T99" fmla="*/ 198 h 239"/>
                <a:gd name="T100" fmla="*/ 86 w 187"/>
                <a:gd name="T101" fmla="*/ 198 h 239"/>
                <a:gd name="T102" fmla="*/ 68 w 187"/>
                <a:gd name="T103" fmla="*/ 196 h 239"/>
                <a:gd name="T104" fmla="*/ 55 w 187"/>
                <a:gd name="T105" fmla="*/ 189 h 239"/>
                <a:gd name="T106" fmla="*/ 50 w 187"/>
                <a:gd name="T107" fmla="*/ 184 h 239"/>
                <a:gd name="T108" fmla="*/ 43 w 187"/>
                <a:gd name="T109" fmla="*/ 170 h 239"/>
                <a:gd name="T110" fmla="*/ 42 w 187"/>
                <a:gd name="T111" fmla="*/ 160 h 239"/>
                <a:gd name="T112" fmla="*/ 46 w 187"/>
                <a:gd name="T113" fmla="*/ 146 h 239"/>
                <a:gd name="T114" fmla="*/ 55 w 187"/>
                <a:gd name="T115" fmla="*/ 136 h 239"/>
                <a:gd name="T116" fmla="*/ 70 w 187"/>
                <a:gd name="T117" fmla="*/ 129 h 239"/>
                <a:gd name="T118" fmla="*/ 89 w 187"/>
                <a:gd name="T119" fmla="*/ 126 h 239"/>
                <a:gd name="T120" fmla="*/ 106 w 187"/>
                <a:gd name="T121" fmla="*/ 127 h 239"/>
                <a:gd name="T122" fmla="*/ 120 w 187"/>
                <a:gd name="T123" fmla="*/ 129 h 239"/>
                <a:gd name="T124" fmla="*/ 143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4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6" y="68"/>
                  </a:lnTo>
                  <a:lnTo>
                    <a:pt x="185" y="59"/>
                  </a:lnTo>
                  <a:lnTo>
                    <a:pt x="183" y="51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30"/>
                  </a:lnTo>
                  <a:lnTo>
                    <a:pt x="168" y="24"/>
                  </a:lnTo>
                  <a:lnTo>
                    <a:pt x="163" y="19"/>
                  </a:lnTo>
                  <a:lnTo>
                    <a:pt x="157" y="15"/>
                  </a:lnTo>
                  <a:lnTo>
                    <a:pt x="150" y="11"/>
                  </a:lnTo>
                  <a:lnTo>
                    <a:pt x="143" y="8"/>
                  </a:lnTo>
                  <a:lnTo>
                    <a:pt x="136" y="5"/>
                  </a:lnTo>
                  <a:lnTo>
                    <a:pt x="128" y="3"/>
                  </a:lnTo>
                  <a:lnTo>
                    <a:pt x="119" y="2"/>
                  </a:lnTo>
                  <a:lnTo>
                    <a:pt x="110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1"/>
                  </a:lnTo>
                  <a:lnTo>
                    <a:pt x="77" y="2"/>
                  </a:lnTo>
                  <a:lnTo>
                    <a:pt x="67" y="3"/>
                  </a:lnTo>
                  <a:lnTo>
                    <a:pt x="57" y="6"/>
                  </a:lnTo>
                  <a:lnTo>
                    <a:pt x="47" y="8"/>
                  </a:lnTo>
                  <a:lnTo>
                    <a:pt x="38" y="12"/>
                  </a:lnTo>
                  <a:lnTo>
                    <a:pt x="30" y="16"/>
                  </a:lnTo>
                  <a:lnTo>
                    <a:pt x="21" y="21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52" y="48"/>
                  </a:lnTo>
                  <a:lnTo>
                    <a:pt x="67" y="44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2" y="51"/>
                  </a:lnTo>
                  <a:lnTo>
                    <a:pt x="136" y="56"/>
                  </a:lnTo>
                  <a:lnTo>
                    <a:pt x="140" y="63"/>
                  </a:lnTo>
                  <a:lnTo>
                    <a:pt x="142" y="70"/>
                  </a:lnTo>
                  <a:lnTo>
                    <a:pt x="143" y="79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34" y="93"/>
                  </a:lnTo>
                  <a:lnTo>
                    <a:pt x="122" y="90"/>
                  </a:lnTo>
                  <a:lnTo>
                    <a:pt x="107" y="88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72" y="89"/>
                  </a:lnTo>
                  <a:lnTo>
                    <a:pt x="63" y="90"/>
                  </a:lnTo>
                  <a:lnTo>
                    <a:pt x="55" y="92"/>
                  </a:lnTo>
                  <a:lnTo>
                    <a:pt x="47" y="94"/>
                  </a:lnTo>
                  <a:lnTo>
                    <a:pt x="39" y="98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6"/>
                  </a:lnTo>
                  <a:lnTo>
                    <a:pt x="10" y="122"/>
                  </a:lnTo>
                  <a:lnTo>
                    <a:pt x="7" y="129"/>
                  </a:lnTo>
                  <a:lnTo>
                    <a:pt x="4" y="136"/>
                  </a:lnTo>
                  <a:lnTo>
                    <a:pt x="1" y="144"/>
                  </a:lnTo>
                  <a:lnTo>
                    <a:pt x="0" y="152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1" y="181"/>
                  </a:lnTo>
                  <a:lnTo>
                    <a:pt x="4" y="190"/>
                  </a:lnTo>
                  <a:lnTo>
                    <a:pt x="7" y="197"/>
                  </a:lnTo>
                  <a:lnTo>
                    <a:pt x="11" y="204"/>
                  </a:lnTo>
                  <a:lnTo>
                    <a:pt x="15" y="211"/>
                  </a:lnTo>
                  <a:lnTo>
                    <a:pt x="20" y="216"/>
                  </a:lnTo>
                  <a:lnTo>
                    <a:pt x="25" y="221"/>
                  </a:lnTo>
                  <a:lnTo>
                    <a:pt x="31" y="226"/>
                  </a:lnTo>
                  <a:lnTo>
                    <a:pt x="38" y="229"/>
                  </a:lnTo>
                  <a:lnTo>
                    <a:pt x="44" y="232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8"/>
                  </a:lnTo>
                  <a:lnTo>
                    <a:pt x="100" y="236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3"/>
                  </a:lnTo>
                  <a:lnTo>
                    <a:pt x="135" y="218"/>
                  </a:lnTo>
                  <a:lnTo>
                    <a:pt x="143" y="211"/>
                  </a:lnTo>
                  <a:lnTo>
                    <a:pt x="143" y="234"/>
                  </a:lnTo>
                  <a:lnTo>
                    <a:pt x="187" y="234"/>
                  </a:lnTo>
                  <a:close/>
                  <a:moveTo>
                    <a:pt x="143" y="169"/>
                  </a:moveTo>
                  <a:lnTo>
                    <a:pt x="143" y="169"/>
                  </a:lnTo>
                  <a:lnTo>
                    <a:pt x="138" y="174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89"/>
                  </a:lnTo>
                  <a:lnTo>
                    <a:pt x="113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3"/>
                  </a:lnTo>
                  <a:lnTo>
                    <a:pt x="55" y="189"/>
                  </a:lnTo>
                  <a:lnTo>
                    <a:pt x="55" y="189"/>
                  </a:lnTo>
                  <a:lnTo>
                    <a:pt x="50" y="184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6"/>
                  </a:lnTo>
                  <a:lnTo>
                    <a:pt x="62" y="132"/>
                  </a:lnTo>
                  <a:lnTo>
                    <a:pt x="70" y="129"/>
                  </a:lnTo>
                  <a:lnTo>
                    <a:pt x="79" y="127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7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31" y="132"/>
                  </a:lnTo>
                  <a:lnTo>
                    <a:pt x="143" y="136"/>
                  </a:lnTo>
                  <a:lnTo>
                    <a:pt x="143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4" name="Freeform 93"/>
            <p:cNvSpPr>
              <a:spLocks/>
            </p:cNvSpPr>
            <p:nvPr userDrawn="1"/>
          </p:nvSpPr>
          <p:spPr bwMode="auto">
            <a:xfrm>
              <a:off x="803275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5 w 181"/>
                <a:gd name="T3" fmla="*/ 22 h 239"/>
                <a:gd name="T4" fmla="*/ 146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5 w 181"/>
                <a:gd name="T23" fmla="*/ 81 h 239"/>
                <a:gd name="T24" fmla="*/ 1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8 w 181"/>
                <a:gd name="T31" fmla="*/ 169 h 239"/>
                <a:gd name="T32" fmla="*/ 17 w 181"/>
                <a:gd name="T33" fmla="*/ 189 h 239"/>
                <a:gd name="T34" fmla="*/ 29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9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40 w 181"/>
                <a:gd name="T55" fmla="*/ 180 h 239"/>
                <a:gd name="T56" fmla="*/ 128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4 h 239"/>
                <a:gd name="T82" fmla="*/ 68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7 w 181"/>
                <a:gd name="T91" fmla="*/ 43 h 239"/>
                <a:gd name="T92" fmla="*/ 121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6"/>
                  </a:lnTo>
                  <a:lnTo>
                    <a:pt x="146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5"/>
                  </a:lnTo>
                  <a:lnTo>
                    <a:pt x="139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0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0"/>
                  </a:lnTo>
                  <a:lnTo>
                    <a:pt x="72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60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5"/>
                  </a:lnTo>
                  <a:lnTo>
                    <a:pt x="121" y="47"/>
                  </a:lnTo>
                  <a:lnTo>
                    <a:pt x="128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5" name="Freeform 94"/>
            <p:cNvSpPr>
              <a:spLocks noEditPoints="1"/>
            </p:cNvSpPr>
            <p:nvPr userDrawn="1"/>
          </p:nvSpPr>
          <p:spPr bwMode="auto">
            <a:xfrm>
              <a:off x="933450" y="6151563"/>
              <a:ext cx="77788" cy="95250"/>
            </a:xfrm>
            <a:custGeom>
              <a:avLst/>
              <a:gdLst>
                <a:gd name="T0" fmla="*/ 197 w 197"/>
                <a:gd name="T1" fmla="*/ 115 h 239"/>
                <a:gd name="T2" fmla="*/ 196 w 197"/>
                <a:gd name="T3" fmla="*/ 92 h 239"/>
                <a:gd name="T4" fmla="*/ 192 w 197"/>
                <a:gd name="T5" fmla="*/ 71 h 239"/>
                <a:gd name="T6" fmla="*/ 184 w 197"/>
                <a:gd name="T7" fmla="*/ 52 h 239"/>
                <a:gd name="T8" fmla="*/ 174 w 197"/>
                <a:gd name="T9" fmla="*/ 34 h 239"/>
                <a:gd name="T10" fmla="*/ 160 w 197"/>
                <a:gd name="T11" fmla="*/ 20 h 239"/>
                <a:gd name="T12" fmla="*/ 144 w 197"/>
                <a:gd name="T13" fmla="*/ 10 h 239"/>
                <a:gd name="T14" fmla="*/ 124 w 197"/>
                <a:gd name="T15" fmla="*/ 3 h 239"/>
                <a:gd name="T16" fmla="*/ 101 w 197"/>
                <a:gd name="T17" fmla="*/ 0 h 239"/>
                <a:gd name="T18" fmla="*/ 90 w 197"/>
                <a:gd name="T19" fmla="*/ 1 h 239"/>
                <a:gd name="T20" fmla="*/ 70 w 197"/>
                <a:gd name="T21" fmla="*/ 5 h 239"/>
                <a:gd name="T22" fmla="*/ 52 w 197"/>
                <a:gd name="T23" fmla="*/ 12 h 239"/>
                <a:gd name="T24" fmla="*/ 35 w 197"/>
                <a:gd name="T25" fmla="*/ 24 h 239"/>
                <a:gd name="T26" fmla="*/ 21 w 197"/>
                <a:gd name="T27" fmla="*/ 39 h 239"/>
                <a:gd name="T28" fmla="*/ 11 w 197"/>
                <a:gd name="T29" fmla="*/ 58 h 239"/>
                <a:gd name="T30" fmla="*/ 4 w 197"/>
                <a:gd name="T31" fmla="*/ 80 h 239"/>
                <a:gd name="T32" fmla="*/ 0 w 197"/>
                <a:gd name="T33" fmla="*/ 106 h 239"/>
                <a:gd name="T34" fmla="*/ 0 w 197"/>
                <a:gd name="T35" fmla="*/ 120 h 239"/>
                <a:gd name="T36" fmla="*/ 2 w 197"/>
                <a:gd name="T37" fmla="*/ 148 h 239"/>
                <a:gd name="T38" fmla="*/ 9 w 197"/>
                <a:gd name="T39" fmla="*/ 172 h 239"/>
                <a:gd name="T40" fmla="*/ 18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2 w 197"/>
                <a:gd name="T47" fmla="*/ 226 h 239"/>
                <a:gd name="T48" fmla="*/ 69 w 197"/>
                <a:gd name="T49" fmla="*/ 234 h 239"/>
                <a:gd name="T50" fmla="*/ 89 w 197"/>
                <a:gd name="T51" fmla="*/ 238 h 239"/>
                <a:gd name="T52" fmla="*/ 100 w 197"/>
                <a:gd name="T53" fmla="*/ 239 h 239"/>
                <a:gd name="T54" fmla="*/ 125 w 197"/>
                <a:gd name="T55" fmla="*/ 237 h 239"/>
                <a:gd name="T56" fmla="*/ 146 w 197"/>
                <a:gd name="T57" fmla="*/ 231 h 239"/>
                <a:gd name="T58" fmla="*/ 154 w 197"/>
                <a:gd name="T59" fmla="*/ 227 h 239"/>
                <a:gd name="T60" fmla="*/ 170 w 197"/>
                <a:gd name="T61" fmla="*/ 216 h 239"/>
                <a:gd name="T62" fmla="*/ 152 w 197"/>
                <a:gd name="T63" fmla="*/ 180 h 239"/>
                <a:gd name="T64" fmla="*/ 140 w 197"/>
                <a:gd name="T65" fmla="*/ 188 h 239"/>
                <a:gd name="T66" fmla="*/ 129 w 197"/>
                <a:gd name="T67" fmla="*/ 193 h 239"/>
                <a:gd name="T68" fmla="*/ 117 w 197"/>
                <a:gd name="T69" fmla="*/ 197 h 239"/>
                <a:gd name="T70" fmla="*/ 102 w 197"/>
                <a:gd name="T71" fmla="*/ 198 h 239"/>
                <a:gd name="T72" fmla="*/ 92 w 197"/>
                <a:gd name="T73" fmla="*/ 197 h 239"/>
                <a:gd name="T74" fmla="*/ 73 w 197"/>
                <a:gd name="T75" fmla="*/ 190 h 239"/>
                <a:gd name="T76" fmla="*/ 58 w 197"/>
                <a:gd name="T77" fmla="*/ 175 h 239"/>
                <a:gd name="T78" fmla="*/ 48 w 197"/>
                <a:gd name="T79" fmla="*/ 151 h 239"/>
                <a:gd name="T80" fmla="*/ 196 w 197"/>
                <a:gd name="T81" fmla="*/ 136 h 239"/>
                <a:gd name="T82" fmla="*/ 197 w 197"/>
                <a:gd name="T83" fmla="*/ 127 h 239"/>
                <a:gd name="T84" fmla="*/ 197 w 197"/>
                <a:gd name="T85" fmla="*/ 115 h 239"/>
                <a:gd name="T86" fmla="*/ 45 w 197"/>
                <a:gd name="T87" fmla="*/ 98 h 239"/>
                <a:gd name="T88" fmla="*/ 51 w 197"/>
                <a:gd name="T89" fmla="*/ 74 h 239"/>
                <a:gd name="T90" fmla="*/ 62 w 197"/>
                <a:gd name="T91" fmla="*/ 56 h 239"/>
                <a:gd name="T92" fmla="*/ 77 w 197"/>
                <a:gd name="T93" fmla="*/ 45 h 239"/>
                <a:gd name="T94" fmla="*/ 98 w 197"/>
                <a:gd name="T95" fmla="*/ 41 h 239"/>
                <a:gd name="T96" fmla="*/ 105 w 197"/>
                <a:gd name="T97" fmla="*/ 41 h 239"/>
                <a:gd name="T98" fmla="*/ 117 w 197"/>
                <a:gd name="T99" fmla="*/ 44 h 239"/>
                <a:gd name="T100" fmla="*/ 127 w 197"/>
                <a:gd name="T101" fmla="*/ 48 h 239"/>
                <a:gd name="T102" fmla="*/ 138 w 197"/>
                <a:gd name="T103" fmla="*/ 58 h 239"/>
                <a:gd name="T104" fmla="*/ 148 w 197"/>
                <a:gd name="T105" fmla="*/ 76 h 239"/>
                <a:gd name="T106" fmla="*/ 152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5"/>
                  </a:moveTo>
                  <a:lnTo>
                    <a:pt x="197" y="115"/>
                  </a:lnTo>
                  <a:lnTo>
                    <a:pt x="197" y="104"/>
                  </a:lnTo>
                  <a:lnTo>
                    <a:pt x="196" y="92"/>
                  </a:lnTo>
                  <a:lnTo>
                    <a:pt x="194" y="81"/>
                  </a:lnTo>
                  <a:lnTo>
                    <a:pt x="192" y="71"/>
                  </a:lnTo>
                  <a:lnTo>
                    <a:pt x="188" y="61"/>
                  </a:lnTo>
                  <a:lnTo>
                    <a:pt x="184" y="52"/>
                  </a:lnTo>
                  <a:lnTo>
                    <a:pt x="179" y="43"/>
                  </a:lnTo>
                  <a:lnTo>
                    <a:pt x="174" y="34"/>
                  </a:lnTo>
                  <a:lnTo>
                    <a:pt x="167" y="27"/>
                  </a:lnTo>
                  <a:lnTo>
                    <a:pt x="160" y="20"/>
                  </a:lnTo>
                  <a:lnTo>
                    <a:pt x="152" y="14"/>
                  </a:lnTo>
                  <a:lnTo>
                    <a:pt x="144" y="10"/>
                  </a:lnTo>
                  <a:lnTo>
                    <a:pt x="134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0" y="8"/>
                  </a:lnTo>
                  <a:lnTo>
                    <a:pt x="52" y="12"/>
                  </a:lnTo>
                  <a:lnTo>
                    <a:pt x="42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1" y="39"/>
                  </a:lnTo>
                  <a:lnTo>
                    <a:pt x="16" y="48"/>
                  </a:lnTo>
                  <a:lnTo>
                    <a:pt x="11" y="58"/>
                  </a:lnTo>
                  <a:lnTo>
                    <a:pt x="7" y="68"/>
                  </a:lnTo>
                  <a:lnTo>
                    <a:pt x="4" y="80"/>
                  </a:lnTo>
                  <a:lnTo>
                    <a:pt x="2" y="92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4"/>
                  </a:lnTo>
                  <a:lnTo>
                    <a:pt x="2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3" y="183"/>
                  </a:lnTo>
                  <a:lnTo>
                    <a:pt x="18" y="193"/>
                  </a:lnTo>
                  <a:lnTo>
                    <a:pt x="24" y="201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0"/>
                  </a:lnTo>
                  <a:lnTo>
                    <a:pt x="52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6"/>
                  </a:lnTo>
                  <a:lnTo>
                    <a:pt x="89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3" y="238"/>
                  </a:lnTo>
                  <a:lnTo>
                    <a:pt x="125" y="237"/>
                  </a:lnTo>
                  <a:lnTo>
                    <a:pt x="136" y="234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6"/>
                  </a:lnTo>
                  <a:lnTo>
                    <a:pt x="179" y="209"/>
                  </a:lnTo>
                  <a:lnTo>
                    <a:pt x="152" y="180"/>
                  </a:lnTo>
                  <a:lnTo>
                    <a:pt x="152" y="180"/>
                  </a:lnTo>
                  <a:lnTo>
                    <a:pt x="140" y="188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3" y="195"/>
                  </a:lnTo>
                  <a:lnTo>
                    <a:pt x="117" y="197"/>
                  </a:lnTo>
                  <a:lnTo>
                    <a:pt x="110" y="198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92" y="197"/>
                  </a:lnTo>
                  <a:lnTo>
                    <a:pt x="82" y="195"/>
                  </a:lnTo>
                  <a:lnTo>
                    <a:pt x="73" y="190"/>
                  </a:lnTo>
                  <a:lnTo>
                    <a:pt x="65" y="183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8" y="151"/>
                  </a:lnTo>
                  <a:lnTo>
                    <a:pt x="44" y="136"/>
                  </a:lnTo>
                  <a:lnTo>
                    <a:pt x="196" y="136"/>
                  </a:lnTo>
                  <a:lnTo>
                    <a:pt x="196" y="136"/>
                  </a:lnTo>
                  <a:lnTo>
                    <a:pt x="197" y="127"/>
                  </a:lnTo>
                  <a:lnTo>
                    <a:pt x="197" y="115"/>
                  </a:lnTo>
                  <a:lnTo>
                    <a:pt x="197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8" y="85"/>
                  </a:lnTo>
                  <a:lnTo>
                    <a:pt x="51" y="74"/>
                  </a:lnTo>
                  <a:lnTo>
                    <a:pt x="56" y="64"/>
                  </a:lnTo>
                  <a:lnTo>
                    <a:pt x="62" y="56"/>
                  </a:lnTo>
                  <a:lnTo>
                    <a:pt x="69" y="49"/>
                  </a:lnTo>
                  <a:lnTo>
                    <a:pt x="77" y="45"/>
                  </a:lnTo>
                  <a:lnTo>
                    <a:pt x="87" y="42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105" y="41"/>
                  </a:lnTo>
                  <a:lnTo>
                    <a:pt x="111" y="42"/>
                  </a:lnTo>
                  <a:lnTo>
                    <a:pt x="117" y="44"/>
                  </a:lnTo>
                  <a:lnTo>
                    <a:pt x="122" y="45"/>
                  </a:lnTo>
                  <a:lnTo>
                    <a:pt x="127" y="48"/>
                  </a:lnTo>
                  <a:lnTo>
                    <a:pt x="131" y="51"/>
                  </a:lnTo>
                  <a:lnTo>
                    <a:pt x="138" y="58"/>
                  </a:lnTo>
                  <a:lnTo>
                    <a:pt x="144" y="66"/>
                  </a:lnTo>
                  <a:lnTo>
                    <a:pt x="148" y="76"/>
                  </a:lnTo>
                  <a:lnTo>
                    <a:pt x="151" y="87"/>
                  </a:lnTo>
                  <a:lnTo>
                    <a:pt x="152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6" name="Freeform 95"/>
            <p:cNvSpPr>
              <a:spLocks/>
            </p:cNvSpPr>
            <p:nvPr userDrawn="1"/>
          </p:nvSpPr>
          <p:spPr bwMode="auto">
            <a:xfrm>
              <a:off x="1025525" y="6151563"/>
              <a:ext cx="73025" cy="95250"/>
            </a:xfrm>
            <a:custGeom>
              <a:avLst/>
              <a:gdLst>
                <a:gd name="T0" fmla="*/ 181 w 181"/>
                <a:gd name="T1" fmla="*/ 39 h 239"/>
                <a:gd name="T2" fmla="*/ 165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5 w 181"/>
                <a:gd name="T23" fmla="*/ 81 h 239"/>
                <a:gd name="T24" fmla="*/ 1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8 w 181"/>
                <a:gd name="T31" fmla="*/ 169 h 239"/>
                <a:gd name="T32" fmla="*/ 17 w 181"/>
                <a:gd name="T33" fmla="*/ 189 h 239"/>
                <a:gd name="T34" fmla="*/ 29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40 w 181"/>
                <a:gd name="T55" fmla="*/ 180 h 239"/>
                <a:gd name="T56" fmla="*/ 128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4 h 239"/>
                <a:gd name="T82" fmla="*/ 68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7 w 181"/>
                <a:gd name="T91" fmla="*/ 43 h 239"/>
                <a:gd name="T92" fmla="*/ 121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3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0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0"/>
                  </a:lnTo>
                  <a:lnTo>
                    <a:pt x="72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60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5"/>
                  </a:lnTo>
                  <a:lnTo>
                    <a:pt x="121" y="47"/>
                  </a:lnTo>
                  <a:lnTo>
                    <a:pt x="128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7" name="Freeform 96"/>
            <p:cNvSpPr>
              <a:spLocks/>
            </p:cNvSpPr>
            <p:nvPr userDrawn="1"/>
          </p:nvSpPr>
          <p:spPr bwMode="auto">
            <a:xfrm>
              <a:off x="1108075" y="6153151"/>
              <a:ext cx="73025" cy="92075"/>
            </a:xfrm>
            <a:custGeom>
              <a:avLst/>
              <a:gdLst>
                <a:gd name="T0" fmla="*/ 185 w 185"/>
                <a:gd name="T1" fmla="*/ 39 h 229"/>
                <a:gd name="T2" fmla="*/ 185 w 185"/>
                <a:gd name="T3" fmla="*/ 0 h 229"/>
                <a:gd name="T4" fmla="*/ 0 w 185"/>
                <a:gd name="T5" fmla="*/ 0 h 229"/>
                <a:gd name="T6" fmla="*/ 0 w 185"/>
                <a:gd name="T7" fmla="*/ 39 h 229"/>
                <a:gd name="T8" fmla="*/ 70 w 185"/>
                <a:gd name="T9" fmla="*/ 39 h 229"/>
                <a:gd name="T10" fmla="*/ 70 w 185"/>
                <a:gd name="T11" fmla="*/ 229 h 229"/>
                <a:gd name="T12" fmla="*/ 116 w 185"/>
                <a:gd name="T13" fmla="*/ 229 h 229"/>
                <a:gd name="T14" fmla="*/ 116 w 185"/>
                <a:gd name="T15" fmla="*/ 39 h 229"/>
                <a:gd name="T16" fmla="*/ 185 w 185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185" y="39"/>
                  </a:moveTo>
                  <a:lnTo>
                    <a:pt x="185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229"/>
                  </a:lnTo>
                  <a:lnTo>
                    <a:pt x="116" y="229"/>
                  </a:lnTo>
                  <a:lnTo>
                    <a:pt x="116" y="39"/>
                  </a:lnTo>
                  <a:lnTo>
                    <a:pt x="185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8" name="Freeform 97"/>
            <p:cNvSpPr>
              <a:spLocks noEditPoints="1"/>
            </p:cNvSpPr>
            <p:nvPr userDrawn="1"/>
          </p:nvSpPr>
          <p:spPr bwMode="auto">
            <a:xfrm>
              <a:off x="1193800" y="6153151"/>
              <a:ext cx="74613" cy="92075"/>
            </a:xfrm>
            <a:custGeom>
              <a:avLst/>
              <a:gdLst>
                <a:gd name="T0" fmla="*/ 44 w 184"/>
                <a:gd name="T1" fmla="*/ 0 h 229"/>
                <a:gd name="T2" fmla="*/ 0 w 184"/>
                <a:gd name="T3" fmla="*/ 0 h 229"/>
                <a:gd name="T4" fmla="*/ 0 w 184"/>
                <a:gd name="T5" fmla="*/ 229 h 229"/>
                <a:gd name="T6" fmla="*/ 105 w 184"/>
                <a:gd name="T7" fmla="*/ 229 h 229"/>
                <a:gd name="T8" fmla="*/ 105 w 184"/>
                <a:gd name="T9" fmla="*/ 229 h 229"/>
                <a:gd name="T10" fmla="*/ 114 w 184"/>
                <a:gd name="T11" fmla="*/ 229 h 229"/>
                <a:gd name="T12" fmla="*/ 122 w 184"/>
                <a:gd name="T13" fmla="*/ 228 h 229"/>
                <a:gd name="T14" fmla="*/ 129 w 184"/>
                <a:gd name="T15" fmla="*/ 226 h 229"/>
                <a:gd name="T16" fmla="*/ 137 w 184"/>
                <a:gd name="T17" fmla="*/ 224 h 229"/>
                <a:gd name="T18" fmla="*/ 144 w 184"/>
                <a:gd name="T19" fmla="*/ 222 h 229"/>
                <a:gd name="T20" fmla="*/ 150 w 184"/>
                <a:gd name="T21" fmla="*/ 218 h 229"/>
                <a:gd name="T22" fmla="*/ 156 w 184"/>
                <a:gd name="T23" fmla="*/ 214 h 229"/>
                <a:gd name="T24" fmla="*/ 162 w 184"/>
                <a:gd name="T25" fmla="*/ 210 h 229"/>
                <a:gd name="T26" fmla="*/ 167 w 184"/>
                <a:gd name="T27" fmla="*/ 205 h 229"/>
                <a:gd name="T28" fmla="*/ 171 w 184"/>
                <a:gd name="T29" fmla="*/ 200 h 229"/>
                <a:gd name="T30" fmla="*/ 175 w 184"/>
                <a:gd name="T31" fmla="*/ 193 h 229"/>
                <a:gd name="T32" fmla="*/ 178 w 184"/>
                <a:gd name="T33" fmla="*/ 187 h 229"/>
                <a:gd name="T34" fmla="*/ 180 w 184"/>
                <a:gd name="T35" fmla="*/ 180 h 229"/>
                <a:gd name="T36" fmla="*/ 182 w 184"/>
                <a:gd name="T37" fmla="*/ 172 h 229"/>
                <a:gd name="T38" fmla="*/ 183 w 184"/>
                <a:gd name="T39" fmla="*/ 163 h 229"/>
                <a:gd name="T40" fmla="*/ 184 w 184"/>
                <a:gd name="T41" fmla="*/ 154 h 229"/>
                <a:gd name="T42" fmla="*/ 184 w 184"/>
                <a:gd name="T43" fmla="*/ 154 h 229"/>
                <a:gd name="T44" fmla="*/ 183 w 184"/>
                <a:gd name="T45" fmla="*/ 146 h 229"/>
                <a:gd name="T46" fmla="*/ 182 w 184"/>
                <a:gd name="T47" fmla="*/ 137 h 229"/>
                <a:gd name="T48" fmla="*/ 180 w 184"/>
                <a:gd name="T49" fmla="*/ 130 h 229"/>
                <a:gd name="T50" fmla="*/ 178 w 184"/>
                <a:gd name="T51" fmla="*/ 122 h 229"/>
                <a:gd name="T52" fmla="*/ 175 w 184"/>
                <a:gd name="T53" fmla="*/ 116 h 229"/>
                <a:gd name="T54" fmla="*/ 171 w 184"/>
                <a:gd name="T55" fmla="*/ 110 h 229"/>
                <a:gd name="T56" fmla="*/ 167 w 184"/>
                <a:gd name="T57" fmla="*/ 104 h 229"/>
                <a:gd name="T58" fmla="*/ 162 w 184"/>
                <a:gd name="T59" fmla="*/ 99 h 229"/>
                <a:gd name="T60" fmla="*/ 157 w 184"/>
                <a:gd name="T61" fmla="*/ 95 h 229"/>
                <a:gd name="T62" fmla="*/ 151 w 184"/>
                <a:gd name="T63" fmla="*/ 91 h 229"/>
                <a:gd name="T64" fmla="*/ 145 w 184"/>
                <a:gd name="T65" fmla="*/ 88 h 229"/>
                <a:gd name="T66" fmla="*/ 138 w 184"/>
                <a:gd name="T67" fmla="*/ 85 h 229"/>
                <a:gd name="T68" fmla="*/ 131 w 184"/>
                <a:gd name="T69" fmla="*/ 83 h 229"/>
                <a:gd name="T70" fmla="*/ 123 w 184"/>
                <a:gd name="T71" fmla="*/ 82 h 229"/>
                <a:gd name="T72" fmla="*/ 116 w 184"/>
                <a:gd name="T73" fmla="*/ 81 h 229"/>
                <a:gd name="T74" fmla="*/ 108 w 184"/>
                <a:gd name="T75" fmla="*/ 81 h 229"/>
                <a:gd name="T76" fmla="*/ 44 w 184"/>
                <a:gd name="T77" fmla="*/ 81 h 229"/>
                <a:gd name="T78" fmla="*/ 44 w 184"/>
                <a:gd name="T79" fmla="*/ 0 h 229"/>
                <a:gd name="T80" fmla="*/ 44 w 184"/>
                <a:gd name="T81" fmla="*/ 192 h 229"/>
                <a:gd name="T82" fmla="*/ 44 w 184"/>
                <a:gd name="T83" fmla="*/ 118 h 229"/>
                <a:gd name="T84" fmla="*/ 102 w 184"/>
                <a:gd name="T85" fmla="*/ 118 h 229"/>
                <a:gd name="T86" fmla="*/ 102 w 184"/>
                <a:gd name="T87" fmla="*/ 118 h 229"/>
                <a:gd name="T88" fmla="*/ 110 w 184"/>
                <a:gd name="T89" fmla="*/ 118 h 229"/>
                <a:gd name="T90" fmla="*/ 117 w 184"/>
                <a:gd name="T91" fmla="*/ 120 h 229"/>
                <a:gd name="T92" fmla="*/ 123 w 184"/>
                <a:gd name="T93" fmla="*/ 123 h 229"/>
                <a:gd name="T94" fmla="*/ 129 w 184"/>
                <a:gd name="T95" fmla="*/ 127 h 229"/>
                <a:gd name="T96" fmla="*/ 133 w 184"/>
                <a:gd name="T97" fmla="*/ 133 h 229"/>
                <a:gd name="T98" fmla="*/ 136 w 184"/>
                <a:gd name="T99" fmla="*/ 139 h 229"/>
                <a:gd name="T100" fmla="*/ 138 w 184"/>
                <a:gd name="T101" fmla="*/ 146 h 229"/>
                <a:gd name="T102" fmla="*/ 139 w 184"/>
                <a:gd name="T103" fmla="*/ 155 h 229"/>
                <a:gd name="T104" fmla="*/ 139 w 184"/>
                <a:gd name="T105" fmla="*/ 155 h 229"/>
                <a:gd name="T106" fmla="*/ 138 w 184"/>
                <a:gd name="T107" fmla="*/ 163 h 229"/>
                <a:gd name="T108" fmla="*/ 136 w 184"/>
                <a:gd name="T109" fmla="*/ 170 h 229"/>
                <a:gd name="T110" fmla="*/ 133 w 184"/>
                <a:gd name="T111" fmla="*/ 177 h 229"/>
                <a:gd name="T112" fmla="*/ 129 w 184"/>
                <a:gd name="T113" fmla="*/ 182 h 229"/>
                <a:gd name="T114" fmla="*/ 124 w 184"/>
                <a:gd name="T115" fmla="*/ 186 h 229"/>
                <a:gd name="T116" fmla="*/ 118 w 184"/>
                <a:gd name="T117" fmla="*/ 189 h 229"/>
                <a:gd name="T118" fmla="*/ 110 w 184"/>
                <a:gd name="T119" fmla="*/ 191 h 229"/>
                <a:gd name="T120" fmla="*/ 102 w 184"/>
                <a:gd name="T121" fmla="*/ 192 h 229"/>
                <a:gd name="T122" fmla="*/ 44 w 184"/>
                <a:gd name="T123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4" h="229">
                  <a:moveTo>
                    <a:pt x="44" y="0"/>
                  </a:moveTo>
                  <a:lnTo>
                    <a:pt x="0" y="0"/>
                  </a:lnTo>
                  <a:lnTo>
                    <a:pt x="0" y="229"/>
                  </a:lnTo>
                  <a:lnTo>
                    <a:pt x="105" y="229"/>
                  </a:lnTo>
                  <a:lnTo>
                    <a:pt x="105" y="229"/>
                  </a:lnTo>
                  <a:lnTo>
                    <a:pt x="114" y="229"/>
                  </a:lnTo>
                  <a:lnTo>
                    <a:pt x="122" y="228"/>
                  </a:lnTo>
                  <a:lnTo>
                    <a:pt x="129" y="226"/>
                  </a:lnTo>
                  <a:lnTo>
                    <a:pt x="137" y="224"/>
                  </a:lnTo>
                  <a:lnTo>
                    <a:pt x="144" y="222"/>
                  </a:lnTo>
                  <a:lnTo>
                    <a:pt x="150" y="218"/>
                  </a:lnTo>
                  <a:lnTo>
                    <a:pt x="156" y="214"/>
                  </a:lnTo>
                  <a:lnTo>
                    <a:pt x="162" y="210"/>
                  </a:lnTo>
                  <a:lnTo>
                    <a:pt x="167" y="205"/>
                  </a:lnTo>
                  <a:lnTo>
                    <a:pt x="171" y="200"/>
                  </a:lnTo>
                  <a:lnTo>
                    <a:pt x="175" y="193"/>
                  </a:lnTo>
                  <a:lnTo>
                    <a:pt x="178" y="187"/>
                  </a:lnTo>
                  <a:lnTo>
                    <a:pt x="180" y="180"/>
                  </a:lnTo>
                  <a:lnTo>
                    <a:pt x="182" y="172"/>
                  </a:lnTo>
                  <a:lnTo>
                    <a:pt x="183" y="163"/>
                  </a:lnTo>
                  <a:lnTo>
                    <a:pt x="184" y="154"/>
                  </a:lnTo>
                  <a:lnTo>
                    <a:pt x="184" y="154"/>
                  </a:lnTo>
                  <a:lnTo>
                    <a:pt x="183" y="146"/>
                  </a:lnTo>
                  <a:lnTo>
                    <a:pt x="182" y="137"/>
                  </a:lnTo>
                  <a:lnTo>
                    <a:pt x="180" y="130"/>
                  </a:lnTo>
                  <a:lnTo>
                    <a:pt x="178" y="122"/>
                  </a:lnTo>
                  <a:lnTo>
                    <a:pt x="175" y="116"/>
                  </a:lnTo>
                  <a:lnTo>
                    <a:pt x="171" y="110"/>
                  </a:lnTo>
                  <a:lnTo>
                    <a:pt x="167" y="104"/>
                  </a:lnTo>
                  <a:lnTo>
                    <a:pt x="162" y="99"/>
                  </a:lnTo>
                  <a:lnTo>
                    <a:pt x="157" y="95"/>
                  </a:lnTo>
                  <a:lnTo>
                    <a:pt x="151" y="91"/>
                  </a:lnTo>
                  <a:lnTo>
                    <a:pt x="145" y="88"/>
                  </a:lnTo>
                  <a:lnTo>
                    <a:pt x="138" y="85"/>
                  </a:lnTo>
                  <a:lnTo>
                    <a:pt x="131" y="83"/>
                  </a:lnTo>
                  <a:lnTo>
                    <a:pt x="123" y="82"/>
                  </a:lnTo>
                  <a:lnTo>
                    <a:pt x="116" y="81"/>
                  </a:lnTo>
                  <a:lnTo>
                    <a:pt x="108" y="81"/>
                  </a:lnTo>
                  <a:lnTo>
                    <a:pt x="44" y="81"/>
                  </a:lnTo>
                  <a:lnTo>
                    <a:pt x="44" y="0"/>
                  </a:lnTo>
                  <a:close/>
                  <a:moveTo>
                    <a:pt x="44" y="192"/>
                  </a:moveTo>
                  <a:lnTo>
                    <a:pt x="44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10" y="118"/>
                  </a:lnTo>
                  <a:lnTo>
                    <a:pt x="117" y="120"/>
                  </a:lnTo>
                  <a:lnTo>
                    <a:pt x="123" y="123"/>
                  </a:lnTo>
                  <a:lnTo>
                    <a:pt x="129" y="127"/>
                  </a:lnTo>
                  <a:lnTo>
                    <a:pt x="133" y="133"/>
                  </a:lnTo>
                  <a:lnTo>
                    <a:pt x="136" y="139"/>
                  </a:lnTo>
                  <a:lnTo>
                    <a:pt x="138" y="146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8" y="163"/>
                  </a:lnTo>
                  <a:lnTo>
                    <a:pt x="136" y="170"/>
                  </a:lnTo>
                  <a:lnTo>
                    <a:pt x="133" y="177"/>
                  </a:lnTo>
                  <a:lnTo>
                    <a:pt x="129" y="182"/>
                  </a:lnTo>
                  <a:lnTo>
                    <a:pt x="124" y="186"/>
                  </a:lnTo>
                  <a:lnTo>
                    <a:pt x="118" y="189"/>
                  </a:lnTo>
                  <a:lnTo>
                    <a:pt x="110" y="191"/>
                  </a:lnTo>
                  <a:lnTo>
                    <a:pt x="102" y="192"/>
                  </a:lnTo>
                  <a:lnTo>
                    <a:pt x="44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99" name="Freeform 98"/>
            <p:cNvSpPr>
              <a:spLocks noEditPoints="1"/>
            </p:cNvSpPr>
            <p:nvPr userDrawn="1"/>
          </p:nvSpPr>
          <p:spPr bwMode="auto">
            <a:xfrm>
              <a:off x="1330325" y="6153151"/>
              <a:ext cx="73025" cy="92075"/>
            </a:xfrm>
            <a:custGeom>
              <a:avLst/>
              <a:gdLst>
                <a:gd name="T0" fmla="*/ 0 w 185"/>
                <a:gd name="T1" fmla="*/ 229 h 229"/>
                <a:gd name="T2" fmla="*/ 106 w 185"/>
                <a:gd name="T3" fmla="*/ 229 h 229"/>
                <a:gd name="T4" fmla="*/ 132 w 185"/>
                <a:gd name="T5" fmla="*/ 227 h 229"/>
                <a:gd name="T6" fmla="*/ 147 w 185"/>
                <a:gd name="T7" fmla="*/ 222 h 229"/>
                <a:gd name="T8" fmla="*/ 159 w 185"/>
                <a:gd name="T9" fmla="*/ 215 h 229"/>
                <a:gd name="T10" fmla="*/ 169 w 185"/>
                <a:gd name="T11" fmla="*/ 207 h 229"/>
                <a:gd name="T12" fmla="*/ 177 w 185"/>
                <a:gd name="T13" fmla="*/ 196 h 229"/>
                <a:gd name="T14" fmla="*/ 182 w 185"/>
                <a:gd name="T15" fmla="*/ 182 h 229"/>
                <a:gd name="T16" fmla="*/ 184 w 185"/>
                <a:gd name="T17" fmla="*/ 167 h 229"/>
                <a:gd name="T18" fmla="*/ 185 w 185"/>
                <a:gd name="T19" fmla="*/ 159 h 229"/>
                <a:gd name="T20" fmla="*/ 181 w 185"/>
                <a:gd name="T21" fmla="*/ 138 h 229"/>
                <a:gd name="T22" fmla="*/ 173 w 185"/>
                <a:gd name="T23" fmla="*/ 122 h 229"/>
                <a:gd name="T24" fmla="*/ 161 w 185"/>
                <a:gd name="T25" fmla="*/ 112 h 229"/>
                <a:gd name="T26" fmla="*/ 148 w 185"/>
                <a:gd name="T27" fmla="*/ 106 h 229"/>
                <a:gd name="T28" fmla="*/ 154 w 185"/>
                <a:gd name="T29" fmla="*/ 102 h 229"/>
                <a:gd name="T30" fmla="*/ 165 w 185"/>
                <a:gd name="T31" fmla="*/ 94 h 229"/>
                <a:gd name="T32" fmla="*/ 173 w 185"/>
                <a:gd name="T33" fmla="*/ 82 h 229"/>
                <a:gd name="T34" fmla="*/ 177 w 185"/>
                <a:gd name="T35" fmla="*/ 68 h 229"/>
                <a:gd name="T36" fmla="*/ 178 w 185"/>
                <a:gd name="T37" fmla="*/ 60 h 229"/>
                <a:gd name="T38" fmla="*/ 176 w 185"/>
                <a:gd name="T39" fmla="*/ 46 h 229"/>
                <a:gd name="T40" fmla="*/ 173 w 185"/>
                <a:gd name="T41" fmla="*/ 34 h 229"/>
                <a:gd name="T42" fmla="*/ 167 w 185"/>
                <a:gd name="T43" fmla="*/ 24 h 229"/>
                <a:gd name="T44" fmla="*/ 160 w 185"/>
                <a:gd name="T45" fmla="*/ 15 h 229"/>
                <a:gd name="T46" fmla="*/ 150 w 185"/>
                <a:gd name="T47" fmla="*/ 9 h 229"/>
                <a:gd name="T48" fmla="*/ 126 w 185"/>
                <a:gd name="T49" fmla="*/ 1 h 229"/>
                <a:gd name="T50" fmla="*/ 0 w 185"/>
                <a:gd name="T51" fmla="*/ 0 h 229"/>
                <a:gd name="T52" fmla="*/ 45 w 185"/>
                <a:gd name="T53" fmla="*/ 37 h 229"/>
                <a:gd name="T54" fmla="*/ 104 w 185"/>
                <a:gd name="T55" fmla="*/ 37 h 229"/>
                <a:gd name="T56" fmla="*/ 117 w 185"/>
                <a:gd name="T57" fmla="*/ 39 h 229"/>
                <a:gd name="T58" fmla="*/ 126 w 185"/>
                <a:gd name="T59" fmla="*/ 45 h 229"/>
                <a:gd name="T60" fmla="*/ 131 w 185"/>
                <a:gd name="T61" fmla="*/ 53 h 229"/>
                <a:gd name="T62" fmla="*/ 133 w 185"/>
                <a:gd name="T63" fmla="*/ 64 h 229"/>
                <a:gd name="T64" fmla="*/ 132 w 185"/>
                <a:gd name="T65" fmla="*/ 69 h 229"/>
                <a:gd name="T66" fmla="*/ 129 w 185"/>
                <a:gd name="T67" fmla="*/ 78 h 229"/>
                <a:gd name="T68" fmla="*/ 122 w 185"/>
                <a:gd name="T69" fmla="*/ 85 h 229"/>
                <a:gd name="T70" fmla="*/ 111 w 185"/>
                <a:gd name="T71" fmla="*/ 89 h 229"/>
                <a:gd name="T72" fmla="*/ 45 w 185"/>
                <a:gd name="T73" fmla="*/ 90 h 229"/>
                <a:gd name="T74" fmla="*/ 45 w 185"/>
                <a:gd name="T75" fmla="*/ 127 h 229"/>
                <a:gd name="T76" fmla="*/ 105 w 185"/>
                <a:gd name="T77" fmla="*/ 127 h 229"/>
                <a:gd name="T78" fmla="*/ 120 w 185"/>
                <a:gd name="T79" fmla="*/ 129 h 229"/>
                <a:gd name="T80" fmla="*/ 131 w 185"/>
                <a:gd name="T81" fmla="*/ 136 h 229"/>
                <a:gd name="T82" fmla="*/ 137 w 185"/>
                <a:gd name="T83" fmla="*/ 146 h 229"/>
                <a:gd name="T84" fmla="*/ 140 w 185"/>
                <a:gd name="T85" fmla="*/ 160 h 229"/>
                <a:gd name="T86" fmla="*/ 139 w 185"/>
                <a:gd name="T87" fmla="*/ 167 h 229"/>
                <a:gd name="T88" fmla="*/ 135 w 185"/>
                <a:gd name="T89" fmla="*/ 178 h 229"/>
                <a:gd name="T90" fmla="*/ 127 w 185"/>
                <a:gd name="T91" fmla="*/ 187 h 229"/>
                <a:gd name="T92" fmla="*/ 113 w 185"/>
                <a:gd name="T93" fmla="*/ 191 h 229"/>
                <a:gd name="T94" fmla="*/ 45 w 185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24" y="228"/>
                  </a:lnTo>
                  <a:lnTo>
                    <a:pt x="132" y="227"/>
                  </a:lnTo>
                  <a:lnTo>
                    <a:pt x="140" y="225"/>
                  </a:lnTo>
                  <a:lnTo>
                    <a:pt x="147" y="222"/>
                  </a:lnTo>
                  <a:lnTo>
                    <a:pt x="153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7" y="196"/>
                  </a:lnTo>
                  <a:lnTo>
                    <a:pt x="179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8" y="129"/>
                  </a:lnTo>
                  <a:lnTo>
                    <a:pt x="173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4" y="108"/>
                  </a:lnTo>
                  <a:lnTo>
                    <a:pt x="148" y="106"/>
                  </a:lnTo>
                  <a:lnTo>
                    <a:pt x="148" y="106"/>
                  </a:lnTo>
                  <a:lnTo>
                    <a:pt x="154" y="102"/>
                  </a:lnTo>
                  <a:lnTo>
                    <a:pt x="159" y="98"/>
                  </a:lnTo>
                  <a:lnTo>
                    <a:pt x="165" y="94"/>
                  </a:lnTo>
                  <a:lnTo>
                    <a:pt x="169" y="88"/>
                  </a:lnTo>
                  <a:lnTo>
                    <a:pt x="173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7" y="53"/>
                  </a:lnTo>
                  <a:lnTo>
                    <a:pt x="176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0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60" y="15"/>
                  </a:lnTo>
                  <a:lnTo>
                    <a:pt x="155" y="12"/>
                  </a:lnTo>
                  <a:lnTo>
                    <a:pt x="150" y="9"/>
                  </a:lnTo>
                  <a:lnTo>
                    <a:pt x="139" y="4"/>
                  </a:lnTo>
                  <a:lnTo>
                    <a:pt x="126" y="1"/>
                  </a:lnTo>
                  <a:lnTo>
                    <a:pt x="112" y="0"/>
                  </a:lnTo>
                  <a:lnTo>
                    <a:pt x="0" y="0"/>
                  </a:lnTo>
                  <a:close/>
                  <a:moveTo>
                    <a:pt x="45" y="90"/>
                  </a:moveTo>
                  <a:lnTo>
                    <a:pt x="45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2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6" y="45"/>
                  </a:lnTo>
                  <a:lnTo>
                    <a:pt x="129" y="49"/>
                  </a:lnTo>
                  <a:lnTo>
                    <a:pt x="131" y="53"/>
                  </a:lnTo>
                  <a:lnTo>
                    <a:pt x="132" y="58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9"/>
                  </a:lnTo>
                  <a:lnTo>
                    <a:pt x="131" y="74"/>
                  </a:lnTo>
                  <a:lnTo>
                    <a:pt x="129" y="78"/>
                  </a:lnTo>
                  <a:lnTo>
                    <a:pt x="126" y="82"/>
                  </a:lnTo>
                  <a:lnTo>
                    <a:pt x="122" y="85"/>
                  </a:lnTo>
                  <a:lnTo>
                    <a:pt x="117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5" y="90"/>
                  </a:lnTo>
                  <a:close/>
                  <a:moveTo>
                    <a:pt x="45" y="192"/>
                  </a:moveTo>
                  <a:lnTo>
                    <a:pt x="45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13" y="128"/>
                  </a:lnTo>
                  <a:lnTo>
                    <a:pt x="120" y="129"/>
                  </a:lnTo>
                  <a:lnTo>
                    <a:pt x="126" y="132"/>
                  </a:lnTo>
                  <a:lnTo>
                    <a:pt x="131" y="136"/>
                  </a:lnTo>
                  <a:lnTo>
                    <a:pt x="135" y="141"/>
                  </a:lnTo>
                  <a:lnTo>
                    <a:pt x="137" y="146"/>
                  </a:lnTo>
                  <a:lnTo>
                    <a:pt x="139" y="153"/>
                  </a:lnTo>
                  <a:lnTo>
                    <a:pt x="140" y="160"/>
                  </a:lnTo>
                  <a:lnTo>
                    <a:pt x="140" y="160"/>
                  </a:lnTo>
                  <a:lnTo>
                    <a:pt x="139" y="167"/>
                  </a:lnTo>
                  <a:lnTo>
                    <a:pt x="138" y="173"/>
                  </a:lnTo>
                  <a:lnTo>
                    <a:pt x="135" y="178"/>
                  </a:lnTo>
                  <a:lnTo>
                    <a:pt x="132" y="183"/>
                  </a:lnTo>
                  <a:lnTo>
                    <a:pt x="127" y="187"/>
                  </a:lnTo>
                  <a:lnTo>
                    <a:pt x="121" y="190"/>
                  </a:lnTo>
                  <a:lnTo>
                    <a:pt x="113" y="191"/>
                  </a:lnTo>
                  <a:lnTo>
                    <a:pt x="104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0" name="Freeform 99"/>
            <p:cNvSpPr>
              <a:spLocks noEditPoints="1"/>
            </p:cNvSpPr>
            <p:nvPr userDrawn="1"/>
          </p:nvSpPr>
          <p:spPr bwMode="auto">
            <a:xfrm>
              <a:off x="1416050" y="6151563"/>
              <a:ext cx="80963" cy="95250"/>
            </a:xfrm>
            <a:custGeom>
              <a:avLst/>
              <a:gdLst>
                <a:gd name="T0" fmla="*/ 203 w 204"/>
                <a:gd name="T1" fmla="*/ 105 h 239"/>
                <a:gd name="T2" fmla="*/ 196 w 204"/>
                <a:gd name="T3" fmla="*/ 70 h 239"/>
                <a:gd name="T4" fmla="*/ 181 w 204"/>
                <a:gd name="T5" fmla="*/ 41 h 239"/>
                <a:gd name="T6" fmla="*/ 160 w 204"/>
                <a:gd name="T7" fmla="*/ 19 h 239"/>
                <a:gd name="T8" fmla="*/ 133 w 204"/>
                <a:gd name="T9" fmla="*/ 5 h 239"/>
                <a:gd name="T10" fmla="*/ 102 w 204"/>
                <a:gd name="T11" fmla="*/ 0 h 239"/>
                <a:gd name="T12" fmla="*/ 81 w 204"/>
                <a:gd name="T13" fmla="*/ 2 h 239"/>
                <a:gd name="T14" fmla="*/ 53 w 204"/>
                <a:gd name="T15" fmla="*/ 13 h 239"/>
                <a:gd name="T16" fmla="*/ 29 w 204"/>
                <a:gd name="T17" fmla="*/ 32 h 239"/>
                <a:gd name="T18" fmla="*/ 12 w 204"/>
                <a:gd name="T19" fmla="*/ 59 h 239"/>
                <a:gd name="T20" fmla="*/ 2 w 204"/>
                <a:gd name="T21" fmla="*/ 93 h 239"/>
                <a:gd name="T22" fmla="*/ 0 w 204"/>
                <a:gd name="T23" fmla="*/ 120 h 239"/>
                <a:gd name="T24" fmla="*/ 4 w 204"/>
                <a:gd name="T25" fmla="*/ 157 h 239"/>
                <a:gd name="T26" fmla="*/ 16 w 204"/>
                <a:gd name="T27" fmla="*/ 189 h 239"/>
                <a:gd name="T28" fmla="*/ 36 w 204"/>
                <a:gd name="T29" fmla="*/ 214 h 239"/>
                <a:gd name="T30" fmla="*/ 60 w 204"/>
                <a:gd name="T31" fmla="*/ 230 h 239"/>
                <a:gd name="T32" fmla="*/ 90 w 204"/>
                <a:gd name="T33" fmla="*/ 238 h 239"/>
                <a:gd name="T34" fmla="*/ 111 w 204"/>
                <a:gd name="T35" fmla="*/ 238 h 239"/>
                <a:gd name="T36" fmla="*/ 141 w 204"/>
                <a:gd name="T37" fmla="*/ 231 h 239"/>
                <a:gd name="T38" fmla="*/ 167 w 204"/>
                <a:gd name="T39" fmla="*/ 214 h 239"/>
                <a:gd name="T40" fmla="*/ 187 w 204"/>
                <a:gd name="T41" fmla="*/ 190 h 239"/>
                <a:gd name="T42" fmla="*/ 199 w 204"/>
                <a:gd name="T43" fmla="*/ 158 h 239"/>
                <a:gd name="T44" fmla="*/ 204 w 204"/>
                <a:gd name="T45" fmla="*/ 119 h 239"/>
                <a:gd name="T46" fmla="*/ 158 w 204"/>
                <a:gd name="T47" fmla="*/ 120 h 239"/>
                <a:gd name="T48" fmla="*/ 150 w 204"/>
                <a:gd name="T49" fmla="*/ 162 h 239"/>
                <a:gd name="T50" fmla="*/ 135 w 204"/>
                <a:gd name="T51" fmla="*/ 183 h 239"/>
                <a:gd name="T52" fmla="*/ 120 w 204"/>
                <a:gd name="T53" fmla="*/ 193 h 239"/>
                <a:gd name="T54" fmla="*/ 102 w 204"/>
                <a:gd name="T55" fmla="*/ 196 h 239"/>
                <a:gd name="T56" fmla="*/ 90 w 204"/>
                <a:gd name="T57" fmla="*/ 195 h 239"/>
                <a:gd name="T58" fmla="*/ 74 w 204"/>
                <a:gd name="T59" fmla="*/ 188 h 239"/>
                <a:gd name="T60" fmla="*/ 61 w 204"/>
                <a:gd name="T61" fmla="*/ 176 h 239"/>
                <a:gd name="T62" fmla="*/ 52 w 204"/>
                <a:gd name="T63" fmla="*/ 159 h 239"/>
                <a:gd name="T64" fmla="*/ 45 w 204"/>
                <a:gd name="T65" fmla="*/ 119 h 239"/>
                <a:gd name="T66" fmla="*/ 49 w 204"/>
                <a:gd name="T67" fmla="*/ 88 h 239"/>
                <a:gd name="T68" fmla="*/ 60 w 204"/>
                <a:gd name="T69" fmla="*/ 64 h 239"/>
                <a:gd name="T70" fmla="*/ 72 w 204"/>
                <a:gd name="T71" fmla="*/ 51 h 239"/>
                <a:gd name="T72" fmla="*/ 88 w 204"/>
                <a:gd name="T73" fmla="*/ 44 h 239"/>
                <a:gd name="T74" fmla="*/ 100 w 204"/>
                <a:gd name="T75" fmla="*/ 43 h 239"/>
                <a:gd name="T76" fmla="*/ 119 w 204"/>
                <a:gd name="T77" fmla="*/ 46 h 239"/>
                <a:gd name="T78" fmla="*/ 134 w 204"/>
                <a:gd name="T79" fmla="*/ 55 h 239"/>
                <a:gd name="T80" fmla="*/ 146 w 204"/>
                <a:gd name="T81" fmla="*/ 69 h 239"/>
                <a:gd name="T82" fmla="*/ 154 w 204"/>
                <a:gd name="T83" fmla="*/ 88 h 239"/>
                <a:gd name="T84" fmla="*/ 158 w 204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4" h="239">
                  <a:moveTo>
                    <a:pt x="204" y="119"/>
                  </a:moveTo>
                  <a:lnTo>
                    <a:pt x="204" y="119"/>
                  </a:lnTo>
                  <a:lnTo>
                    <a:pt x="203" y="105"/>
                  </a:lnTo>
                  <a:lnTo>
                    <a:pt x="202" y="93"/>
                  </a:lnTo>
                  <a:lnTo>
                    <a:pt x="199" y="81"/>
                  </a:lnTo>
                  <a:lnTo>
                    <a:pt x="196" y="70"/>
                  </a:lnTo>
                  <a:lnTo>
                    <a:pt x="192" y="59"/>
                  </a:lnTo>
                  <a:lnTo>
                    <a:pt x="187" y="50"/>
                  </a:lnTo>
                  <a:lnTo>
                    <a:pt x="181" y="41"/>
                  </a:lnTo>
                  <a:lnTo>
                    <a:pt x="175" y="33"/>
                  </a:lnTo>
                  <a:lnTo>
                    <a:pt x="168" y="25"/>
                  </a:lnTo>
                  <a:lnTo>
                    <a:pt x="160" y="19"/>
                  </a:lnTo>
                  <a:lnTo>
                    <a:pt x="151" y="13"/>
                  </a:lnTo>
                  <a:lnTo>
                    <a:pt x="142" y="9"/>
                  </a:lnTo>
                  <a:lnTo>
                    <a:pt x="133" y="5"/>
                  </a:lnTo>
                  <a:lnTo>
                    <a:pt x="123" y="3"/>
                  </a:lnTo>
                  <a:lnTo>
                    <a:pt x="113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1" y="1"/>
                  </a:lnTo>
                  <a:lnTo>
                    <a:pt x="81" y="2"/>
                  </a:lnTo>
                  <a:lnTo>
                    <a:pt x="71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5"/>
                  </a:lnTo>
                  <a:lnTo>
                    <a:pt x="4" y="157"/>
                  </a:lnTo>
                  <a:lnTo>
                    <a:pt x="7" y="169"/>
                  </a:lnTo>
                  <a:lnTo>
                    <a:pt x="12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3" y="220"/>
                  </a:lnTo>
                  <a:lnTo>
                    <a:pt x="52" y="226"/>
                  </a:lnTo>
                  <a:lnTo>
                    <a:pt x="60" y="230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1" y="238"/>
                  </a:lnTo>
                  <a:lnTo>
                    <a:pt x="122" y="237"/>
                  </a:lnTo>
                  <a:lnTo>
                    <a:pt x="132" y="234"/>
                  </a:lnTo>
                  <a:lnTo>
                    <a:pt x="141" y="231"/>
                  </a:lnTo>
                  <a:lnTo>
                    <a:pt x="151" y="226"/>
                  </a:lnTo>
                  <a:lnTo>
                    <a:pt x="159" y="221"/>
                  </a:lnTo>
                  <a:lnTo>
                    <a:pt x="167" y="214"/>
                  </a:lnTo>
                  <a:lnTo>
                    <a:pt x="174" y="207"/>
                  </a:lnTo>
                  <a:lnTo>
                    <a:pt x="181" y="199"/>
                  </a:lnTo>
                  <a:lnTo>
                    <a:pt x="187" y="190"/>
                  </a:lnTo>
                  <a:lnTo>
                    <a:pt x="192" y="180"/>
                  </a:lnTo>
                  <a:lnTo>
                    <a:pt x="196" y="169"/>
                  </a:lnTo>
                  <a:lnTo>
                    <a:pt x="199" y="158"/>
                  </a:lnTo>
                  <a:lnTo>
                    <a:pt x="202" y="145"/>
                  </a:lnTo>
                  <a:lnTo>
                    <a:pt x="203" y="132"/>
                  </a:lnTo>
                  <a:lnTo>
                    <a:pt x="204" y="119"/>
                  </a:lnTo>
                  <a:lnTo>
                    <a:pt x="204" y="119"/>
                  </a:lnTo>
                  <a:close/>
                  <a:moveTo>
                    <a:pt x="158" y="120"/>
                  </a:moveTo>
                  <a:lnTo>
                    <a:pt x="158" y="120"/>
                  </a:lnTo>
                  <a:lnTo>
                    <a:pt x="157" y="135"/>
                  </a:lnTo>
                  <a:lnTo>
                    <a:pt x="154" y="149"/>
                  </a:lnTo>
                  <a:lnTo>
                    <a:pt x="150" y="162"/>
                  </a:lnTo>
                  <a:lnTo>
                    <a:pt x="143" y="174"/>
                  </a:lnTo>
                  <a:lnTo>
                    <a:pt x="139" y="179"/>
                  </a:lnTo>
                  <a:lnTo>
                    <a:pt x="135" y="183"/>
                  </a:lnTo>
                  <a:lnTo>
                    <a:pt x="130" y="187"/>
                  </a:lnTo>
                  <a:lnTo>
                    <a:pt x="125" y="190"/>
                  </a:lnTo>
                  <a:lnTo>
                    <a:pt x="120" y="193"/>
                  </a:lnTo>
                  <a:lnTo>
                    <a:pt x="114" y="195"/>
                  </a:lnTo>
                  <a:lnTo>
                    <a:pt x="108" y="196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96" y="196"/>
                  </a:lnTo>
                  <a:lnTo>
                    <a:pt x="90" y="195"/>
                  </a:lnTo>
                  <a:lnTo>
                    <a:pt x="84" y="193"/>
                  </a:lnTo>
                  <a:lnTo>
                    <a:pt x="79" y="191"/>
                  </a:lnTo>
                  <a:lnTo>
                    <a:pt x="74" y="188"/>
                  </a:lnTo>
                  <a:lnTo>
                    <a:pt x="69" y="185"/>
                  </a:lnTo>
                  <a:lnTo>
                    <a:pt x="65" y="181"/>
                  </a:lnTo>
                  <a:lnTo>
                    <a:pt x="61" y="176"/>
                  </a:lnTo>
                  <a:lnTo>
                    <a:pt x="57" y="171"/>
                  </a:lnTo>
                  <a:lnTo>
                    <a:pt x="54" y="165"/>
                  </a:lnTo>
                  <a:lnTo>
                    <a:pt x="52" y="159"/>
                  </a:lnTo>
                  <a:lnTo>
                    <a:pt x="49" y="152"/>
                  </a:lnTo>
                  <a:lnTo>
                    <a:pt x="46" y="136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8"/>
                  </a:lnTo>
                  <a:lnTo>
                    <a:pt x="54" y="75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8" y="44"/>
                  </a:lnTo>
                  <a:lnTo>
                    <a:pt x="94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7" y="43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4" y="49"/>
                  </a:lnTo>
                  <a:lnTo>
                    <a:pt x="130" y="51"/>
                  </a:lnTo>
                  <a:lnTo>
                    <a:pt x="134" y="55"/>
                  </a:lnTo>
                  <a:lnTo>
                    <a:pt x="139" y="59"/>
                  </a:lnTo>
                  <a:lnTo>
                    <a:pt x="143" y="64"/>
                  </a:lnTo>
                  <a:lnTo>
                    <a:pt x="146" y="69"/>
                  </a:lnTo>
                  <a:lnTo>
                    <a:pt x="150" y="75"/>
                  </a:lnTo>
                  <a:lnTo>
                    <a:pt x="152" y="81"/>
                  </a:lnTo>
                  <a:lnTo>
                    <a:pt x="154" y="88"/>
                  </a:lnTo>
                  <a:lnTo>
                    <a:pt x="157" y="103"/>
                  </a:lnTo>
                  <a:lnTo>
                    <a:pt x="158" y="120"/>
                  </a:lnTo>
                  <a:lnTo>
                    <a:pt x="158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1" name="Freeform 100"/>
            <p:cNvSpPr>
              <a:spLocks/>
            </p:cNvSpPr>
            <p:nvPr userDrawn="1"/>
          </p:nvSpPr>
          <p:spPr bwMode="auto">
            <a:xfrm>
              <a:off x="1516063" y="6153151"/>
              <a:ext cx="73025" cy="92075"/>
            </a:xfrm>
            <a:custGeom>
              <a:avLst/>
              <a:gdLst>
                <a:gd name="T0" fmla="*/ 0 w 185"/>
                <a:gd name="T1" fmla="*/ 0 h 229"/>
                <a:gd name="T2" fmla="*/ 0 w 185"/>
                <a:gd name="T3" fmla="*/ 229 h 229"/>
                <a:gd name="T4" fmla="*/ 45 w 185"/>
                <a:gd name="T5" fmla="*/ 229 h 229"/>
                <a:gd name="T6" fmla="*/ 45 w 185"/>
                <a:gd name="T7" fmla="*/ 39 h 229"/>
                <a:gd name="T8" fmla="*/ 140 w 185"/>
                <a:gd name="T9" fmla="*/ 39 h 229"/>
                <a:gd name="T10" fmla="*/ 140 w 185"/>
                <a:gd name="T11" fmla="*/ 229 h 229"/>
                <a:gd name="T12" fmla="*/ 185 w 185"/>
                <a:gd name="T13" fmla="*/ 229 h 229"/>
                <a:gd name="T14" fmla="*/ 185 w 185"/>
                <a:gd name="T15" fmla="*/ 0 h 229"/>
                <a:gd name="T16" fmla="*/ 0 w 185"/>
                <a:gd name="T17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45" y="229"/>
                  </a:lnTo>
                  <a:lnTo>
                    <a:pt x="45" y="39"/>
                  </a:lnTo>
                  <a:lnTo>
                    <a:pt x="140" y="39"/>
                  </a:lnTo>
                  <a:lnTo>
                    <a:pt x="140" y="229"/>
                  </a:lnTo>
                  <a:lnTo>
                    <a:pt x="185" y="229"/>
                  </a:lnTo>
                  <a:lnTo>
                    <a:pt x="1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2" name="Freeform 101"/>
            <p:cNvSpPr>
              <a:spLocks noEditPoints="1"/>
            </p:cNvSpPr>
            <p:nvPr userDrawn="1"/>
          </p:nvSpPr>
          <p:spPr bwMode="auto">
            <a:xfrm>
              <a:off x="1611313" y="6151563"/>
              <a:ext cx="76200" cy="127000"/>
            </a:xfrm>
            <a:custGeom>
              <a:avLst/>
              <a:gdLst>
                <a:gd name="T0" fmla="*/ 192 w 192"/>
                <a:gd name="T1" fmla="*/ 123 h 319"/>
                <a:gd name="T2" fmla="*/ 191 w 192"/>
                <a:gd name="T3" fmla="*/ 93 h 319"/>
                <a:gd name="T4" fmla="*/ 186 w 192"/>
                <a:gd name="T5" fmla="*/ 67 h 319"/>
                <a:gd name="T6" fmla="*/ 178 w 192"/>
                <a:gd name="T7" fmla="*/ 46 h 319"/>
                <a:gd name="T8" fmla="*/ 167 w 192"/>
                <a:gd name="T9" fmla="*/ 29 h 319"/>
                <a:gd name="T10" fmla="*/ 154 w 192"/>
                <a:gd name="T11" fmla="*/ 16 h 319"/>
                <a:gd name="T12" fmla="*/ 139 w 192"/>
                <a:gd name="T13" fmla="*/ 7 h 319"/>
                <a:gd name="T14" fmla="*/ 122 w 192"/>
                <a:gd name="T15" fmla="*/ 2 h 319"/>
                <a:gd name="T16" fmla="*/ 104 w 192"/>
                <a:gd name="T17" fmla="*/ 0 h 319"/>
                <a:gd name="T18" fmla="*/ 96 w 192"/>
                <a:gd name="T19" fmla="*/ 1 h 319"/>
                <a:gd name="T20" fmla="*/ 79 w 192"/>
                <a:gd name="T21" fmla="*/ 5 h 319"/>
                <a:gd name="T22" fmla="*/ 64 w 192"/>
                <a:gd name="T23" fmla="*/ 12 h 319"/>
                <a:gd name="T24" fmla="*/ 45 w 192"/>
                <a:gd name="T25" fmla="*/ 27 h 319"/>
                <a:gd name="T26" fmla="*/ 0 w 192"/>
                <a:gd name="T27" fmla="*/ 5 h 319"/>
                <a:gd name="T28" fmla="*/ 45 w 192"/>
                <a:gd name="T29" fmla="*/ 295 h 319"/>
                <a:gd name="T30" fmla="*/ 45 w 192"/>
                <a:gd name="T31" fmla="*/ 213 h 319"/>
                <a:gd name="T32" fmla="*/ 58 w 192"/>
                <a:gd name="T33" fmla="*/ 224 h 319"/>
                <a:gd name="T34" fmla="*/ 72 w 192"/>
                <a:gd name="T35" fmla="*/ 232 h 319"/>
                <a:gd name="T36" fmla="*/ 87 w 192"/>
                <a:gd name="T37" fmla="*/ 237 h 319"/>
                <a:gd name="T38" fmla="*/ 102 w 192"/>
                <a:gd name="T39" fmla="*/ 239 h 319"/>
                <a:gd name="T40" fmla="*/ 111 w 192"/>
                <a:gd name="T41" fmla="*/ 238 h 319"/>
                <a:gd name="T42" fmla="*/ 128 w 192"/>
                <a:gd name="T43" fmla="*/ 235 h 319"/>
                <a:gd name="T44" fmla="*/ 144 w 192"/>
                <a:gd name="T45" fmla="*/ 228 h 319"/>
                <a:gd name="T46" fmla="*/ 159 w 192"/>
                <a:gd name="T47" fmla="*/ 217 h 319"/>
                <a:gd name="T48" fmla="*/ 171 w 192"/>
                <a:gd name="T49" fmla="*/ 203 h 319"/>
                <a:gd name="T50" fmla="*/ 181 w 192"/>
                <a:gd name="T51" fmla="*/ 185 h 319"/>
                <a:gd name="T52" fmla="*/ 188 w 192"/>
                <a:gd name="T53" fmla="*/ 163 h 319"/>
                <a:gd name="T54" fmla="*/ 192 w 192"/>
                <a:gd name="T55" fmla="*/ 138 h 319"/>
                <a:gd name="T56" fmla="*/ 192 w 192"/>
                <a:gd name="T57" fmla="*/ 123 h 319"/>
                <a:gd name="T58" fmla="*/ 147 w 192"/>
                <a:gd name="T59" fmla="*/ 125 h 319"/>
                <a:gd name="T60" fmla="*/ 144 w 192"/>
                <a:gd name="T61" fmla="*/ 156 h 319"/>
                <a:gd name="T62" fmla="*/ 138 w 192"/>
                <a:gd name="T63" fmla="*/ 174 h 319"/>
                <a:gd name="T64" fmla="*/ 132 w 192"/>
                <a:gd name="T65" fmla="*/ 183 h 319"/>
                <a:gd name="T66" fmla="*/ 124 w 192"/>
                <a:gd name="T67" fmla="*/ 190 h 319"/>
                <a:gd name="T68" fmla="*/ 115 w 192"/>
                <a:gd name="T69" fmla="*/ 195 h 319"/>
                <a:gd name="T70" fmla="*/ 104 w 192"/>
                <a:gd name="T71" fmla="*/ 197 h 319"/>
                <a:gd name="T72" fmla="*/ 98 w 192"/>
                <a:gd name="T73" fmla="*/ 197 h 319"/>
                <a:gd name="T74" fmla="*/ 81 w 192"/>
                <a:gd name="T75" fmla="*/ 195 h 319"/>
                <a:gd name="T76" fmla="*/ 66 w 192"/>
                <a:gd name="T77" fmla="*/ 187 h 319"/>
                <a:gd name="T78" fmla="*/ 54 w 192"/>
                <a:gd name="T79" fmla="*/ 178 h 319"/>
                <a:gd name="T80" fmla="*/ 44 w 192"/>
                <a:gd name="T81" fmla="*/ 167 h 319"/>
                <a:gd name="T82" fmla="*/ 44 w 192"/>
                <a:gd name="T83" fmla="*/ 71 h 319"/>
                <a:gd name="T84" fmla="*/ 56 w 192"/>
                <a:gd name="T85" fmla="*/ 59 h 319"/>
                <a:gd name="T86" fmla="*/ 68 w 192"/>
                <a:gd name="T87" fmla="*/ 50 h 319"/>
                <a:gd name="T88" fmla="*/ 82 w 192"/>
                <a:gd name="T89" fmla="*/ 44 h 319"/>
                <a:gd name="T90" fmla="*/ 96 w 192"/>
                <a:gd name="T91" fmla="*/ 42 h 319"/>
                <a:gd name="T92" fmla="*/ 102 w 192"/>
                <a:gd name="T93" fmla="*/ 42 h 319"/>
                <a:gd name="T94" fmla="*/ 113 w 192"/>
                <a:gd name="T95" fmla="*/ 45 h 319"/>
                <a:gd name="T96" fmla="*/ 123 w 192"/>
                <a:gd name="T97" fmla="*/ 49 h 319"/>
                <a:gd name="T98" fmla="*/ 131 w 192"/>
                <a:gd name="T99" fmla="*/ 57 h 319"/>
                <a:gd name="T100" fmla="*/ 137 w 192"/>
                <a:gd name="T101" fmla="*/ 67 h 319"/>
                <a:gd name="T102" fmla="*/ 144 w 192"/>
                <a:gd name="T103" fmla="*/ 88 h 319"/>
                <a:gd name="T104" fmla="*/ 147 w 192"/>
                <a:gd name="T105" fmla="*/ 125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2" h="319">
                  <a:moveTo>
                    <a:pt x="192" y="123"/>
                  </a:moveTo>
                  <a:lnTo>
                    <a:pt x="192" y="123"/>
                  </a:lnTo>
                  <a:lnTo>
                    <a:pt x="192" y="107"/>
                  </a:lnTo>
                  <a:lnTo>
                    <a:pt x="191" y="93"/>
                  </a:lnTo>
                  <a:lnTo>
                    <a:pt x="188" y="79"/>
                  </a:lnTo>
                  <a:lnTo>
                    <a:pt x="186" y="67"/>
                  </a:lnTo>
                  <a:lnTo>
                    <a:pt x="182" y="56"/>
                  </a:lnTo>
                  <a:lnTo>
                    <a:pt x="178" y="46"/>
                  </a:lnTo>
                  <a:lnTo>
                    <a:pt x="172" y="37"/>
                  </a:lnTo>
                  <a:lnTo>
                    <a:pt x="167" y="29"/>
                  </a:lnTo>
                  <a:lnTo>
                    <a:pt x="161" y="22"/>
                  </a:lnTo>
                  <a:lnTo>
                    <a:pt x="154" y="16"/>
                  </a:lnTo>
                  <a:lnTo>
                    <a:pt x="147" y="11"/>
                  </a:lnTo>
                  <a:lnTo>
                    <a:pt x="139" y="7"/>
                  </a:lnTo>
                  <a:lnTo>
                    <a:pt x="131" y="4"/>
                  </a:lnTo>
                  <a:lnTo>
                    <a:pt x="122" y="2"/>
                  </a:lnTo>
                  <a:lnTo>
                    <a:pt x="113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6" y="1"/>
                  </a:lnTo>
                  <a:lnTo>
                    <a:pt x="87" y="2"/>
                  </a:lnTo>
                  <a:lnTo>
                    <a:pt x="79" y="5"/>
                  </a:lnTo>
                  <a:lnTo>
                    <a:pt x="72" y="8"/>
                  </a:lnTo>
                  <a:lnTo>
                    <a:pt x="64" y="12"/>
                  </a:lnTo>
                  <a:lnTo>
                    <a:pt x="58" y="16"/>
                  </a:lnTo>
                  <a:lnTo>
                    <a:pt x="45" y="27"/>
                  </a:lnTo>
                  <a:lnTo>
                    <a:pt x="45" y="5"/>
                  </a:lnTo>
                  <a:lnTo>
                    <a:pt x="0" y="5"/>
                  </a:lnTo>
                  <a:lnTo>
                    <a:pt x="0" y="319"/>
                  </a:lnTo>
                  <a:lnTo>
                    <a:pt x="45" y="295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51" y="219"/>
                  </a:lnTo>
                  <a:lnTo>
                    <a:pt x="58" y="224"/>
                  </a:lnTo>
                  <a:lnTo>
                    <a:pt x="65" y="229"/>
                  </a:lnTo>
                  <a:lnTo>
                    <a:pt x="72" y="232"/>
                  </a:lnTo>
                  <a:lnTo>
                    <a:pt x="79" y="235"/>
                  </a:lnTo>
                  <a:lnTo>
                    <a:pt x="87" y="237"/>
                  </a:lnTo>
                  <a:lnTo>
                    <a:pt x="95" y="238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11" y="238"/>
                  </a:lnTo>
                  <a:lnTo>
                    <a:pt x="120" y="237"/>
                  </a:lnTo>
                  <a:lnTo>
                    <a:pt x="128" y="235"/>
                  </a:lnTo>
                  <a:lnTo>
                    <a:pt x="136" y="232"/>
                  </a:lnTo>
                  <a:lnTo>
                    <a:pt x="144" y="228"/>
                  </a:lnTo>
                  <a:lnTo>
                    <a:pt x="152" y="223"/>
                  </a:lnTo>
                  <a:lnTo>
                    <a:pt x="159" y="217"/>
                  </a:lnTo>
                  <a:lnTo>
                    <a:pt x="165" y="211"/>
                  </a:lnTo>
                  <a:lnTo>
                    <a:pt x="171" y="203"/>
                  </a:lnTo>
                  <a:lnTo>
                    <a:pt x="176" y="194"/>
                  </a:lnTo>
                  <a:lnTo>
                    <a:pt x="181" y="185"/>
                  </a:lnTo>
                  <a:lnTo>
                    <a:pt x="185" y="174"/>
                  </a:lnTo>
                  <a:lnTo>
                    <a:pt x="188" y="163"/>
                  </a:lnTo>
                  <a:lnTo>
                    <a:pt x="190" y="151"/>
                  </a:lnTo>
                  <a:lnTo>
                    <a:pt x="192" y="138"/>
                  </a:lnTo>
                  <a:lnTo>
                    <a:pt x="192" y="123"/>
                  </a:lnTo>
                  <a:lnTo>
                    <a:pt x="192" y="123"/>
                  </a:lnTo>
                  <a:close/>
                  <a:moveTo>
                    <a:pt x="147" y="125"/>
                  </a:moveTo>
                  <a:lnTo>
                    <a:pt x="147" y="125"/>
                  </a:lnTo>
                  <a:lnTo>
                    <a:pt x="147" y="142"/>
                  </a:lnTo>
                  <a:lnTo>
                    <a:pt x="144" y="156"/>
                  </a:lnTo>
                  <a:lnTo>
                    <a:pt x="140" y="169"/>
                  </a:lnTo>
                  <a:lnTo>
                    <a:pt x="138" y="174"/>
                  </a:lnTo>
                  <a:lnTo>
                    <a:pt x="135" y="179"/>
                  </a:lnTo>
                  <a:lnTo>
                    <a:pt x="132" y="183"/>
                  </a:lnTo>
                  <a:lnTo>
                    <a:pt x="128" y="187"/>
                  </a:lnTo>
                  <a:lnTo>
                    <a:pt x="124" y="190"/>
                  </a:lnTo>
                  <a:lnTo>
                    <a:pt x="119" y="193"/>
                  </a:lnTo>
                  <a:lnTo>
                    <a:pt x="115" y="195"/>
                  </a:lnTo>
                  <a:lnTo>
                    <a:pt x="109" y="196"/>
                  </a:lnTo>
                  <a:lnTo>
                    <a:pt x="104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89" y="197"/>
                  </a:lnTo>
                  <a:lnTo>
                    <a:pt x="81" y="195"/>
                  </a:lnTo>
                  <a:lnTo>
                    <a:pt x="74" y="191"/>
                  </a:lnTo>
                  <a:lnTo>
                    <a:pt x="66" y="187"/>
                  </a:lnTo>
                  <a:lnTo>
                    <a:pt x="60" y="183"/>
                  </a:lnTo>
                  <a:lnTo>
                    <a:pt x="54" y="178"/>
                  </a:lnTo>
                  <a:lnTo>
                    <a:pt x="48" y="173"/>
                  </a:lnTo>
                  <a:lnTo>
                    <a:pt x="44" y="167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50" y="64"/>
                  </a:lnTo>
                  <a:lnTo>
                    <a:pt x="56" y="59"/>
                  </a:lnTo>
                  <a:lnTo>
                    <a:pt x="62" y="54"/>
                  </a:lnTo>
                  <a:lnTo>
                    <a:pt x="68" y="50"/>
                  </a:lnTo>
                  <a:lnTo>
                    <a:pt x="75" y="46"/>
                  </a:lnTo>
                  <a:lnTo>
                    <a:pt x="82" y="44"/>
                  </a:lnTo>
                  <a:lnTo>
                    <a:pt x="89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102" y="42"/>
                  </a:lnTo>
                  <a:lnTo>
                    <a:pt x="108" y="43"/>
                  </a:lnTo>
                  <a:lnTo>
                    <a:pt x="113" y="45"/>
                  </a:lnTo>
                  <a:lnTo>
                    <a:pt x="118" y="47"/>
                  </a:lnTo>
                  <a:lnTo>
                    <a:pt x="123" y="49"/>
                  </a:lnTo>
                  <a:lnTo>
                    <a:pt x="127" y="53"/>
                  </a:lnTo>
                  <a:lnTo>
                    <a:pt x="131" y="57"/>
                  </a:lnTo>
                  <a:lnTo>
                    <a:pt x="134" y="62"/>
                  </a:lnTo>
                  <a:lnTo>
                    <a:pt x="137" y="67"/>
                  </a:lnTo>
                  <a:lnTo>
                    <a:pt x="140" y="73"/>
                  </a:lnTo>
                  <a:lnTo>
                    <a:pt x="144" y="88"/>
                  </a:lnTo>
                  <a:lnTo>
                    <a:pt x="147" y="105"/>
                  </a:lnTo>
                  <a:lnTo>
                    <a:pt x="147" y="125"/>
                  </a:lnTo>
                  <a:lnTo>
                    <a:pt x="147" y="1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3" name="Freeform 102"/>
            <p:cNvSpPr>
              <a:spLocks noEditPoints="1"/>
            </p:cNvSpPr>
            <p:nvPr userDrawn="1"/>
          </p:nvSpPr>
          <p:spPr bwMode="auto">
            <a:xfrm>
              <a:off x="1701800" y="6151563"/>
              <a:ext cx="82550" cy="95250"/>
            </a:xfrm>
            <a:custGeom>
              <a:avLst/>
              <a:gdLst>
                <a:gd name="T0" fmla="*/ 205 w 206"/>
                <a:gd name="T1" fmla="*/ 105 h 239"/>
                <a:gd name="T2" fmla="*/ 198 w 206"/>
                <a:gd name="T3" fmla="*/ 70 h 239"/>
                <a:gd name="T4" fmla="*/ 183 w 206"/>
                <a:gd name="T5" fmla="*/ 41 h 239"/>
                <a:gd name="T6" fmla="*/ 161 w 206"/>
                <a:gd name="T7" fmla="*/ 19 h 239"/>
                <a:gd name="T8" fmla="*/ 135 w 206"/>
                <a:gd name="T9" fmla="*/ 5 h 239"/>
                <a:gd name="T10" fmla="*/ 103 w 206"/>
                <a:gd name="T11" fmla="*/ 0 h 239"/>
                <a:gd name="T12" fmla="*/ 82 w 206"/>
                <a:gd name="T13" fmla="*/ 2 h 239"/>
                <a:gd name="T14" fmla="*/ 53 w 206"/>
                <a:gd name="T15" fmla="*/ 13 h 239"/>
                <a:gd name="T16" fmla="*/ 30 w 206"/>
                <a:gd name="T17" fmla="*/ 32 h 239"/>
                <a:gd name="T18" fmla="*/ 13 w 206"/>
                <a:gd name="T19" fmla="*/ 59 h 239"/>
                <a:gd name="T20" fmla="*/ 2 w 206"/>
                <a:gd name="T21" fmla="*/ 93 h 239"/>
                <a:gd name="T22" fmla="*/ 0 w 206"/>
                <a:gd name="T23" fmla="*/ 120 h 239"/>
                <a:gd name="T24" fmla="*/ 5 w 206"/>
                <a:gd name="T25" fmla="*/ 157 h 239"/>
                <a:gd name="T26" fmla="*/ 17 w 206"/>
                <a:gd name="T27" fmla="*/ 189 h 239"/>
                <a:gd name="T28" fmla="*/ 36 w 206"/>
                <a:gd name="T29" fmla="*/ 214 h 239"/>
                <a:gd name="T30" fmla="*/ 61 w 206"/>
                <a:gd name="T31" fmla="*/ 230 h 239"/>
                <a:gd name="T32" fmla="*/ 91 w 206"/>
                <a:gd name="T33" fmla="*/ 238 h 239"/>
                <a:gd name="T34" fmla="*/ 113 w 206"/>
                <a:gd name="T35" fmla="*/ 238 h 239"/>
                <a:gd name="T36" fmla="*/ 143 w 206"/>
                <a:gd name="T37" fmla="*/ 231 h 239"/>
                <a:gd name="T38" fmla="*/ 169 w 206"/>
                <a:gd name="T39" fmla="*/ 214 h 239"/>
                <a:gd name="T40" fmla="*/ 188 w 206"/>
                <a:gd name="T41" fmla="*/ 190 h 239"/>
                <a:gd name="T42" fmla="*/ 201 w 206"/>
                <a:gd name="T43" fmla="*/ 158 h 239"/>
                <a:gd name="T44" fmla="*/ 206 w 206"/>
                <a:gd name="T45" fmla="*/ 119 h 239"/>
                <a:gd name="T46" fmla="*/ 160 w 206"/>
                <a:gd name="T47" fmla="*/ 120 h 239"/>
                <a:gd name="T48" fmla="*/ 151 w 206"/>
                <a:gd name="T49" fmla="*/ 162 h 239"/>
                <a:gd name="T50" fmla="*/ 137 w 206"/>
                <a:gd name="T51" fmla="*/ 183 h 239"/>
                <a:gd name="T52" fmla="*/ 122 w 206"/>
                <a:gd name="T53" fmla="*/ 193 h 239"/>
                <a:gd name="T54" fmla="*/ 104 w 206"/>
                <a:gd name="T55" fmla="*/ 196 h 239"/>
                <a:gd name="T56" fmla="*/ 91 w 206"/>
                <a:gd name="T57" fmla="*/ 195 h 239"/>
                <a:gd name="T58" fmla="*/ 75 w 206"/>
                <a:gd name="T59" fmla="*/ 188 h 239"/>
                <a:gd name="T60" fmla="*/ 62 w 206"/>
                <a:gd name="T61" fmla="*/ 176 h 239"/>
                <a:gd name="T62" fmla="*/ 52 w 206"/>
                <a:gd name="T63" fmla="*/ 159 h 239"/>
                <a:gd name="T64" fmla="*/ 46 w 206"/>
                <a:gd name="T65" fmla="*/ 119 h 239"/>
                <a:gd name="T66" fmla="*/ 50 w 206"/>
                <a:gd name="T67" fmla="*/ 88 h 239"/>
                <a:gd name="T68" fmla="*/ 61 w 206"/>
                <a:gd name="T69" fmla="*/ 64 h 239"/>
                <a:gd name="T70" fmla="*/ 73 w 206"/>
                <a:gd name="T71" fmla="*/ 51 h 239"/>
                <a:gd name="T72" fmla="*/ 89 w 206"/>
                <a:gd name="T73" fmla="*/ 44 h 239"/>
                <a:gd name="T74" fmla="*/ 101 w 206"/>
                <a:gd name="T75" fmla="*/ 43 h 239"/>
                <a:gd name="T76" fmla="*/ 121 w 206"/>
                <a:gd name="T77" fmla="*/ 46 h 239"/>
                <a:gd name="T78" fmla="*/ 136 w 206"/>
                <a:gd name="T79" fmla="*/ 55 h 239"/>
                <a:gd name="T80" fmla="*/ 148 w 206"/>
                <a:gd name="T81" fmla="*/ 69 h 239"/>
                <a:gd name="T82" fmla="*/ 156 w 206"/>
                <a:gd name="T83" fmla="*/ 88 h 239"/>
                <a:gd name="T84" fmla="*/ 160 w 206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6" h="239">
                  <a:moveTo>
                    <a:pt x="206" y="119"/>
                  </a:moveTo>
                  <a:lnTo>
                    <a:pt x="206" y="119"/>
                  </a:lnTo>
                  <a:lnTo>
                    <a:pt x="205" y="105"/>
                  </a:lnTo>
                  <a:lnTo>
                    <a:pt x="204" y="93"/>
                  </a:lnTo>
                  <a:lnTo>
                    <a:pt x="201" y="81"/>
                  </a:lnTo>
                  <a:lnTo>
                    <a:pt x="198" y="70"/>
                  </a:lnTo>
                  <a:lnTo>
                    <a:pt x="194" y="59"/>
                  </a:lnTo>
                  <a:lnTo>
                    <a:pt x="189" y="50"/>
                  </a:lnTo>
                  <a:lnTo>
                    <a:pt x="183" y="41"/>
                  </a:lnTo>
                  <a:lnTo>
                    <a:pt x="176" y="33"/>
                  </a:lnTo>
                  <a:lnTo>
                    <a:pt x="169" y="25"/>
                  </a:lnTo>
                  <a:lnTo>
                    <a:pt x="161" y="19"/>
                  </a:lnTo>
                  <a:lnTo>
                    <a:pt x="153" y="13"/>
                  </a:lnTo>
                  <a:lnTo>
                    <a:pt x="144" y="9"/>
                  </a:lnTo>
                  <a:lnTo>
                    <a:pt x="135" y="5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92" y="1"/>
                  </a:lnTo>
                  <a:lnTo>
                    <a:pt x="82" y="2"/>
                  </a:lnTo>
                  <a:lnTo>
                    <a:pt x="72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0" y="32"/>
                  </a:lnTo>
                  <a:lnTo>
                    <a:pt x="23" y="40"/>
                  </a:lnTo>
                  <a:lnTo>
                    <a:pt x="18" y="49"/>
                  </a:lnTo>
                  <a:lnTo>
                    <a:pt x="13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4" y="220"/>
                  </a:lnTo>
                  <a:lnTo>
                    <a:pt x="52" y="226"/>
                  </a:lnTo>
                  <a:lnTo>
                    <a:pt x="61" y="230"/>
                  </a:lnTo>
                  <a:lnTo>
                    <a:pt x="71" y="234"/>
                  </a:lnTo>
                  <a:lnTo>
                    <a:pt x="80" y="237"/>
                  </a:lnTo>
                  <a:lnTo>
                    <a:pt x="91" y="238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3" y="238"/>
                  </a:lnTo>
                  <a:lnTo>
                    <a:pt x="124" y="237"/>
                  </a:lnTo>
                  <a:lnTo>
                    <a:pt x="134" y="234"/>
                  </a:lnTo>
                  <a:lnTo>
                    <a:pt x="143" y="231"/>
                  </a:lnTo>
                  <a:lnTo>
                    <a:pt x="152" y="226"/>
                  </a:lnTo>
                  <a:lnTo>
                    <a:pt x="161" y="221"/>
                  </a:lnTo>
                  <a:lnTo>
                    <a:pt x="169" y="214"/>
                  </a:lnTo>
                  <a:lnTo>
                    <a:pt x="176" y="207"/>
                  </a:lnTo>
                  <a:lnTo>
                    <a:pt x="182" y="199"/>
                  </a:lnTo>
                  <a:lnTo>
                    <a:pt x="188" y="190"/>
                  </a:lnTo>
                  <a:lnTo>
                    <a:pt x="193" y="180"/>
                  </a:lnTo>
                  <a:lnTo>
                    <a:pt x="198" y="169"/>
                  </a:lnTo>
                  <a:lnTo>
                    <a:pt x="201" y="158"/>
                  </a:lnTo>
                  <a:lnTo>
                    <a:pt x="203" y="145"/>
                  </a:lnTo>
                  <a:lnTo>
                    <a:pt x="205" y="132"/>
                  </a:lnTo>
                  <a:lnTo>
                    <a:pt x="206" y="119"/>
                  </a:lnTo>
                  <a:lnTo>
                    <a:pt x="206" y="119"/>
                  </a:lnTo>
                  <a:close/>
                  <a:moveTo>
                    <a:pt x="160" y="120"/>
                  </a:moveTo>
                  <a:lnTo>
                    <a:pt x="160" y="120"/>
                  </a:lnTo>
                  <a:lnTo>
                    <a:pt x="159" y="135"/>
                  </a:lnTo>
                  <a:lnTo>
                    <a:pt x="156" y="149"/>
                  </a:lnTo>
                  <a:lnTo>
                    <a:pt x="151" y="162"/>
                  </a:lnTo>
                  <a:lnTo>
                    <a:pt x="145" y="174"/>
                  </a:lnTo>
                  <a:lnTo>
                    <a:pt x="141" y="179"/>
                  </a:lnTo>
                  <a:lnTo>
                    <a:pt x="137" y="183"/>
                  </a:lnTo>
                  <a:lnTo>
                    <a:pt x="132" y="187"/>
                  </a:lnTo>
                  <a:lnTo>
                    <a:pt x="127" y="190"/>
                  </a:lnTo>
                  <a:lnTo>
                    <a:pt x="122" y="193"/>
                  </a:lnTo>
                  <a:lnTo>
                    <a:pt x="116" y="195"/>
                  </a:lnTo>
                  <a:lnTo>
                    <a:pt x="110" y="196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97" y="196"/>
                  </a:lnTo>
                  <a:lnTo>
                    <a:pt x="91" y="195"/>
                  </a:lnTo>
                  <a:lnTo>
                    <a:pt x="85" y="193"/>
                  </a:lnTo>
                  <a:lnTo>
                    <a:pt x="80" y="191"/>
                  </a:lnTo>
                  <a:lnTo>
                    <a:pt x="75" y="188"/>
                  </a:lnTo>
                  <a:lnTo>
                    <a:pt x="70" y="185"/>
                  </a:lnTo>
                  <a:lnTo>
                    <a:pt x="66" y="181"/>
                  </a:lnTo>
                  <a:lnTo>
                    <a:pt x="62" y="176"/>
                  </a:lnTo>
                  <a:lnTo>
                    <a:pt x="58" y="171"/>
                  </a:lnTo>
                  <a:lnTo>
                    <a:pt x="55" y="165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7" y="102"/>
                  </a:lnTo>
                  <a:lnTo>
                    <a:pt x="50" y="88"/>
                  </a:lnTo>
                  <a:lnTo>
                    <a:pt x="54" y="75"/>
                  </a:lnTo>
                  <a:lnTo>
                    <a:pt x="57" y="69"/>
                  </a:lnTo>
                  <a:lnTo>
                    <a:pt x="61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3" y="51"/>
                  </a:lnTo>
                  <a:lnTo>
                    <a:pt x="78" y="48"/>
                  </a:lnTo>
                  <a:lnTo>
                    <a:pt x="83" y="46"/>
                  </a:lnTo>
                  <a:lnTo>
                    <a:pt x="89" y="44"/>
                  </a:lnTo>
                  <a:lnTo>
                    <a:pt x="95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8" y="43"/>
                  </a:lnTo>
                  <a:lnTo>
                    <a:pt x="115" y="44"/>
                  </a:lnTo>
                  <a:lnTo>
                    <a:pt x="121" y="46"/>
                  </a:lnTo>
                  <a:lnTo>
                    <a:pt x="126" y="49"/>
                  </a:lnTo>
                  <a:lnTo>
                    <a:pt x="131" y="51"/>
                  </a:lnTo>
                  <a:lnTo>
                    <a:pt x="136" y="55"/>
                  </a:lnTo>
                  <a:lnTo>
                    <a:pt x="141" y="59"/>
                  </a:lnTo>
                  <a:lnTo>
                    <a:pt x="145" y="64"/>
                  </a:lnTo>
                  <a:lnTo>
                    <a:pt x="148" y="69"/>
                  </a:lnTo>
                  <a:lnTo>
                    <a:pt x="151" y="75"/>
                  </a:lnTo>
                  <a:lnTo>
                    <a:pt x="154" y="81"/>
                  </a:lnTo>
                  <a:lnTo>
                    <a:pt x="156" y="88"/>
                  </a:lnTo>
                  <a:lnTo>
                    <a:pt x="159" y="103"/>
                  </a:lnTo>
                  <a:lnTo>
                    <a:pt x="160" y="120"/>
                  </a:lnTo>
                  <a:lnTo>
                    <a:pt x="160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4" name="Freeform 103"/>
            <p:cNvSpPr>
              <a:spLocks/>
            </p:cNvSpPr>
            <p:nvPr userDrawn="1"/>
          </p:nvSpPr>
          <p:spPr bwMode="auto">
            <a:xfrm>
              <a:off x="1798638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2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3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6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2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8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3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6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4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5" name="Freeform 104"/>
            <p:cNvSpPr>
              <a:spLocks noEditPoints="1"/>
            </p:cNvSpPr>
            <p:nvPr userDrawn="1"/>
          </p:nvSpPr>
          <p:spPr bwMode="auto">
            <a:xfrm>
              <a:off x="1882775" y="6121401"/>
              <a:ext cx="82550" cy="125413"/>
            </a:xfrm>
            <a:custGeom>
              <a:avLst/>
              <a:gdLst>
                <a:gd name="T0" fmla="*/ 211 w 211"/>
                <a:gd name="T1" fmla="*/ 81 h 315"/>
                <a:gd name="T2" fmla="*/ 209 w 211"/>
                <a:gd name="T3" fmla="*/ 62 h 315"/>
                <a:gd name="T4" fmla="*/ 204 w 211"/>
                <a:gd name="T5" fmla="*/ 46 h 315"/>
                <a:gd name="T6" fmla="*/ 195 w 211"/>
                <a:gd name="T7" fmla="*/ 32 h 315"/>
                <a:gd name="T8" fmla="*/ 182 w 211"/>
                <a:gd name="T9" fmla="*/ 21 h 315"/>
                <a:gd name="T10" fmla="*/ 167 w 211"/>
                <a:gd name="T11" fmla="*/ 12 h 315"/>
                <a:gd name="T12" fmla="*/ 149 w 211"/>
                <a:gd name="T13" fmla="*/ 5 h 315"/>
                <a:gd name="T14" fmla="*/ 128 w 211"/>
                <a:gd name="T15" fmla="*/ 1 h 315"/>
                <a:gd name="T16" fmla="*/ 106 w 211"/>
                <a:gd name="T17" fmla="*/ 0 h 315"/>
                <a:gd name="T18" fmla="*/ 89 w 211"/>
                <a:gd name="T19" fmla="*/ 1 h 315"/>
                <a:gd name="T20" fmla="*/ 59 w 211"/>
                <a:gd name="T21" fmla="*/ 8 h 315"/>
                <a:gd name="T22" fmla="*/ 32 w 211"/>
                <a:gd name="T23" fmla="*/ 20 h 315"/>
                <a:gd name="T24" fmla="*/ 9 w 211"/>
                <a:gd name="T25" fmla="*/ 36 h 315"/>
                <a:gd name="T26" fmla="*/ 29 w 211"/>
                <a:gd name="T27" fmla="*/ 79 h 315"/>
                <a:gd name="T28" fmla="*/ 38 w 211"/>
                <a:gd name="T29" fmla="*/ 71 h 315"/>
                <a:gd name="T30" fmla="*/ 56 w 211"/>
                <a:gd name="T31" fmla="*/ 58 h 315"/>
                <a:gd name="T32" fmla="*/ 74 w 211"/>
                <a:gd name="T33" fmla="*/ 50 h 315"/>
                <a:gd name="T34" fmla="*/ 94 w 211"/>
                <a:gd name="T35" fmla="*/ 46 h 315"/>
                <a:gd name="T36" fmla="*/ 105 w 211"/>
                <a:gd name="T37" fmla="*/ 45 h 315"/>
                <a:gd name="T38" fmla="*/ 130 w 211"/>
                <a:gd name="T39" fmla="*/ 48 h 315"/>
                <a:gd name="T40" fmla="*/ 149 w 211"/>
                <a:gd name="T41" fmla="*/ 55 h 315"/>
                <a:gd name="T42" fmla="*/ 161 w 211"/>
                <a:gd name="T43" fmla="*/ 67 h 315"/>
                <a:gd name="T44" fmla="*/ 165 w 211"/>
                <a:gd name="T45" fmla="*/ 84 h 315"/>
                <a:gd name="T46" fmla="*/ 164 w 211"/>
                <a:gd name="T47" fmla="*/ 91 h 315"/>
                <a:gd name="T48" fmla="*/ 160 w 211"/>
                <a:gd name="T49" fmla="*/ 103 h 315"/>
                <a:gd name="T50" fmla="*/ 152 w 211"/>
                <a:gd name="T51" fmla="*/ 113 h 315"/>
                <a:gd name="T52" fmla="*/ 131 w 211"/>
                <a:gd name="T53" fmla="*/ 127 h 315"/>
                <a:gd name="T54" fmla="*/ 115 w 211"/>
                <a:gd name="T55" fmla="*/ 137 h 315"/>
                <a:gd name="T56" fmla="*/ 92 w 211"/>
                <a:gd name="T57" fmla="*/ 155 h 315"/>
                <a:gd name="T58" fmla="*/ 84 w 211"/>
                <a:gd name="T59" fmla="*/ 165 h 315"/>
                <a:gd name="T60" fmla="*/ 79 w 211"/>
                <a:gd name="T61" fmla="*/ 177 h 315"/>
                <a:gd name="T62" fmla="*/ 74 w 211"/>
                <a:gd name="T63" fmla="*/ 204 h 315"/>
                <a:gd name="T64" fmla="*/ 121 w 211"/>
                <a:gd name="T65" fmla="*/ 222 h 315"/>
                <a:gd name="T66" fmla="*/ 121 w 211"/>
                <a:gd name="T67" fmla="*/ 211 h 315"/>
                <a:gd name="T68" fmla="*/ 124 w 211"/>
                <a:gd name="T69" fmla="*/ 193 h 315"/>
                <a:gd name="T70" fmla="*/ 131 w 211"/>
                <a:gd name="T71" fmla="*/ 180 h 315"/>
                <a:gd name="T72" fmla="*/ 145 w 211"/>
                <a:gd name="T73" fmla="*/ 168 h 315"/>
                <a:gd name="T74" fmla="*/ 155 w 211"/>
                <a:gd name="T75" fmla="*/ 163 h 315"/>
                <a:gd name="T76" fmla="*/ 179 w 211"/>
                <a:gd name="T77" fmla="*/ 147 h 315"/>
                <a:gd name="T78" fmla="*/ 197 w 211"/>
                <a:gd name="T79" fmla="*/ 130 h 315"/>
                <a:gd name="T80" fmla="*/ 208 w 211"/>
                <a:gd name="T81" fmla="*/ 109 h 315"/>
                <a:gd name="T82" fmla="*/ 211 w 211"/>
                <a:gd name="T83" fmla="*/ 81 h 315"/>
                <a:gd name="T84" fmla="*/ 130 w 211"/>
                <a:gd name="T85" fmla="*/ 282 h 315"/>
                <a:gd name="T86" fmla="*/ 129 w 211"/>
                <a:gd name="T87" fmla="*/ 276 h 315"/>
                <a:gd name="T88" fmla="*/ 124 w 211"/>
                <a:gd name="T89" fmla="*/ 264 h 315"/>
                <a:gd name="T90" fmla="*/ 115 w 211"/>
                <a:gd name="T91" fmla="*/ 255 h 315"/>
                <a:gd name="T92" fmla="*/ 104 w 211"/>
                <a:gd name="T93" fmla="*/ 250 h 315"/>
                <a:gd name="T94" fmla="*/ 97 w 211"/>
                <a:gd name="T95" fmla="*/ 249 h 315"/>
                <a:gd name="T96" fmla="*/ 85 w 211"/>
                <a:gd name="T97" fmla="*/ 252 h 315"/>
                <a:gd name="T98" fmla="*/ 74 w 211"/>
                <a:gd name="T99" fmla="*/ 259 h 315"/>
                <a:gd name="T100" fmla="*/ 67 w 211"/>
                <a:gd name="T101" fmla="*/ 269 h 315"/>
                <a:gd name="T102" fmla="*/ 65 w 211"/>
                <a:gd name="T103" fmla="*/ 282 h 315"/>
                <a:gd name="T104" fmla="*/ 65 w 211"/>
                <a:gd name="T105" fmla="*/ 289 h 315"/>
                <a:gd name="T106" fmla="*/ 70 w 211"/>
                <a:gd name="T107" fmla="*/ 301 h 315"/>
                <a:gd name="T108" fmla="*/ 79 w 211"/>
                <a:gd name="T109" fmla="*/ 309 h 315"/>
                <a:gd name="T110" fmla="*/ 91 w 211"/>
                <a:gd name="T111" fmla="*/ 314 h 315"/>
                <a:gd name="T112" fmla="*/ 97 w 211"/>
                <a:gd name="T113" fmla="*/ 315 h 315"/>
                <a:gd name="T114" fmla="*/ 110 w 211"/>
                <a:gd name="T115" fmla="*/ 312 h 315"/>
                <a:gd name="T116" fmla="*/ 120 w 211"/>
                <a:gd name="T117" fmla="*/ 305 h 315"/>
                <a:gd name="T118" fmla="*/ 127 w 211"/>
                <a:gd name="T119" fmla="*/ 295 h 315"/>
                <a:gd name="T120" fmla="*/ 130 w 211"/>
                <a:gd name="T121" fmla="*/ 28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1" h="315">
                  <a:moveTo>
                    <a:pt x="211" y="81"/>
                  </a:moveTo>
                  <a:lnTo>
                    <a:pt x="211" y="81"/>
                  </a:lnTo>
                  <a:lnTo>
                    <a:pt x="211" y="71"/>
                  </a:lnTo>
                  <a:lnTo>
                    <a:pt x="209" y="62"/>
                  </a:lnTo>
                  <a:lnTo>
                    <a:pt x="207" y="54"/>
                  </a:lnTo>
                  <a:lnTo>
                    <a:pt x="204" y="46"/>
                  </a:lnTo>
                  <a:lnTo>
                    <a:pt x="199" y="39"/>
                  </a:lnTo>
                  <a:lnTo>
                    <a:pt x="195" y="32"/>
                  </a:lnTo>
                  <a:lnTo>
                    <a:pt x="189" y="26"/>
                  </a:lnTo>
                  <a:lnTo>
                    <a:pt x="182" y="21"/>
                  </a:lnTo>
                  <a:lnTo>
                    <a:pt x="175" y="16"/>
                  </a:lnTo>
                  <a:lnTo>
                    <a:pt x="167" y="12"/>
                  </a:lnTo>
                  <a:lnTo>
                    <a:pt x="159" y="8"/>
                  </a:lnTo>
                  <a:lnTo>
                    <a:pt x="149" y="5"/>
                  </a:lnTo>
                  <a:lnTo>
                    <a:pt x="139" y="3"/>
                  </a:lnTo>
                  <a:lnTo>
                    <a:pt x="128" y="1"/>
                  </a:lnTo>
                  <a:lnTo>
                    <a:pt x="117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89" y="1"/>
                  </a:lnTo>
                  <a:lnTo>
                    <a:pt x="74" y="4"/>
                  </a:lnTo>
                  <a:lnTo>
                    <a:pt x="59" y="8"/>
                  </a:lnTo>
                  <a:lnTo>
                    <a:pt x="45" y="13"/>
                  </a:lnTo>
                  <a:lnTo>
                    <a:pt x="32" y="20"/>
                  </a:lnTo>
                  <a:lnTo>
                    <a:pt x="20" y="27"/>
                  </a:lnTo>
                  <a:lnTo>
                    <a:pt x="9" y="36"/>
                  </a:lnTo>
                  <a:lnTo>
                    <a:pt x="0" y="45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8" y="71"/>
                  </a:lnTo>
                  <a:lnTo>
                    <a:pt x="47" y="64"/>
                  </a:lnTo>
                  <a:lnTo>
                    <a:pt x="56" y="58"/>
                  </a:lnTo>
                  <a:lnTo>
                    <a:pt x="65" y="54"/>
                  </a:lnTo>
                  <a:lnTo>
                    <a:pt x="74" y="50"/>
                  </a:lnTo>
                  <a:lnTo>
                    <a:pt x="84" y="47"/>
                  </a:lnTo>
                  <a:lnTo>
                    <a:pt x="94" y="46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18" y="46"/>
                  </a:lnTo>
                  <a:lnTo>
                    <a:pt x="130" y="48"/>
                  </a:lnTo>
                  <a:lnTo>
                    <a:pt x="140" y="51"/>
                  </a:lnTo>
                  <a:lnTo>
                    <a:pt x="149" y="55"/>
                  </a:lnTo>
                  <a:lnTo>
                    <a:pt x="156" y="61"/>
                  </a:lnTo>
                  <a:lnTo>
                    <a:pt x="161" y="67"/>
                  </a:lnTo>
                  <a:lnTo>
                    <a:pt x="164" y="75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4" y="91"/>
                  </a:lnTo>
                  <a:lnTo>
                    <a:pt x="163" y="98"/>
                  </a:lnTo>
                  <a:lnTo>
                    <a:pt x="160" y="103"/>
                  </a:lnTo>
                  <a:lnTo>
                    <a:pt x="157" y="108"/>
                  </a:lnTo>
                  <a:lnTo>
                    <a:pt x="152" y="113"/>
                  </a:lnTo>
                  <a:lnTo>
                    <a:pt x="147" y="118"/>
                  </a:lnTo>
                  <a:lnTo>
                    <a:pt x="131" y="127"/>
                  </a:lnTo>
                  <a:lnTo>
                    <a:pt x="131" y="127"/>
                  </a:lnTo>
                  <a:lnTo>
                    <a:pt x="115" y="137"/>
                  </a:lnTo>
                  <a:lnTo>
                    <a:pt x="102" y="146"/>
                  </a:lnTo>
                  <a:lnTo>
                    <a:pt x="92" y="155"/>
                  </a:lnTo>
                  <a:lnTo>
                    <a:pt x="88" y="160"/>
                  </a:lnTo>
                  <a:lnTo>
                    <a:pt x="84" y="165"/>
                  </a:lnTo>
                  <a:lnTo>
                    <a:pt x="81" y="171"/>
                  </a:lnTo>
                  <a:lnTo>
                    <a:pt x="79" y="177"/>
                  </a:lnTo>
                  <a:lnTo>
                    <a:pt x="76" y="189"/>
                  </a:lnTo>
                  <a:lnTo>
                    <a:pt x="74" y="204"/>
                  </a:lnTo>
                  <a:lnTo>
                    <a:pt x="74" y="222"/>
                  </a:lnTo>
                  <a:lnTo>
                    <a:pt x="121" y="222"/>
                  </a:lnTo>
                  <a:lnTo>
                    <a:pt x="121" y="222"/>
                  </a:lnTo>
                  <a:lnTo>
                    <a:pt x="121" y="211"/>
                  </a:lnTo>
                  <a:lnTo>
                    <a:pt x="122" y="201"/>
                  </a:lnTo>
                  <a:lnTo>
                    <a:pt x="124" y="193"/>
                  </a:lnTo>
                  <a:lnTo>
                    <a:pt x="127" y="186"/>
                  </a:lnTo>
                  <a:lnTo>
                    <a:pt x="131" y="180"/>
                  </a:lnTo>
                  <a:lnTo>
                    <a:pt x="137" y="174"/>
                  </a:lnTo>
                  <a:lnTo>
                    <a:pt x="145" y="168"/>
                  </a:lnTo>
                  <a:lnTo>
                    <a:pt x="155" y="163"/>
                  </a:lnTo>
                  <a:lnTo>
                    <a:pt x="155" y="163"/>
                  </a:lnTo>
                  <a:lnTo>
                    <a:pt x="168" y="155"/>
                  </a:lnTo>
                  <a:lnTo>
                    <a:pt x="179" y="147"/>
                  </a:lnTo>
                  <a:lnTo>
                    <a:pt x="189" y="139"/>
                  </a:lnTo>
                  <a:lnTo>
                    <a:pt x="197" y="130"/>
                  </a:lnTo>
                  <a:lnTo>
                    <a:pt x="203" y="120"/>
                  </a:lnTo>
                  <a:lnTo>
                    <a:pt x="208" y="109"/>
                  </a:lnTo>
                  <a:lnTo>
                    <a:pt x="210" y="96"/>
                  </a:lnTo>
                  <a:lnTo>
                    <a:pt x="211" y="81"/>
                  </a:lnTo>
                  <a:lnTo>
                    <a:pt x="211" y="81"/>
                  </a:lnTo>
                  <a:close/>
                  <a:moveTo>
                    <a:pt x="130" y="282"/>
                  </a:moveTo>
                  <a:lnTo>
                    <a:pt x="130" y="282"/>
                  </a:lnTo>
                  <a:lnTo>
                    <a:pt x="129" y="276"/>
                  </a:lnTo>
                  <a:lnTo>
                    <a:pt x="127" y="269"/>
                  </a:lnTo>
                  <a:lnTo>
                    <a:pt x="124" y="264"/>
                  </a:lnTo>
                  <a:lnTo>
                    <a:pt x="120" y="259"/>
                  </a:lnTo>
                  <a:lnTo>
                    <a:pt x="115" y="255"/>
                  </a:lnTo>
                  <a:lnTo>
                    <a:pt x="110" y="252"/>
                  </a:lnTo>
                  <a:lnTo>
                    <a:pt x="104" y="250"/>
                  </a:lnTo>
                  <a:lnTo>
                    <a:pt x="97" y="249"/>
                  </a:lnTo>
                  <a:lnTo>
                    <a:pt x="97" y="249"/>
                  </a:lnTo>
                  <a:lnTo>
                    <a:pt x="91" y="250"/>
                  </a:lnTo>
                  <a:lnTo>
                    <a:pt x="85" y="252"/>
                  </a:lnTo>
                  <a:lnTo>
                    <a:pt x="79" y="255"/>
                  </a:lnTo>
                  <a:lnTo>
                    <a:pt x="74" y="259"/>
                  </a:lnTo>
                  <a:lnTo>
                    <a:pt x="70" y="264"/>
                  </a:lnTo>
                  <a:lnTo>
                    <a:pt x="67" y="269"/>
                  </a:lnTo>
                  <a:lnTo>
                    <a:pt x="65" y="276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65" y="289"/>
                  </a:lnTo>
                  <a:lnTo>
                    <a:pt x="67" y="295"/>
                  </a:lnTo>
                  <a:lnTo>
                    <a:pt x="70" y="301"/>
                  </a:lnTo>
                  <a:lnTo>
                    <a:pt x="74" y="305"/>
                  </a:lnTo>
                  <a:lnTo>
                    <a:pt x="79" y="309"/>
                  </a:lnTo>
                  <a:lnTo>
                    <a:pt x="85" y="312"/>
                  </a:lnTo>
                  <a:lnTo>
                    <a:pt x="91" y="314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104" y="314"/>
                  </a:lnTo>
                  <a:lnTo>
                    <a:pt x="110" y="312"/>
                  </a:lnTo>
                  <a:lnTo>
                    <a:pt x="115" y="309"/>
                  </a:lnTo>
                  <a:lnTo>
                    <a:pt x="120" y="305"/>
                  </a:lnTo>
                  <a:lnTo>
                    <a:pt x="124" y="301"/>
                  </a:lnTo>
                  <a:lnTo>
                    <a:pt x="127" y="295"/>
                  </a:lnTo>
                  <a:lnTo>
                    <a:pt x="129" y="289"/>
                  </a:lnTo>
                  <a:lnTo>
                    <a:pt x="130" y="282"/>
                  </a:lnTo>
                  <a:lnTo>
                    <a:pt x="130" y="2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6" name="Freeform 105"/>
            <p:cNvSpPr>
              <a:spLocks/>
            </p:cNvSpPr>
            <p:nvPr userDrawn="1"/>
          </p:nvSpPr>
          <p:spPr bwMode="auto">
            <a:xfrm>
              <a:off x="2019300" y="6122988"/>
              <a:ext cx="104775" cy="122238"/>
            </a:xfrm>
            <a:custGeom>
              <a:avLst/>
              <a:gdLst>
                <a:gd name="T0" fmla="*/ 120 w 264"/>
                <a:gd name="T1" fmla="*/ 305 h 305"/>
                <a:gd name="T2" fmla="*/ 264 w 264"/>
                <a:gd name="T3" fmla="*/ 0 h 305"/>
                <a:gd name="T4" fmla="*/ 212 w 264"/>
                <a:gd name="T5" fmla="*/ 0 h 305"/>
                <a:gd name="T6" fmla="*/ 170 w 264"/>
                <a:gd name="T7" fmla="*/ 98 h 305"/>
                <a:gd name="T8" fmla="*/ 170 w 264"/>
                <a:gd name="T9" fmla="*/ 98 h 305"/>
                <a:gd name="T10" fmla="*/ 154 w 264"/>
                <a:gd name="T11" fmla="*/ 136 h 305"/>
                <a:gd name="T12" fmla="*/ 141 w 264"/>
                <a:gd name="T13" fmla="*/ 167 h 305"/>
                <a:gd name="T14" fmla="*/ 141 w 264"/>
                <a:gd name="T15" fmla="*/ 167 h 305"/>
                <a:gd name="T16" fmla="*/ 126 w 264"/>
                <a:gd name="T17" fmla="*/ 135 h 305"/>
                <a:gd name="T18" fmla="*/ 107 w 264"/>
                <a:gd name="T19" fmla="*/ 97 h 305"/>
                <a:gd name="T20" fmla="*/ 57 w 264"/>
                <a:gd name="T21" fmla="*/ 0 h 305"/>
                <a:gd name="T22" fmla="*/ 0 w 264"/>
                <a:gd name="T23" fmla="*/ 0 h 305"/>
                <a:gd name="T24" fmla="*/ 115 w 264"/>
                <a:gd name="T25" fmla="*/ 213 h 305"/>
                <a:gd name="T26" fmla="*/ 69 w 264"/>
                <a:gd name="T27" fmla="*/ 305 h 305"/>
                <a:gd name="T28" fmla="*/ 120 w 264"/>
                <a:gd name="T29" fmla="*/ 30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4" h="305">
                  <a:moveTo>
                    <a:pt x="120" y="305"/>
                  </a:moveTo>
                  <a:lnTo>
                    <a:pt x="264" y="0"/>
                  </a:lnTo>
                  <a:lnTo>
                    <a:pt x="212" y="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54" y="136"/>
                  </a:lnTo>
                  <a:lnTo>
                    <a:pt x="141" y="167"/>
                  </a:lnTo>
                  <a:lnTo>
                    <a:pt x="141" y="167"/>
                  </a:lnTo>
                  <a:lnTo>
                    <a:pt x="126" y="135"/>
                  </a:lnTo>
                  <a:lnTo>
                    <a:pt x="107" y="97"/>
                  </a:lnTo>
                  <a:lnTo>
                    <a:pt x="57" y="0"/>
                  </a:lnTo>
                  <a:lnTo>
                    <a:pt x="0" y="0"/>
                  </a:lnTo>
                  <a:lnTo>
                    <a:pt x="115" y="213"/>
                  </a:lnTo>
                  <a:lnTo>
                    <a:pt x="69" y="305"/>
                  </a:lnTo>
                  <a:lnTo>
                    <a:pt x="120" y="3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7" name="Freeform 106"/>
            <p:cNvSpPr>
              <a:spLocks/>
            </p:cNvSpPr>
            <p:nvPr userDrawn="1"/>
          </p:nvSpPr>
          <p:spPr bwMode="auto">
            <a:xfrm>
              <a:off x="2182813" y="6153151"/>
              <a:ext cx="73025" cy="92075"/>
            </a:xfrm>
            <a:custGeom>
              <a:avLst/>
              <a:gdLst>
                <a:gd name="T0" fmla="*/ 139 w 184"/>
                <a:gd name="T1" fmla="*/ 0 h 229"/>
                <a:gd name="T2" fmla="*/ 139 w 184"/>
                <a:gd name="T3" fmla="*/ 88 h 229"/>
                <a:gd name="T4" fmla="*/ 45 w 184"/>
                <a:gd name="T5" fmla="*/ 88 h 229"/>
                <a:gd name="T6" fmla="*/ 45 w 184"/>
                <a:gd name="T7" fmla="*/ 0 h 229"/>
                <a:gd name="T8" fmla="*/ 0 w 184"/>
                <a:gd name="T9" fmla="*/ 0 h 229"/>
                <a:gd name="T10" fmla="*/ 0 w 184"/>
                <a:gd name="T11" fmla="*/ 229 h 229"/>
                <a:gd name="T12" fmla="*/ 45 w 184"/>
                <a:gd name="T13" fmla="*/ 229 h 229"/>
                <a:gd name="T14" fmla="*/ 45 w 184"/>
                <a:gd name="T15" fmla="*/ 127 h 229"/>
                <a:gd name="T16" fmla="*/ 139 w 184"/>
                <a:gd name="T17" fmla="*/ 127 h 229"/>
                <a:gd name="T18" fmla="*/ 139 w 184"/>
                <a:gd name="T19" fmla="*/ 229 h 229"/>
                <a:gd name="T20" fmla="*/ 184 w 184"/>
                <a:gd name="T21" fmla="*/ 229 h 229"/>
                <a:gd name="T22" fmla="*/ 184 w 184"/>
                <a:gd name="T23" fmla="*/ 0 h 229"/>
                <a:gd name="T24" fmla="*/ 139 w 184"/>
                <a:gd name="T25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29">
                  <a:moveTo>
                    <a:pt x="139" y="0"/>
                  </a:moveTo>
                  <a:lnTo>
                    <a:pt x="139" y="88"/>
                  </a:lnTo>
                  <a:lnTo>
                    <a:pt x="45" y="88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29"/>
                  </a:lnTo>
                  <a:lnTo>
                    <a:pt x="45" y="229"/>
                  </a:lnTo>
                  <a:lnTo>
                    <a:pt x="45" y="127"/>
                  </a:lnTo>
                  <a:lnTo>
                    <a:pt x="139" y="127"/>
                  </a:lnTo>
                  <a:lnTo>
                    <a:pt x="139" y="229"/>
                  </a:lnTo>
                  <a:lnTo>
                    <a:pt x="184" y="229"/>
                  </a:lnTo>
                  <a:lnTo>
                    <a:pt x="184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8" name="Freeform 107"/>
            <p:cNvSpPr>
              <a:spLocks noEditPoints="1"/>
            </p:cNvSpPr>
            <p:nvPr userDrawn="1"/>
          </p:nvSpPr>
          <p:spPr bwMode="auto">
            <a:xfrm>
              <a:off x="2274888" y="6151563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8 h 239"/>
                <a:gd name="T4" fmla="*/ 184 w 187"/>
                <a:gd name="T5" fmla="*/ 51 h 239"/>
                <a:gd name="T6" fmla="*/ 178 w 187"/>
                <a:gd name="T7" fmla="*/ 36 h 239"/>
                <a:gd name="T8" fmla="*/ 169 w 187"/>
                <a:gd name="T9" fmla="*/ 24 h 239"/>
                <a:gd name="T10" fmla="*/ 158 w 187"/>
                <a:gd name="T11" fmla="*/ 15 h 239"/>
                <a:gd name="T12" fmla="*/ 143 w 187"/>
                <a:gd name="T13" fmla="*/ 8 h 239"/>
                <a:gd name="T14" fmla="*/ 127 w 187"/>
                <a:gd name="T15" fmla="*/ 3 h 239"/>
                <a:gd name="T16" fmla="*/ 110 w 187"/>
                <a:gd name="T17" fmla="*/ 1 h 239"/>
                <a:gd name="T18" fmla="*/ 101 w 187"/>
                <a:gd name="T19" fmla="*/ 0 h 239"/>
                <a:gd name="T20" fmla="*/ 78 w 187"/>
                <a:gd name="T21" fmla="*/ 2 h 239"/>
                <a:gd name="T22" fmla="*/ 57 w 187"/>
                <a:gd name="T23" fmla="*/ 6 h 239"/>
                <a:gd name="T24" fmla="*/ 39 w 187"/>
                <a:gd name="T25" fmla="*/ 12 h 239"/>
                <a:gd name="T26" fmla="*/ 22 w 187"/>
                <a:gd name="T27" fmla="*/ 21 h 239"/>
                <a:gd name="T28" fmla="*/ 39 w 187"/>
                <a:gd name="T29" fmla="*/ 55 h 239"/>
                <a:gd name="T30" fmla="*/ 67 w 187"/>
                <a:gd name="T31" fmla="*/ 44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2 w 187"/>
                <a:gd name="T41" fmla="*/ 70 h 239"/>
                <a:gd name="T42" fmla="*/ 142 w 187"/>
                <a:gd name="T43" fmla="*/ 96 h 239"/>
                <a:gd name="T44" fmla="*/ 133 w 187"/>
                <a:gd name="T45" fmla="*/ 93 h 239"/>
                <a:gd name="T46" fmla="*/ 108 w 187"/>
                <a:gd name="T47" fmla="*/ 88 h 239"/>
                <a:gd name="T48" fmla="*/ 91 w 187"/>
                <a:gd name="T49" fmla="*/ 88 h 239"/>
                <a:gd name="T50" fmla="*/ 64 w 187"/>
                <a:gd name="T51" fmla="*/ 90 h 239"/>
                <a:gd name="T52" fmla="*/ 47 w 187"/>
                <a:gd name="T53" fmla="*/ 94 h 239"/>
                <a:gd name="T54" fmla="*/ 33 w 187"/>
                <a:gd name="T55" fmla="*/ 101 h 239"/>
                <a:gd name="T56" fmla="*/ 21 w 187"/>
                <a:gd name="T57" fmla="*/ 110 h 239"/>
                <a:gd name="T58" fmla="*/ 11 w 187"/>
                <a:gd name="T59" fmla="*/ 122 h 239"/>
                <a:gd name="T60" fmla="*/ 4 w 187"/>
                <a:gd name="T61" fmla="*/ 136 h 239"/>
                <a:gd name="T62" fmla="*/ 1 w 187"/>
                <a:gd name="T63" fmla="*/ 152 h 239"/>
                <a:gd name="T64" fmla="*/ 0 w 187"/>
                <a:gd name="T65" fmla="*/ 162 h 239"/>
                <a:gd name="T66" fmla="*/ 2 w 187"/>
                <a:gd name="T67" fmla="*/ 181 h 239"/>
                <a:gd name="T68" fmla="*/ 7 w 187"/>
                <a:gd name="T69" fmla="*/ 197 h 239"/>
                <a:gd name="T70" fmla="*/ 16 w 187"/>
                <a:gd name="T71" fmla="*/ 211 h 239"/>
                <a:gd name="T72" fmla="*/ 26 w 187"/>
                <a:gd name="T73" fmla="*/ 221 h 239"/>
                <a:gd name="T74" fmla="*/ 38 w 187"/>
                <a:gd name="T75" fmla="*/ 229 h 239"/>
                <a:gd name="T76" fmla="*/ 52 w 187"/>
                <a:gd name="T77" fmla="*/ 235 h 239"/>
                <a:gd name="T78" fmla="*/ 80 w 187"/>
                <a:gd name="T79" fmla="*/ 239 h 239"/>
                <a:gd name="T80" fmla="*/ 91 w 187"/>
                <a:gd name="T81" fmla="*/ 238 h 239"/>
                <a:gd name="T82" fmla="*/ 109 w 187"/>
                <a:gd name="T83" fmla="*/ 234 h 239"/>
                <a:gd name="T84" fmla="*/ 116 w 187"/>
                <a:gd name="T85" fmla="*/ 231 h 239"/>
                <a:gd name="T86" fmla="*/ 134 w 187"/>
                <a:gd name="T87" fmla="*/ 218 h 239"/>
                <a:gd name="T88" fmla="*/ 142 w 187"/>
                <a:gd name="T89" fmla="*/ 234 h 239"/>
                <a:gd name="T90" fmla="*/ 142 w 187"/>
                <a:gd name="T91" fmla="*/ 169 h 239"/>
                <a:gd name="T92" fmla="*/ 138 w 187"/>
                <a:gd name="T93" fmla="*/ 174 h 239"/>
                <a:gd name="T94" fmla="*/ 127 w 187"/>
                <a:gd name="T95" fmla="*/ 185 h 239"/>
                <a:gd name="T96" fmla="*/ 112 w 187"/>
                <a:gd name="T97" fmla="*/ 193 h 239"/>
                <a:gd name="T98" fmla="*/ 96 w 187"/>
                <a:gd name="T99" fmla="*/ 198 h 239"/>
                <a:gd name="T100" fmla="*/ 87 w 187"/>
                <a:gd name="T101" fmla="*/ 198 h 239"/>
                <a:gd name="T102" fmla="*/ 69 w 187"/>
                <a:gd name="T103" fmla="*/ 196 h 239"/>
                <a:gd name="T104" fmla="*/ 56 w 187"/>
                <a:gd name="T105" fmla="*/ 189 h 239"/>
                <a:gd name="T106" fmla="*/ 51 w 187"/>
                <a:gd name="T107" fmla="*/ 184 h 239"/>
                <a:gd name="T108" fmla="*/ 44 w 187"/>
                <a:gd name="T109" fmla="*/ 170 h 239"/>
                <a:gd name="T110" fmla="*/ 43 w 187"/>
                <a:gd name="T111" fmla="*/ 160 h 239"/>
                <a:gd name="T112" fmla="*/ 46 w 187"/>
                <a:gd name="T113" fmla="*/ 146 h 239"/>
                <a:gd name="T114" fmla="*/ 56 w 187"/>
                <a:gd name="T115" fmla="*/ 136 h 239"/>
                <a:gd name="T116" fmla="*/ 70 w 187"/>
                <a:gd name="T117" fmla="*/ 129 h 239"/>
                <a:gd name="T118" fmla="*/ 90 w 187"/>
                <a:gd name="T119" fmla="*/ 126 h 239"/>
                <a:gd name="T120" fmla="*/ 107 w 187"/>
                <a:gd name="T121" fmla="*/ 127 h 239"/>
                <a:gd name="T122" fmla="*/ 120 w 187"/>
                <a:gd name="T123" fmla="*/ 129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4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8"/>
                  </a:lnTo>
                  <a:lnTo>
                    <a:pt x="186" y="59"/>
                  </a:lnTo>
                  <a:lnTo>
                    <a:pt x="184" y="51"/>
                  </a:lnTo>
                  <a:lnTo>
                    <a:pt x="181" y="43"/>
                  </a:lnTo>
                  <a:lnTo>
                    <a:pt x="178" y="36"/>
                  </a:lnTo>
                  <a:lnTo>
                    <a:pt x="174" y="30"/>
                  </a:lnTo>
                  <a:lnTo>
                    <a:pt x="169" y="24"/>
                  </a:lnTo>
                  <a:lnTo>
                    <a:pt x="164" y="19"/>
                  </a:lnTo>
                  <a:lnTo>
                    <a:pt x="158" y="15"/>
                  </a:lnTo>
                  <a:lnTo>
                    <a:pt x="150" y="11"/>
                  </a:lnTo>
                  <a:lnTo>
                    <a:pt x="143" y="8"/>
                  </a:lnTo>
                  <a:lnTo>
                    <a:pt x="135" y="5"/>
                  </a:lnTo>
                  <a:lnTo>
                    <a:pt x="127" y="3"/>
                  </a:lnTo>
                  <a:lnTo>
                    <a:pt x="119" y="2"/>
                  </a:lnTo>
                  <a:lnTo>
                    <a:pt x="110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7" y="3"/>
                  </a:lnTo>
                  <a:lnTo>
                    <a:pt x="57" y="6"/>
                  </a:lnTo>
                  <a:lnTo>
                    <a:pt x="48" y="8"/>
                  </a:lnTo>
                  <a:lnTo>
                    <a:pt x="39" y="12"/>
                  </a:lnTo>
                  <a:lnTo>
                    <a:pt x="30" y="16"/>
                  </a:lnTo>
                  <a:lnTo>
                    <a:pt x="22" y="21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53" y="48"/>
                  </a:lnTo>
                  <a:lnTo>
                    <a:pt x="67" y="44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1" y="51"/>
                  </a:lnTo>
                  <a:lnTo>
                    <a:pt x="136" y="56"/>
                  </a:lnTo>
                  <a:lnTo>
                    <a:pt x="140" y="63"/>
                  </a:lnTo>
                  <a:lnTo>
                    <a:pt x="142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3"/>
                  </a:lnTo>
                  <a:lnTo>
                    <a:pt x="122" y="90"/>
                  </a:lnTo>
                  <a:lnTo>
                    <a:pt x="108" y="88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73" y="89"/>
                  </a:lnTo>
                  <a:lnTo>
                    <a:pt x="64" y="90"/>
                  </a:lnTo>
                  <a:lnTo>
                    <a:pt x="55" y="92"/>
                  </a:lnTo>
                  <a:lnTo>
                    <a:pt x="47" y="94"/>
                  </a:lnTo>
                  <a:lnTo>
                    <a:pt x="40" y="98"/>
                  </a:lnTo>
                  <a:lnTo>
                    <a:pt x="33" y="101"/>
                  </a:lnTo>
                  <a:lnTo>
                    <a:pt x="26" y="105"/>
                  </a:lnTo>
                  <a:lnTo>
                    <a:pt x="21" y="110"/>
                  </a:lnTo>
                  <a:lnTo>
                    <a:pt x="15" y="116"/>
                  </a:lnTo>
                  <a:lnTo>
                    <a:pt x="11" y="122"/>
                  </a:lnTo>
                  <a:lnTo>
                    <a:pt x="7" y="129"/>
                  </a:lnTo>
                  <a:lnTo>
                    <a:pt x="4" y="136"/>
                  </a:lnTo>
                  <a:lnTo>
                    <a:pt x="2" y="144"/>
                  </a:lnTo>
                  <a:lnTo>
                    <a:pt x="1" y="152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1" y="172"/>
                  </a:lnTo>
                  <a:lnTo>
                    <a:pt x="2" y="181"/>
                  </a:lnTo>
                  <a:lnTo>
                    <a:pt x="4" y="190"/>
                  </a:lnTo>
                  <a:lnTo>
                    <a:pt x="7" y="197"/>
                  </a:lnTo>
                  <a:lnTo>
                    <a:pt x="11" y="204"/>
                  </a:lnTo>
                  <a:lnTo>
                    <a:pt x="16" y="211"/>
                  </a:lnTo>
                  <a:lnTo>
                    <a:pt x="21" y="216"/>
                  </a:lnTo>
                  <a:lnTo>
                    <a:pt x="26" y="221"/>
                  </a:lnTo>
                  <a:lnTo>
                    <a:pt x="32" y="226"/>
                  </a:lnTo>
                  <a:lnTo>
                    <a:pt x="38" y="229"/>
                  </a:lnTo>
                  <a:lnTo>
                    <a:pt x="45" y="232"/>
                  </a:lnTo>
                  <a:lnTo>
                    <a:pt x="52" y="235"/>
                  </a:lnTo>
                  <a:lnTo>
                    <a:pt x="66" y="238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91" y="238"/>
                  </a:lnTo>
                  <a:lnTo>
                    <a:pt x="100" y="236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3"/>
                  </a:lnTo>
                  <a:lnTo>
                    <a:pt x="134" y="218"/>
                  </a:lnTo>
                  <a:lnTo>
                    <a:pt x="142" y="211"/>
                  </a:lnTo>
                  <a:lnTo>
                    <a:pt x="142" y="234"/>
                  </a:lnTo>
                  <a:lnTo>
                    <a:pt x="187" y="234"/>
                  </a:lnTo>
                  <a:close/>
                  <a:moveTo>
                    <a:pt x="142" y="169"/>
                  </a:moveTo>
                  <a:lnTo>
                    <a:pt x="142" y="169"/>
                  </a:lnTo>
                  <a:lnTo>
                    <a:pt x="138" y="174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89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6" y="198"/>
                  </a:lnTo>
                  <a:lnTo>
                    <a:pt x="87" y="198"/>
                  </a:lnTo>
                  <a:lnTo>
                    <a:pt x="87" y="198"/>
                  </a:lnTo>
                  <a:lnTo>
                    <a:pt x="77" y="198"/>
                  </a:lnTo>
                  <a:lnTo>
                    <a:pt x="69" y="196"/>
                  </a:lnTo>
                  <a:lnTo>
                    <a:pt x="62" y="193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1" y="184"/>
                  </a:lnTo>
                  <a:lnTo>
                    <a:pt x="47" y="178"/>
                  </a:lnTo>
                  <a:lnTo>
                    <a:pt x="44" y="170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4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6" y="136"/>
                  </a:lnTo>
                  <a:lnTo>
                    <a:pt x="62" y="132"/>
                  </a:lnTo>
                  <a:lnTo>
                    <a:pt x="70" y="129"/>
                  </a:lnTo>
                  <a:lnTo>
                    <a:pt x="80" y="127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7" y="127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31" y="132"/>
                  </a:lnTo>
                  <a:lnTo>
                    <a:pt x="142" y="136"/>
                  </a:lnTo>
                  <a:lnTo>
                    <a:pt x="142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09" name="Freeform 108"/>
            <p:cNvSpPr>
              <a:spLocks/>
            </p:cNvSpPr>
            <p:nvPr userDrawn="1"/>
          </p:nvSpPr>
          <p:spPr bwMode="auto">
            <a:xfrm>
              <a:off x="2366963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0" name="Freeform 109"/>
            <p:cNvSpPr>
              <a:spLocks noEditPoints="1"/>
            </p:cNvSpPr>
            <p:nvPr userDrawn="1"/>
          </p:nvSpPr>
          <p:spPr bwMode="auto">
            <a:xfrm>
              <a:off x="2497138" y="6151563"/>
              <a:ext cx="77788" cy="95250"/>
            </a:xfrm>
            <a:custGeom>
              <a:avLst/>
              <a:gdLst>
                <a:gd name="T0" fmla="*/ 198 w 198"/>
                <a:gd name="T1" fmla="*/ 115 h 239"/>
                <a:gd name="T2" fmla="*/ 197 w 198"/>
                <a:gd name="T3" fmla="*/ 92 h 239"/>
                <a:gd name="T4" fmla="*/ 192 w 198"/>
                <a:gd name="T5" fmla="*/ 71 h 239"/>
                <a:gd name="T6" fmla="*/ 185 w 198"/>
                <a:gd name="T7" fmla="*/ 52 h 239"/>
                <a:gd name="T8" fmla="*/ 174 w 198"/>
                <a:gd name="T9" fmla="*/ 34 h 239"/>
                <a:gd name="T10" fmla="*/ 161 w 198"/>
                <a:gd name="T11" fmla="*/ 20 h 239"/>
                <a:gd name="T12" fmla="*/ 144 w 198"/>
                <a:gd name="T13" fmla="*/ 10 h 239"/>
                <a:gd name="T14" fmla="*/ 125 w 198"/>
                <a:gd name="T15" fmla="*/ 3 h 239"/>
                <a:gd name="T16" fmla="*/ 102 w 198"/>
                <a:gd name="T17" fmla="*/ 0 h 239"/>
                <a:gd name="T18" fmla="*/ 90 w 198"/>
                <a:gd name="T19" fmla="*/ 1 h 239"/>
                <a:gd name="T20" fmla="*/ 69 w 198"/>
                <a:gd name="T21" fmla="*/ 5 h 239"/>
                <a:gd name="T22" fmla="*/ 51 w 198"/>
                <a:gd name="T23" fmla="*/ 12 h 239"/>
                <a:gd name="T24" fmla="*/ 35 w 198"/>
                <a:gd name="T25" fmla="*/ 24 h 239"/>
                <a:gd name="T26" fmla="*/ 22 w 198"/>
                <a:gd name="T27" fmla="*/ 39 h 239"/>
                <a:gd name="T28" fmla="*/ 12 w 198"/>
                <a:gd name="T29" fmla="*/ 58 h 239"/>
                <a:gd name="T30" fmla="*/ 5 w 198"/>
                <a:gd name="T31" fmla="*/ 80 h 239"/>
                <a:gd name="T32" fmla="*/ 1 w 198"/>
                <a:gd name="T33" fmla="*/ 106 h 239"/>
                <a:gd name="T34" fmla="*/ 0 w 198"/>
                <a:gd name="T35" fmla="*/ 120 h 239"/>
                <a:gd name="T36" fmla="*/ 3 w 198"/>
                <a:gd name="T37" fmla="*/ 148 h 239"/>
                <a:gd name="T38" fmla="*/ 9 w 198"/>
                <a:gd name="T39" fmla="*/ 172 h 239"/>
                <a:gd name="T40" fmla="*/ 19 w 198"/>
                <a:gd name="T41" fmla="*/ 193 h 239"/>
                <a:gd name="T42" fmla="*/ 31 w 198"/>
                <a:gd name="T43" fmla="*/ 209 h 239"/>
                <a:gd name="T44" fmla="*/ 37 w 198"/>
                <a:gd name="T45" fmla="*/ 215 h 239"/>
                <a:gd name="T46" fmla="*/ 51 w 198"/>
                <a:gd name="T47" fmla="*/ 226 h 239"/>
                <a:gd name="T48" fmla="*/ 68 w 198"/>
                <a:gd name="T49" fmla="*/ 234 h 239"/>
                <a:gd name="T50" fmla="*/ 88 w 198"/>
                <a:gd name="T51" fmla="*/ 238 h 239"/>
                <a:gd name="T52" fmla="*/ 100 w 198"/>
                <a:gd name="T53" fmla="*/ 239 h 239"/>
                <a:gd name="T54" fmla="*/ 126 w 198"/>
                <a:gd name="T55" fmla="*/ 237 h 239"/>
                <a:gd name="T56" fmla="*/ 146 w 198"/>
                <a:gd name="T57" fmla="*/ 231 h 239"/>
                <a:gd name="T58" fmla="*/ 155 w 198"/>
                <a:gd name="T59" fmla="*/ 227 h 239"/>
                <a:gd name="T60" fmla="*/ 171 w 198"/>
                <a:gd name="T61" fmla="*/ 216 h 239"/>
                <a:gd name="T62" fmla="*/ 153 w 198"/>
                <a:gd name="T63" fmla="*/ 180 h 239"/>
                <a:gd name="T64" fmla="*/ 141 w 198"/>
                <a:gd name="T65" fmla="*/ 188 h 239"/>
                <a:gd name="T66" fmla="*/ 130 w 198"/>
                <a:gd name="T67" fmla="*/ 193 h 239"/>
                <a:gd name="T68" fmla="*/ 117 w 198"/>
                <a:gd name="T69" fmla="*/ 197 h 239"/>
                <a:gd name="T70" fmla="*/ 103 w 198"/>
                <a:gd name="T71" fmla="*/ 198 h 239"/>
                <a:gd name="T72" fmla="*/ 93 w 198"/>
                <a:gd name="T73" fmla="*/ 197 h 239"/>
                <a:gd name="T74" fmla="*/ 73 w 198"/>
                <a:gd name="T75" fmla="*/ 190 h 239"/>
                <a:gd name="T76" fmla="*/ 58 w 198"/>
                <a:gd name="T77" fmla="*/ 175 h 239"/>
                <a:gd name="T78" fmla="*/ 47 w 198"/>
                <a:gd name="T79" fmla="*/ 151 h 239"/>
                <a:gd name="T80" fmla="*/ 197 w 198"/>
                <a:gd name="T81" fmla="*/ 136 h 239"/>
                <a:gd name="T82" fmla="*/ 198 w 198"/>
                <a:gd name="T83" fmla="*/ 127 h 239"/>
                <a:gd name="T84" fmla="*/ 198 w 198"/>
                <a:gd name="T85" fmla="*/ 115 h 239"/>
                <a:gd name="T86" fmla="*/ 45 w 198"/>
                <a:gd name="T87" fmla="*/ 98 h 239"/>
                <a:gd name="T88" fmla="*/ 51 w 198"/>
                <a:gd name="T89" fmla="*/ 74 h 239"/>
                <a:gd name="T90" fmla="*/ 61 w 198"/>
                <a:gd name="T91" fmla="*/ 56 h 239"/>
                <a:gd name="T92" fmla="*/ 77 w 198"/>
                <a:gd name="T93" fmla="*/ 45 h 239"/>
                <a:gd name="T94" fmla="*/ 99 w 198"/>
                <a:gd name="T95" fmla="*/ 41 h 239"/>
                <a:gd name="T96" fmla="*/ 105 w 198"/>
                <a:gd name="T97" fmla="*/ 41 h 239"/>
                <a:gd name="T98" fmla="*/ 117 w 198"/>
                <a:gd name="T99" fmla="*/ 44 h 239"/>
                <a:gd name="T100" fmla="*/ 127 w 198"/>
                <a:gd name="T101" fmla="*/ 48 h 239"/>
                <a:gd name="T102" fmla="*/ 139 w 198"/>
                <a:gd name="T103" fmla="*/ 58 h 239"/>
                <a:gd name="T104" fmla="*/ 149 w 198"/>
                <a:gd name="T105" fmla="*/ 76 h 239"/>
                <a:gd name="T106" fmla="*/ 153 w 198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8" h="239">
                  <a:moveTo>
                    <a:pt x="198" y="115"/>
                  </a:moveTo>
                  <a:lnTo>
                    <a:pt x="198" y="115"/>
                  </a:lnTo>
                  <a:lnTo>
                    <a:pt x="198" y="104"/>
                  </a:lnTo>
                  <a:lnTo>
                    <a:pt x="197" y="92"/>
                  </a:lnTo>
                  <a:lnTo>
                    <a:pt x="195" y="81"/>
                  </a:lnTo>
                  <a:lnTo>
                    <a:pt x="192" y="71"/>
                  </a:lnTo>
                  <a:lnTo>
                    <a:pt x="189" y="61"/>
                  </a:lnTo>
                  <a:lnTo>
                    <a:pt x="185" y="52"/>
                  </a:lnTo>
                  <a:lnTo>
                    <a:pt x="180" y="43"/>
                  </a:lnTo>
                  <a:lnTo>
                    <a:pt x="174" y="34"/>
                  </a:lnTo>
                  <a:lnTo>
                    <a:pt x="168" y="27"/>
                  </a:lnTo>
                  <a:lnTo>
                    <a:pt x="161" y="20"/>
                  </a:lnTo>
                  <a:lnTo>
                    <a:pt x="153" y="14"/>
                  </a:lnTo>
                  <a:lnTo>
                    <a:pt x="144" y="10"/>
                  </a:lnTo>
                  <a:lnTo>
                    <a:pt x="135" y="6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0" y="1"/>
                  </a:lnTo>
                  <a:lnTo>
                    <a:pt x="79" y="2"/>
                  </a:lnTo>
                  <a:lnTo>
                    <a:pt x="69" y="5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2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8"/>
                  </a:lnTo>
                  <a:lnTo>
                    <a:pt x="5" y="80"/>
                  </a:lnTo>
                  <a:lnTo>
                    <a:pt x="2" y="92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4"/>
                  </a:lnTo>
                  <a:lnTo>
                    <a:pt x="3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4" y="183"/>
                  </a:lnTo>
                  <a:lnTo>
                    <a:pt x="19" y="193"/>
                  </a:lnTo>
                  <a:lnTo>
                    <a:pt x="25" y="201"/>
                  </a:lnTo>
                  <a:lnTo>
                    <a:pt x="31" y="209"/>
                  </a:lnTo>
                  <a:lnTo>
                    <a:pt x="31" y="209"/>
                  </a:lnTo>
                  <a:lnTo>
                    <a:pt x="37" y="215"/>
                  </a:lnTo>
                  <a:lnTo>
                    <a:pt x="44" y="220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6"/>
                  </a:lnTo>
                  <a:lnTo>
                    <a:pt x="88" y="238"/>
                  </a:lnTo>
                  <a:lnTo>
                    <a:pt x="100" y="239"/>
                  </a:lnTo>
                  <a:lnTo>
                    <a:pt x="100" y="239"/>
                  </a:lnTo>
                  <a:lnTo>
                    <a:pt x="114" y="238"/>
                  </a:lnTo>
                  <a:lnTo>
                    <a:pt x="126" y="237"/>
                  </a:lnTo>
                  <a:lnTo>
                    <a:pt x="137" y="234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5" y="227"/>
                  </a:lnTo>
                  <a:lnTo>
                    <a:pt x="163" y="222"/>
                  </a:lnTo>
                  <a:lnTo>
                    <a:pt x="171" y="216"/>
                  </a:lnTo>
                  <a:lnTo>
                    <a:pt x="179" y="209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41" y="188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24" y="195"/>
                  </a:lnTo>
                  <a:lnTo>
                    <a:pt x="117" y="197"/>
                  </a:lnTo>
                  <a:lnTo>
                    <a:pt x="110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93" y="197"/>
                  </a:lnTo>
                  <a:lnTo>
                    <a:pt x="82" y="195"/>
                  </a:lnTo>
                  <a:lnTo>
                    <a:pt x="73" y="190"/>
                  </a:lnTo>
                  <a:lnTo>
                    <a:pt x="65" y="183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7" y="151"/>
                  </a:lnTo>
                  <a:lnTo>
                    <a:pt x="45" y="136"/>
                  </a:lnTo>
                  <a:lnTo>
                    <a:pt x="197" y="136"/>
                  </a:lnTo>
                  <a:lnTo>
                    <a:pt x="197" y="136"/>
                  </a:lnTo>
                  <a:lnTo>
                    <a:pt x="198" y="127"/>
                  </a:lnTo>
                  <a:lnTo>
                    <a:pt x="198" y="115"/>
                  </a:lnTo>
                  <a:lnTo>
                    <a:pt x="198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1" y="74"/>
                  </a:lnTo>
                  <a:lnTo>
                    <a:pt x="56" y="64"/>
                  </a:lnTo>
                  <a:lnTo>
                    <a:pt x="61" y="56"/>
                  </a:lnTo>
                  <a:lnTo>
                    <a:pt x="69" y="49"/>
                  </a:lnTo>
                  <a:lnTo>
                    <a:pt x="77" y="45"/>
                  </a:lnTo>
                  <a:lnTo>
                    <a:pt x="87" y="42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105" y="41"/>
                  </a:lnTo>
                  <a:lnTo>
                    <a:pt x="112" y="42"/>
                  </a:lnTo>
                  <a:lnTo>
                    <a:pt x="117" y="44"/>
                  </a:lnTo>
                  <a:lnTo>
                    <a:pt x="122" y="45"/>
                  </a:lnTo>
                  <a:lnTo>
                    <a:pt x="127" y="48"/>
                  </a:lnTo>
                  <a:lnTo>
                    <a:pt x="132" y="51"/>
                  </a:lnTo>
                  <a:lnTo>
                    <a:pt x="139" y="58"/>
                  </a:lnTo>
                  <a:lnTo>
                    <a:pt x="144" y="66"/>
                  </a:lnTo>
                  <a:lnTo>
                    <a:pt x="149" y="76"/>
                  </a:lnTo>
                  <a:lnTo>
                    <a:pt x="151" y="87"/>
                  </a:lnTo>
                  <a:lnTo>
                    <a:pt x="153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1" name="Freeform 110"/>
            <p:cNvSpPr>
              <a:spLocks/>
            </p:cNvSpPr>
            <p:nvPr userDrawn="1"/>
          </p:nvSpPr>
          <p:spPr bwMode="auto">
            <a:xfrm>
              <a:off x="2590800" y="6151563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3 h 239"/>
                <a:gd name="T8" fmla="*/ 100 w 181"/>
                <a:gd name="T9" fmla="*/ 0 h 239"/>
                <a:gd name="T10" fmla="*/ 90 w 181"/>
                <a:gd name="T11" fmla="*/ 1 h 239"/>
                <a:gd name="T12" fmla="*/ 70 w 181"/>
                <a:gd name="T13" fmla="*/ 5 h 239"/>
                <a:gd name="T14" fmla="*/ 52 w 181"/>
                <a:gd name="T15" fmla="*/ 13 h 239"/>
                <a:gd name="T16" fmla="*/ 36 w 181"/>
                <a:gd name="T17" fmla="*/ 25 h 239"/>
                <a:gd name="T18" fmla="*/ 23 w 181"/>
                <a:gd name="T19" fmla="*/ 40 h 239"/>
                <a:gd name="T20" fmla="*/ 12 w 181"/>
                <a:gd name="T21" fmla="*/ 59 h 239"/>
                <a:gd name="T22" fmla="*/ 4 w 181"/>
                <a:gd name="T23" fmla="*/ 81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6 h 239"/>
                <a:gd name="T30" fmla="*/ 7 w 181"/>
                <a:gd name="T31" fmla="*/ 169 h 239"/>
                <a:gd name="T32" fmla="*/ 16 w 181"/>
                <a:gd name="T33" fmla="*/ 189 h 239"/>
                <a:gd name="T34" fmla="*/ 28 w 181"/>
                <a:gd name="T35" fmla="*/ 206 h 239"/>
                <a:gd name="T36" fmla="*/ 43 w 181"/>
                <a:gd name="T37" fmla="*/ 220 h 239"/>
                <a:gd name="T38" fmla="*/ 60 w 181"/>
                <a:gd name="T39" fmla="*/ 230 h 239"/>
                <a:gd name="T40" fmla="*/ 78 w 181"/>
                <a:gd name="T41" fmla="*/ 237 h 239"/>
                <a:gd name="T42" fmla="*/ 99 w 181"/>
                <a:gd name="T43" fmla="*/ 239 h 239"/>
                <a:gd name="T44" fmla="*/ 113 w 181"/>
                <a:gd name="T45" fmla="*/ 238 h 239"/>
                <a:gd name="T46" fmla="*/ 138 w 181"/>
                <a:gd name="T47" fmla="*/ 231 h 239"/>
                <a:gd name="T48" fmla="*/ 158 w 181"/>
                <a:gd name="T49" fmla="*/ 220 h 239"/>
                <a:gd name="T50" fmla="*/ 174 w 181"/>
                <a:gd name="T51" fmla="*/ 204 h 239"/>
                <a:gd name="T52" fmla="*/ 152 w 181"/>
                <a:gd name="T53" fmla="*/ 168 h 239"/>
                <a:gd name="T54" fmla="*/ 139 w 181"/>
                <a:gd name="T55" fmla="*/ 180 h 239"/>
                <a:gd name="T56" fmla="*/ 127 w 181"/>
                <a:gd name="T57" fmla="*/ 189 h 239"/>
                <a:gd name="T58" fmla="*/ 115 w 181"/>
                <a:gd name="T59" fmla="*/ 194 h 239"/>
                <a:gd name="T60" fmla="*/ 100 w 181"/>
                <a:gd name="T61" fmla="*/ 196 h 239"/>
                <a:gd name="T62" fmla="*/ 94 w 181"/>
                <a:gd name="T63" fmla="*/ 196 h 239"/>
                <a:gd name="T64" fmla="*/ 82 w 181"/>
                <a:gd name="T65" fmla="*/ 193 h 239"/>
                <a:gd name="T66" fmla="*/ 71 w 181"/>
                <a:gd name="T67" fmla="*/ 187 h 239"/>
                <a:gd name="T68" fmla="*/ 63 w 181"/>
                <a:gd name="T69" fmla="*/ 179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9 h 239"/>
                <a:gd name="T76" fmla="*/ 46 w 181"/>
                <a:gd name="T77" fmla="*/ 102 h 239"/>
                <a:gd name="T78" fmla="*/ 53 w 181"/>
                <a:gd name="T79" fmla="*/ 74 h 239"/>
                <a:gd name="T80" fmla="*/ 60 w 181"/>
                <a:gd name="T81" fmla="*/ 64 h 239"/>
                <a:gd name="T82" fmla="*/ 67 w 181"/>
                <a:gd name="T83" fmla="*/ 55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0 w 181"/>
                <a:gd name="T93" fmla="*/ 47 h 239"/>
                <a:gd name="T94" fmla="*/ 134 w 181"/>
                <a:gd name="T95" fmla="*/ 54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6"/>
                  </a:lnTo>
                  <a:lnTo>
                    <a:pt x="145" y="10"/>
                  </a:lnTo>
                  <a:lnTo>
                    <a:pt x="135" y="6"/>
                  </a:lnTo>
                  <a:lnTo>
                    <a:pt x="124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1"/>
                  </a:lnTo>
                  <a:lnTo>
                    <a:pt x="80" y="2"/>
                  </a:lnTo>
                  <a:lnTo>
                    <a:pt x="70" y="5"/>
                  </a:lnTo>
                  <a:lnTo>
                    <a:pt x="61" y="8"/>
                  </a:lnTo>
                  <a:lnTo>
                    <a:pt x="52" y="13"/>
                  </a:lnTo>
                  <a:lnTo>
                    <a:pt x="44" y="18"/>
                  </a:lnTo>
                  <a:lnTo>
                    <a:pt x="36" y="25"/>
                  </a:lnTo>
                  <a:lnTo>
                    <a:pt x="29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4" y="81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6"/>
                  </a:lnTo>
                  <a:lnTo>
                    <a:pt x="4" y="158"/>
                  </a:lnTo>
                  <a:lnTo>
                    <a:pt x="7" y="169"/>
                  </a:lnTo>
                  <a:lnTo>
                    <a:pt x="11" y="179"/>
                  </a:lnTo>
                  <a:lnTo>
                    <a:pt x="16" y="189"/>
                  </a:lnTo>
                  <a:lnTo>
                    <a:pt x="22" y="198"/>
                  </a:lnTo>
                  <a:lnTo>
                    <a:pt x="28" y="206"/>
                  </a:lnTo>
                  <a:lnTo>
                    <a:pt x="35" y="214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60" y="230"/>
                  </a:lnTo>
                  <a:lnTo>
                    <a:pt x="69" y="234"/>
                  </a:lnTo>
                  <a:lnTo>
                    <a:pt x="78" y="237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3" y="238"/>
                  </a:lnTo>
                  <a:lnTo>
                    <a:pt x="126" y="235"/>
                  </a:lnTo>
                  <a:lnTo>
                    <a:pt x="138" y="231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2"/>
                  </a:lnTo>
                  <a:lnTo>
                    <a:pt x="174" y="204"/>
                  </a:lnTo>
                  <a:lnTo>
                    <a:pt x="181" y="196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0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2"/>
                  </a:lnTo>
                  <a:lnTo>
                    <a:pt x="115" y="194"/>
                  </a:lnTo>
                  <a:lnTo>
                    <a:pt x="108" y="196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6" y="190"/>
                  </a:lnTo>
                  <a:lnTo>
                    <a:pt x="71" y="187"/>
                  </a:lnTo>
                  <a:lnTo>
                    <a:pt x="67" y="184"/>
                  </a:lnTo>
                  <a:lnTo>
                    <a:pt x="63" y="179"/>
                  </a:lnTo>
                  <a:lnTo>
                    <a:pt x="59" y="174"/>
                  </a:lnTo>
                  <a:lnTo>
                    <a:pt x="56" y="169"/>
                  </a:lnTo>
                  <a:lnTo>
                    <a:pt x="53" y="163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3" y="74"/>
                  </a:lnTo>
                  <a:lnTo>
                    <a:pt x="56" y="69"/>
                  </a:lnTo>
                  <a:lnTo>
                    <a:pt x="60" y="64"/>
                  </a:lnTo>
                  <a:lnTo>
                    <a:pt x="63" y="59"/>
                  </a:lnTo>
                  <a:lnTo>
                    <a:pt x="67" y="55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3" y="45"/>
                  </a:lnTo>
                  <a:lnTo>
                    <a:pt x="120" y="47"/>
                  </a:lnTo>
                  <a:lnTo>
                    <a:pt x="127" y="50"/>
                  </a:lnTo>
                  <a:lnTo>
                    <a:pt x="134" y="54"/>
                  </a:lnTo>
                  <a:lnTo>
                    <a:pt x="141" y="59"/>
                  </a:lnTo>
                  <a:lnTo>
                    <a:pt x="148" y="64"/>
                  </a:lnTo>
                  <a:lnTo>
                    <a:pt x="155" y="71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2" name="Freeform 111"/>
            <p:cNvSpPr>
              <a:spLocks/>
            </p:cNvSpPr>
            <p:nvPr userDrawn="1"/>
          </p:nvSpPr>
          <p:spPr bwMode="auto">
            <a:xfrm>
              <a:off x="2671763" y="6153151"/>
              <a:ext cx="73025" cy="92075"/>
            </a:xfrm>
            <a:custGeom>
              <a:avLst/>
              <a:gdLst>
                <a:gd name="T0" fmla="*/ 185 w 185"/>
                <a:gd name="T1" fmla="*/ 39 h 229"/>
                <a:gd name="T2" fmla="*/ 185 w 185"/>
                <a:gd name="T3" fmla="*/ 0 h 229"/>
                <a:gd name="T4" fmla="*/ 0 w 185"/>
                <a:gd name="T5" fmla="*/ 0 h 229"/>
                <a:gd name="T6" fmla="*/ 0 w 185"/>
                <a:gd name="T7" fmla="*/ 39 h 229"/>
                <a:gd name="T8" fmla="*/ 69 w 185"/>
                <a:gd name="T9" fmla="*/ 39 h 229"/>
                <a:gd name="T10" fmla="*/ 69 w 185"/>
                <a:gd name="T11" fmla="*/ 229 h 229"/>
                <a:gd name="T12" fmla="*/ 114 w 185"/>
                <a:gd name="T13" fmla="*/ 229 h 229"/>
                <a:gd name="T14" fmla="*/ 114 w 185"/>
                <a:gd name="T15" fmla="*/ 39 h 229"/>
                <a:gd name="T16" fmla="*/ 185 w 185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229">
                  <a:moveTo>
                    <a:pt x="185" y="39"/>
                  </a:moveTo>
                  <a:lnTo>
                    <a:pt x="185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9" y="39"/>
                  </a:lnTo>
                  <a:lnTo>
                    <a:pt x="69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5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3" name="Freeform 112"/>
            <p:cNvSpPr>
              <a:spLocks noEditPoints="1"/>
            </p:cNvSpPr>
            <p:nvPr userDrawn="1"/>
          </p:nvSpPr>
          <p:spPr bwMode="auto">
            <a:xfrm>
              <a:off x="2757488" y="6153151"/>
              <a:ext cx="74613" cy="92075"/>
            </a:xfrm>
            <a:custGeom>
              <a:avLst/>
              <a:gdLst>
                <a:gd name="T0" fmla="*/ 45 w 184"/>
                <a:gd name="T1" fmla="*/ 0 h 229"/>
                <a:gd name="T2" fmla="*/ 0 w 184"/>
                <a:gd name="T3" fmla="*/ 0 h 229"/>
                <a:gd name="T4" fmla="*/ 0 w 184"/>
                <a:gd name="T5" fmla="*/ 229 h 229"/>
                <a:gd name="T6" fmla="*/ 106 w 184"/>
                <a:gd name="T7" fmla="*/ 229 h 229"/>
                <a:gd name="T8" fmla="*/ 106 w 184"/>
                <a:gd name="T9" fmla="*/ 229 h 229"/>
                <a:gd name="T10" fmla="*/ 114 w 184"/>
                <a:gd name="T11" fmla="*/ 229 h 229"/>
                <a:gd name="T12" fmla="*/ 122 w 184"/>
                <a:gd name="T13" fmla="*/ 228 h 229"/>
                <a:gd name="T14" fmla="*/ 130 w 184"/>
                <a:gd name="T15" fmla="*/ 226 h 229"/>
                <a:gd name="T16" fmla="*/ 137 w 184"/>
                <a:gd name="T17" fmla="*/ 224 h 229"/>
                <a:gd name="T18" fmla="*/ 144 w 184"/>
                <a:gd name="T19" fmla="*/ 222 h 229"/>
                <a:gd name="T20" fmla="*/ 151 w 184"/>
                <a:gd name="T21" fmla="*/ 218 h 229"/>
                <a:gd name="T22" fmla="*/ 157 w 184"/>
                <a:gd name="T23" fmla="*/ 214 h 229"/>
                <a:gd name="T24" fmla="*/ 162 w 184"/>
                <a:gd name="T25" fmla="*/ 210 h 229"/>
                <a:gd name="T26" fmla="*/ 167 w 184"/>
                <a:gd name="T27" fmla="*/ 205 h 229"/>
                <a:gd name="T28" fmla="*/ 172 w 184"/>
                <a:gd name="T29" fmla="*/ 200 h 229"/>
                <a:gd name="T30" fmla="*/ 175 w 184"/>
                <a:gd name="T31" fmla="*/ 193 h 229"/>
                <a:gd name="T32" fmla="*/ 178 w 184"/>
                <a:gd name="T33" fmla="*/ 187 h 229"/>
                <a:gd name="T34" fmla="*/ 181 w 184"/>
                <a:gd name="T35" fmla="*/ 180 h 229"/>
                <a:gd name="T36" fmla="*/ 183 w 184"/>
                <a:gd name="T37" fmla="*/ 172 h 229"/>
                <a:gd name="T38" fmla="*/ 184 w 184"/>
                <a:gd name="T39" fmla="*/ 163 h 229"/>
                <a:gd name="T40" fmla="*/ 184 w 184"/>
                <a:gd name="T41" fmla="*/ 154 h 229"/>
                <a:gd name="T42" fmla="*/ 184 w 184"/>
                <a:gd name="T43" fmla="*/ 154 h 229"/>
                <a:gd name="T44" fmla="*/ 184 w 184"/>
                <a:gd name="T45" fmla="*/ 146 h 229"/>
                <a:gd name="T46" fmla="*/ 183 w 184"/>
                <a:gd name="T47" fmla="*/ 137 h 229"/>
                <a:gd name="T48" fmla="*/ 181 w 184"/>
                <a:gd name="T49" fmla="*/ 130 h 229"/>
                <a:gd name="T50" fmla="*/ 178 w 184"/>
                <a:gd name="T51" fmla="*/ 122 h 229"/>
                <a:gd name="T52" fmla="*/ 175 w 184"/>
                <a:gd name="T53" fmla="*/ 116 h 229"/>
                <a:gd name="T54" fmla="*/ 172 w 184"/>
                <a:gd name="T55" fmla="*/ 110 h 229"/>
                <a:gd name="T56" fmla="*/ 167 w 184"/>
                <a:gd name="T57" fmla="*/ 104 h 229"/>
                <a:gd name="T58" fmla="*/ 163 w 184"/>
                <a:gd name="T59" fmla="*/ 99 h 229"/>
                <a:gd name="T60" fmla="*/ 157 w 184"/>
                <a:gd name="T61" fmla="*/ 95 h 229"/>
                <a:gd name="T62" fmla="*/ 151 w 184"/>
                <a:gd name="T63" fmla="*/ 91 h 229"/>
                <a:gd name="T64" fmla="*/ 145 w 184"/>
                <a:gd name="T65" fmla="*/ 88 h 229"/>
                <a:gd name="T66" fmla="*/ 139 w 184"/>
                <a:gd name="T67" fmla="*/ 85 h 229"/>
                <a:gd name="T68" fmla="*/ 132 w 184"/>
                <a:gd name="T69" fmla="*/ 83 h 229"/>
                <a:gd name="T70" fmla="*/ 124 w 184"/>
                <a:gd name="T71" fmla="*/ 82 h 229"/>
                <a:gd name="T72" fmla="*/ 116 w 184"/>
                <a:gd name="T73" fmla="*/ 81 h 229"/>
                <a:gd name="T74" fmla="*/ 108 w 184"/>
                <a:gd name="T75" fmla="*/ 81 h 229"/>
                <a:gd name="T76" fmla="*/ 45 w 184"/>
                <a:gd name="T77" fmla="*/ 81 h 229"/>
                <a:gd name="T78" fmla="*/ 45 w 184"/>
                <a:gd name="T79" fmla="*/ 0 h 229"/>
                <a:gd name="T80" fmla="*/ 45 w 184"/>
                <a:gd name="T81" fmla="*/ 192 h 229"/>
                <a:gd name="T82" fmla="*/ 45 w 184"/>
                <a:gd name="T83" fmla="*/ 118 h 229"/>
                <a:gd name="T84" fmla="*/ 102 w 184"/>
                <a:gd name="T85" fmla="*/ 118 h 229"/>
                <a:gd name="T86" fmla="*/ 102 w 184"/>
                <a:gd name="T87" fmla="*/ 118 h 229"/>
                <a:gd name="T88" fmla="*/ 110 w 184"/>
                <a:gd name="T89" fmla="*/ 118 h 229"/>
                <a:gd name="T90" fmla="*/ 118 w 184"/>
                <a:gd name="T91" fmla="*/ 120 h 229"/>
                <a:gd name="T92" fmla="*/ 124 w 184"/>
                <a:gd name="T93" fmla="*/ 123 h 229"/>
                <a:gd name="T94" fmla="*/ 129 w 184"/>
                <a:gd name="T95" fmla="*/ 127 h 229"/>
                <a:gd name="T96" fmla="*/ 134 w 184"/>
                <a:gd name="T97" fmla="*/ 133 h 229"/>
                <a:gd name="T98" fmla="*/ 137 w 184"/>
                <a:gd name="T99" fmla="*/ 139 h 229"/>
                <a:gd name="T100" fmla="*/ 139 w 184"/>
                <a:gd name="T101" fmla="*/ 146 h 229"/>
                <a:gd name="T102" fmla="*/ 139 w 184"/>
                <a:gd name="T103" fmla="*/ 155 h 229"/>
                <a:gd name="T104" fmla="*/ 139 w 184"/>
                <a:gd name="T105" fmla="*/ 155 h 229"/>
                <a:gd name="T106" fmla="*/ 139 w 184"/>
                <a:gd name="T107" fmla="*/ 163 h 229"/>
                <a:gd name="T108" fmla="*/ 137 w 184"/>
                <a:gd name="T109" fmla="*/ 170 h 229"/>
                <a:gd name="T110" fmla="*/ 134 w 184"/>
                <a:gd name="T111" fmla="*/ 177 h 229"/>
                <a:gd name="T112" fmla="*/ 130 w 184"/>
                <a:gd name="T113" fmla="*/ 182 h 229"/>
                <a:gd name="T114" fmla="*/ 125 w 184"/>
                <a:gd name="T115" fmla="*/ 186 h 229"/>
                <a:gd name="T116" fmla="*/ 119 w 184"/>
                <a:gd name="T117" fmla="*/ 189 h 229"/>
                <a:gd name="T118" fmla="*/ 111 w 184"/>
                <a:gd name="T119" fmla="*/ 191 h 229"/>
                <a:gd name="T120" fmla="*/ 102 w 184"/>
                <a:gd name="T121" fmla="*/ 192 h 229"/>
                <a:gd name="T122" fmla="*/ 45 w 184"/>
                <a:gd name="T123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4" h="229">
                  <a:moveTo>
                    <a:pt x="45" y="0"/>
                  </a:moveTo>
                  <a:lnTo>
                    <a:pt x="0" y="0"/>
                  </a:lnTo>
                  <a:lnTo>
                    <a:pt x="0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14" y="229"/>
                  </a:lnTo>
                  <a:lnTo>
                    <a:pt x="122" y="228"/>
                  </a:lnTo>
                  <a:lnTo>
                    <a:pt x="130" y="226"/>
                  </a:lnTo>
                  <a:lnTo>
                    <a:pt x="137" y="224"/>
                  </a:lnTo>
                  <a:lnTo>
                    <a:pt x="144" y="222"/>
                  </a:lnTo>
                  <a:lnTo>
                    <a:pt x="151" y="218"/>
                  </a:lnTo>
                  <a:lnTo>
                    <a:pt x="157" y="214"/>
                  </a:lnTo>
                  <a:lnTo>
                    <a:pt x="162" y="210"/>
                  </a:lnTo>
                  <a:lnTo>
                    <a:pt x="167" y="205"/>
                  </a:lnTo>
                  <a:lnTo>
                    <a:pt x="172" y="200"/>
                  </a:lnTo>
                  <a:lnTo>
                    <a:pt x="175" y="193"/>
                  </a:lnTo>
                  <a:lnTo>
                    <a:pt x="178" y="187"/>
                  </a:lnTo>
                  <a:lnTo>
                    <a:pt x="181" y="180"/>
                  </a:lnTo>
                  <a:lnTo>
                    <a:pt x="183" y="172"/>
                  </a:lnTo>
                  <a:lnTo>
                    <a:pt x="184" y="163"/>
                  </a:lnTo>
                  <a:lnTo>
                    <a:pt x="184" y="154"/>
                  </a:lnTo>
                  <a:lnTo>
                    <a:pt x="184" y="154"/>
                  </a:lnTo>
                  <a:lnTo>
                    <a:pt x="184" y="146"/>
                  </a:lnTo>
                  <a:lnTo>
                    <a:pt x="183" y="137"/>
                  </a:lnTo>
                  <a:lnTo>
                    <a:pt x="181" y="130"/>
                  </a:lnTo>
                  <a:lnTo>
                    <a:pt x="178" y="122"/>
                  </a:lnTo>
                  <a:lnTo>
                    <a:pt x="175" y="116"/>
                  </a:lnTo>
                  <a:lnTo>
                    <a:pt x="172" y="110"/>
                  </a:lnTo>
                  <a:lnTo>
                    <a:pt x="167" y="104"/>
                  </a:lnTo>
                  <a:lnTo>
                    <a:pt x="163" y="99"/>
                  </a:lnTo>
                  <a:lnTo>
                    <a:pt x="157" y="95"/>
                  </a:lnTo>
                  <a:lnTo>
                    <a:pt x="151" y="91"/>
                  </a:lnTo>
                  <a:lnTo>
                    <a:pt x="145" y="88"/>
                  </a:lnTo>
                  <a:lnTo>
                    <a:pt x="139" y="85"/>
                  </a:lnTo>
                  <a:lnTo>
                    <a:pt x="132" y="83"/>
                  </a:lnTo>
                  <a:lnTo>
                    <a:pt x="124" y="82"/>
                  </a:lnTo>
                  <a:lnTo>
                    <a:pt x="116" y="81"/>
                  </a:lnTo>
                  <a:lnTo>
                    <a:pt x="108" y="81"/>
                  </a:lnTo>
                  <a:lnTo>
                    <a:pt x="45" y="81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10" y="118"/>
                  </a:lnTo>
                  <a:lnTo>
                    <a:pt x="118" y="120"/>
                  </a:lnTo>
                  <a:lnTo>
                    <a:pt x="124" y="123"/>
                  </a:lnTo>
                  <a:lnTo>
                    <a:pt x="129" y="127"/>
                  </a:lnTo>
                  <a:lnTo>
                    <a:pt x="134" y="133"/>
                  </a:lnTo>
                  <a:lnTo>
                    <a:pt x="137" y="139"/>
                  </a:lnTo>
                  <a:lnTo>
                    <a:pt x="139" y="146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9" y="163"/>
                  </a:lnTo>
                  <a:lnTo>
                    <a:pt x="137" y="170"/>
                  </a:lnTo>
                  <a:lnTo>
                    <a:pt x="134" y="177"/>
                  </a:lnTo>
                  <a:lnTo>
                    <a:pt x="130" y="182"/>
                  </a:lnTo>
                  <a:lnTo>
                    <a:pt x="125" y="186"/>
                  </a:lnTo>
                  <a:lnTo>
                    <a:pt x="119" y="189"/>
                  </a:lnTo>
                  <a:lnTo>
                    <a:pt x="111" y="191"/>
                  </a:lnTo>
                  <a:lnTo>
                    <a:pt x="102" y="192"/>
                  </a:lnTo>
                  <a:lnTo>
                    <a:pt x="45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4" name="Freeform 113"/>
            <p:cNvSpPr>
              <a:spLocks noEditPoints="1"/>
            </p:cNvSpPr>
            <p:nvPr userDrawn="1"/>
          </p:nvSpPr>
          <p:spPr bwMode="auto">
            <a:xfrm>
              <a:off x="2889250" y="6151563"/>
              <a:ext cx="80963" cy="95250"/>
            </a:xfrm>
            <a:custGeom>
              <a:avLst/>
              <a:gdLst>
                <a:gd name="T0" fmla="*/ 205 w 205"/>
                <a:gd name="T1" fmla="*/ 105 h 239"/>
                <a:gd name="T2" fmla="*/ 198 w 205"/>
                <a:gd name="T3" fmla="*/ 70 h 239"/>
                <a:gd name="T4" fmla="*/ 183 w 205"/>
                <a:gd name="T5" fmla="*/ 41 h 239"/>
                <a:gd name="T6" fmla="*/ 161 w 205"/>
                <a:gd name="T7" fmla="*/ 19 h 239"/>
                <a:gd name="T8" fmla="*/ 135 w 205"/>
                <a:gd name="T9" fmla="*/ 5 h 239"/>
                <a:gd name="T10" fmla="*/ 103 w 205"/>
                <a:gd name="T11" fmla="*/ 0 h 239"/>
                <a:gd name="T12" fmla="*/ 81 w 205"/>
                <a:gd name="T13" fmla="*/ 2 h 239"/>
                <a:gd name="T14" fmla="*/ 53 w 205"/>
                <a:gd name="T15" fmla="*/ 13 h 239"/>
                <a:gd name="T16" fmla="*/ 30 w 205"/>
                <a:gd name="T17" fmla="*/ 32 h 239"/>
                <a:gd name="T18" fmla="*/ 12 w 205"/>
                <a:gd name="T19" fmla="*/ 59 h 239"/>
                <a:gd name="T20" fmla="*/ 2 w 205"/>
                <a:gd name="T21" fmla="*/ 93 h 239"/>
                <a:gd name="T22" fmla="*/ 0 w 205"/>
                <a:gd name="T23" fmla="*/ 120 h 239"/>
                <a:gd name="T24" fmla="*/ 5 w 205"/>
                <a:gd name="T25" fmla="*/ 157 h 239"/>
                <a:gd name="T26" fmla="*/ 17 w 205"/>
                <a:gd name="T27" fmla="*/ 189 h 239"/>
                <a:gd name="T28" fmla="*/ 36 w 205"/>
                <a:gd name="T29" fmla="*/ 214 h 239"/>
                <a:gd name="T30" fmla="*/ 61 w 205"/>
                <a:gd name="T31" fmla="*/ 230 h 239"/>
                <a:gd name="T32" fmla="*/ 90 w 205"/>
                <a:gd name="T33" fmla="*/ 238 h 239"/>
                <a:gd name="T34" fmla="*/ 113 w 205"/>
                <a:gd name="T35" fmla="*/ 238 h 239"/>
                <a:gd name="T36" fmla="*/ 143 w 205"/>
                <a:gd name="T37" fmla="*/ 231 h 239"/>
                <a:gd name="T38" fmla="*/ 169 w 205"/>
                <a:gd name="T39" fmla="*/ 214 h 239"/>
                <a:gd name="T40" fmla="*/ 188 w 205"/>
                <a:gd name="T41" fmla="*/ 190 h 239"/>
                <a:gd name="T42" fmla="*/ 201 w 205"/>
                <a:gd name="T43" fmla="*/ 158 h 239"/>
                <a:gd name="T44" fmla="*/ 205 w 205"/>
                <a:gd name="T45" fmla="*/ 119 h 239"/>
                <a:gd name="T46" fmla="*/ 160 w 205"/>
                <a:gd name="T47" fmla="*/ 120 h 239"/>
                <a:gd name="T48" fmla="*/ 151 w 205"/>
                <a:gd name="T49" fmla="*/ 162 h 239"/>
                <a:gd name="T50" fmla="*/ 137 w 205"/>
                <a:gd name="T51" fmla="*/ 183 h 239"/>
                <a:gd name="T52" fmla="*/ 122 w 205"/>
                <a:gd name="T53" fmla="*/ 193 h 239"/>
                <a:gd name="T54" fmla="*/ 104 w 205"/>
                <a:gd name="T55" fmla="*/ 196 h 239"/>
                <a:gd name="T56" fmla="*/ 91 w 205"/>
                <a:gd name="T57" fmla="*/ 195 h 239"/>
                <a:gd name="T58" fmla="*/ 75 w 205"/>
                <a:gd name="T59" fmla="*/ 188 h 239"/>
                <a:gd name="T60" fmla="*/ 62 w 205"/>
                <a:gd name="T61" fmla="*/ 176 h 239"/>
                <a:gd name="T62" fmla="*/ 52 w 205"/>
                <a:gd name="T63" fmla="*/ 159 h 239"/>
                <a:gd name="T64" fmla="*/ 46 w 205"/>
                <a:gd name="T65" fmla="*/ 119 h 239"/>
                <a:gd name="T66" fmla="*/ 50 w 205"/>
                <a:gd name="T67" fmla="*/ 88 h 239"/>
                <a:gd name="T68" fmla="*/ 60 w 205"/>
                <a:gd name="T69" fmla="*/ 64 h 239"/>
                <a:gd name="T70" fmla="*/ 73 w 205"/>
                <a:gd name="T71" fmla="*/ 51 h 239"/>
                <a:gd name="T72" fmla="*/ 89 w 205"/>
                <a:gd name="T73" fmla="*/ 44 h 239"/>
                <a:gd name="T74" fmla="*/ 101 w 205"/>
                <a:gd name="T75" fmla="*/ 43 h 239"/>
                <a:gd name="T76" fmla="*/ 120 w 205"/>
                <a:gd name="T77" fmla="*/ 46 h 239"/>
                <a:gd name="T78" fmla="*/ 136 w 205"/>
                <a:gd name="T79" fmla="*/ 55 h 239"/>
                <a:gd name="T80" fmla="*/ 148 w 205"/>
                <a:gd name="T81" fmla="*/ 69 h 239"/>
                <a:gd name="T82" fmla="*/ 156 w 205"/>
                <a:gd name="T83" fmla="*/ 88 h 239"/>
                <a:gd name="T84" fmla="*/ 160 w 205"/>
                <a:gd name="T85" fmla="*/ 1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5" h="239">
                  <a:moveTo>
                    <a:pt x="205" y="119"/>
                  </a:moveTo>
                  <a:lnTo>
                    <a:pt x="205" y="119"/>
                  </a:lnTo>
                  <a:lnTo>
                    <a:pt x="205" y="105"/>
                  </a:lnTo>
                  <a:lnTo>
                    <a:pt x="203" y="93"/>
                  </a:lnTo>
                  <a:lnTo>
                    <a:pt x="201" y="81"/>
                  </a:lnTo>
                  <a:lnTo>
                    <a:pt x="198" y="70"/>
                  </a:lnTo>
                  <a:lnTo>
                    <a:pt x="194" y="59"/>
                  </a:lnTo>
                  <a:lnTo>
                    <a:pt x="189" y="50"/>
                  </a:lnTo>
                  <a:lnTo>
                    <a:pt x="183" y="41"/>
                  </a:lnTo>
                  <a:lnTo>
                    <a:pt x="176" y="33"/>
                  </a:lnTo>
                  <a:lnTo>
                    <a:pt x="169" y="25"/>
                  </a:lnTo>
                  <a:lnTo>
                    <a:pt x="161" y="19"/>
                  </a:lnTo>
                  <a:lnTo>
                    <a:pt x="153" y="13"/>
                  </a:lnTo>
                  <a:lnTo>
                    <a:pt x="144" y="9"/>
                  </a:lnTo>
                  <a:lnTo>
                    <a:pt x="135" y="5"/>
                  </a:lnTo>
                  <a:lnTo>
                    <a:pt x="125" y="3"/>
                  </a:lnTo>
                  <a:lnTo>
                    <a:pt x="114" y="1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92" y="1"/>
                  </a:lnTo>
                  <a:lnTo>
                    <a:pt x="81" y="2"/>
                  </a:lnTo>
                  <a:lnTo>
                    <a:pt x="72" y="5"/>
                  </a:lnTo>
                  <a:lnTo>
                    <a:pt x="62" y="8"/>
                  </a:lnTo>
                  <a:lnTo>
                    <a:pt x="53" y="13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0" y="32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9"/>
                  </a:lnTo>
                  <a:lnTo>
                    <a:pt x="8" y="70"/>
                  </a:lnTo>
                  <a:lnTo>
                    <a:pt x="5" y="81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8" y="169"/>
                  </a:lnTo>
                  <a:lnTo>
                    <a:pt x="12" y="179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6"/>
                  </a:lnTo>
                  <a:lnTo>
                    <a:pt x="36" y="214"/>
                  </a:lnTo>
                  <a:lnTo>
                    <a:pt x="44" y="220"/>
                  </a:lnTo>
                  <a:lnTo>
                    <a:pt x="52" y="226"/>
                  </a:lnTo>
                  <a:lnTo>
                    <a:pt x="61" y="230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8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3" y="238"/>
                  </a:lnTo>
                  <a:lnTo>
                    <a:pt x="123" y="237"/>
                  </a:lnTo>
                  <a:lnTo>
                    <a:pt x="133" y="234"/>
                  </a:lnTo>
                  <a:lnTo>
                    <a:pt x="143" y="231"/>
                  </a:lnTo>
                  <a:lnTo>
                    <a:pt x="152" y="226"/>
                  </a:lnTo>
                  <a:lnTo>
                    <a:pt x="161" y="221"/>
                  </a:lnTo>
                  <a:lnTo>
                    <a:pt x="169" y="214"/>
                  </a:lnTo>
                  <a:lnTo>
                    <a:pt x="176" y="207"/>
                  </a:lnTo>
                  <a:lnTo>
                    <a:pt x="182" y="199"/>
                  </a:lnTo>
                  <a:lnTo>
                    <a:pt x="188" y="190"/>
                  </a:lnTo>
                  <a:lnTo>
                    <a:pt x="193" y="180"/>
                  </a:lnTo>
                  <a:lnTo>
                    <a:pt x="198" y="169"/>
                  </a:lnTo>
                  <a:lnTo>
                    <a:pt x="201" y="158"/>
                  </a:lnTo>
                  <a:lnTo>
                    <a:pt x="203" y="145"/>
                  </a:lnTo>
                  <a:lnTo>
                    <a:pt x="205" y="132"/>
                  </a:lnTo>
                  <a:lnTo>
                    <a:pt x="205" y="119"/>
                  </a:lnTo>
                  <a:lnTo>
                    <a:pt x="205" y="119"/>
                  </a:lnTo>
                  <a:close/>
                  <a:moveTo>
                    <a:pt x="160" y="120"/>
                  </a:moveTo>
                  <a:lnTo>
                    <a:pt x="160" y="120"/>
                  </a:lnTo>
                  <a:lnTo>
                    <a:pt x="159" y="135"/>
                  </a:lnTo>
                  <a:lnTo>
                    <a:pt x="156" y="149"/>
                  </a:lnTo>
                  <a:lnTo>
                    <a:pt x="151" y="162"/>
                  </a:lnTo>
                  <a:lnTo>
                    <a:pt x="145" y="174"/>
                  </a:lnTo>
                  <a:lnTo>
                    <a:pt x="141" y="179"/>
                  </a:lnTo>
                  <a:lnTo>
                    <a:pt x="137" y="183"/>
                  </a:lnTo>
                  <a:lnTo>
                    <a:pt x="132" y="187"/>
                  </a:lnTo>
                  <a:lnTo>
                    <a:pt x="127" y="190"/>
                  </a:lnTo>
                  <a:lnTo>
                    <a:pt x="122" y="193"/>
                  </a:lnTo>
                  <a:lnTo>
                    <a:pt x="116" y="195"/>
                  </a:lnTo>
                  <a:lnTo>
                    <a:pt x="110" y="196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97" y="196"/>
                  </a:lnTo>
                  <a:lnTo>
                    <a:pt x="91" y="195"/>
                  </a:lnTo>
                  <a:lnTo>
                    <a:pt x="85" y="193"/>
                  </a:lnTo>
                  <a:lnTo>
                    <a:pt x="80" y="191"/>
                  </a:lnTo>
                  <a:lnTo>
                    <a:pt x="75" y="188"/>
                  </a:lnTo>
                  <a:lnTo>
                    <a:pt x="70" y="185"/>
                  </a:lnTo>
                  <a:lnTo>
                    <a:pt x="65" y="181"/>
                  </a:lnTo>
                  <a:lnTo>
                    <a:pt x="62" y="176"/>
                  </a:lnTo>
                  <a:lnTo>
                    <a:pt x="58" y="171"/>
                  </a:lnTo>
                  <a:lnTo>
                    <a:pt x="55" y="165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7" y="102"/>
                  </a:lnTo>
                  <a:lnTo>
                    <a:pt x="50" y="88"/>
                  </a:lnTo>
                  <a:lnTo>
                    <a:pt x="54" y="75"/>
                  </a:lnTo>
                  <a:lnTo>
                    <a:pt x="57" y="69"/>
                  </a:lnTo>
                  <a:lnTo>
                    <a:pt x="60" y="64"/>
                  </a:lnTo>
                  <a:lnTo>
                    <a:pt x="64" y="59"/>
                  </a:lnTo>
                  <a:lnTo>
                    <a:pt x="68" y="55"/>
                  </a:lnTo>
                  <a:lnTo>
                    <a:pt x="73" y="51"/>
                  </a:lnTo>
                  <a:lnTo>
                    <a:pt x="78" y="48"/>
                  </a:lnTo>
                  <a:lnTo>
                    <a:pt x="83" y="46"/>
                  </a:lnTo>
                  <a:lnTo>
                    <a:pt x="89" y="44"/>
                  </a:lnTo>
                  <a:lnTo>
                    <a:pt x="94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8" y="43"/>
                  </a:lnTo>
                  <a:lnTo>
                    <a:pt x="115" y="44"/>
                  </a:lnTo>
                  <a:lnTo>
                    <a:pt x="120" y="46"/>
                  </a:lnTo>
                  <a:lnTo>
                    <a:pt x="126" y="49"/>
                  </a:lnTo>
                  <a:lnTo>
                    <a:pt x="131" y="51"/>
                  </a:lnTo>
                  <a:lnTo>
                    <a:pt x="136" y="55"/>
                  </a:lnTo>
                  <a:lnTo>
                    <a:pt x="140" y="59"/>
                  </a:lnTo>
                  <a:lnTo>
                    <a:pt x="144" y="64"/>
                  </a:lnTo>
                  <a:lnTo>
                    <a:pt x="148" y="69"/>
                  </a:lnTo>
                  <a:lnTo>
                    <a:pt x="151" y="75"/>
                  </a:lnTo>
                  <a:lnTo>
                    <a:pt x="154" y="81"/>
                  </a:lnTo>
                  <a:lnTo>
                    <a:pt x="156" y="88"/>
                  </a:lnTo>
                  <a:lnTo>
                    <a:pt x="159" y="103"/>
                  </a:lnTo>
                  <a:lnTo>
                    <a:pt x="160" y="120"/>
                  </a:lnTo>
                  <a:lnTo>
                    <a:pt x="160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5" name="Freeform 114"/>
            <p:cNvSpPr>
              <a:spLocks/>
            </p:cNvSpPr>
            <p:nvPr userDrawn="1"/>
          </p:nvSpPr>
          <p:spPr bwMode="auto">
            <a:xfrm>
              <a:off x="2979738" y="6153151"/>
              <a:ext cx="73025" cy="92075"/>
            </a:xfrm>
            <a:custGeom>
              <a:avLst/>
              <a:gdLst>
                <a:gd name="T0" fmla="*/ 184 w 184"/>
                <a:gd name="T1" fmla="*/ 39 h 229"/>
                <a:gd name="T2" fmla="*/ 184 w 184"/>
                <a:gd name="T3" fmla="*/ 0 h 229"/>
                <a:gd name="T4" fmla="*/ 0 w 184"/>
                <a:gd name="T5" fmla="*/ 0 h 229"/>
                <a:gd name="T6" fmla="*/ 0 w 184"/>
                <a:gd name="T7" fmla="*/ 39 h 229"/>
                <a:gd name="T8" fmla="*/ 69 w 184"/>
                <a:gd name="T9" fmla="*/ 39 h 229"/>
                <a:gd name="T10" fmla="*/ 69 w 184"/>
                <a:gd name="T11" fmla="*/ 229 h 229"/>
                <a:gd name="T12" fmla="*/ 114 w 184"/>
                <a:gd name="T13" fmla="*/ 229 h 229"/>
                <a:gd name="T14" fmla="*/ 114 w 184"/>
                <a:gd name="T15" fmla="*/ 39 h 229"/>
                <a:gd name="T16" fmla="*/ 184 w 184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229">
                  <a:moveTo>
                    <a:pt x="184" y="39"/>
                  </a:moveTo>
                  <a:lnTo>
                    <a:pt x="184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9" y="39"/>
                  </a:lnTo>
                  <a:lnTo>
                    <a:pt x="69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6" name="Freeform 115"/>
            <p:cNvSpPr>
              <a:spLocks noEditPoints="1"/>
            </p:cNvSpPr>
            <p:nvPr userDrawn="1"/>
          </p:nvSpPr>
          <p:spPr bwMode="auto">
            <a:xfrm>
              <a:off x="3065463" y="6153151"/>
              <a:ext cx="73025" cy="92075"/>
            </a:xfrm>
            <a:custGeom>
              <a:avLst/>
              <a:gdLst>
                <a:gd name="T0" fmla="*/ 0 w 185"/>
                <a:gd name="T1" fmla="*/ 229 h 229"/>
                <a:gd name="T2" fmla="*/ 105 w 185"/>
                <a:gd name="T3" fmla="*/ 229 h 229"/>
                <a:gd name="T4" fmla="*/ 131 w 185"/>
                <a:gd name="T5" fmla="*/ 227 h 229"/>
                <a:gd name="T6" fmla="*/ 146 w 185"/>
                <a:gd name="T7" fmla="*/ 222 h 229"/>
                <a:gd name="T8" fmla="*/ 159 w 185"/>
                <a:gd name="T9" fmla="*/ 215 h 229"/>
                <a:gd name="T10" fmla="*/ 169 w 185"/>
                <a:gd name="T11" fmla="*/ 207 h 229"/>
                <a:gd name="T12" fmla="*/ 177 w 185"/>
                <a:gd name="T13" fmla="*/ 196 h 229"/>
                <a:gd name="T14" fmla="*/ 182 w 185"/>
                <a:gd name="T15" fmla="*/ 182 h 229"/>
                <a:gd name="T16" fmla="*/ 184 w 185"/>
                <a:gd name="T17" fmla="*/ 167 h 229"/>
                <a:gd name="T18" fmla="*/ 185 w 185"/>
                <a:gd name="T19" fmla="*/ 159 h 229"/>
                <a:gd name="T20" fmla="*/ 181 w 185"/>
                <a:gd name="T21" fmla="*/ 138 h 229"/>
                <a:gd name="T22" fmla="*/ 173 w 185"/>
                <a:gd name="T23" fmla="*/ 122 h 229"/>
                <a:gd name="T24" fmla="*/ 161 w 185"/>
                <a:gd name="T25" fmla="*/ 112 h 229"/>
                <a:gd name="T26" fmla="*/ 147 w 185"/>
                <a:gd name="T27" fmla="*/ 106 h 229"/>
                <a:gd name="T28" fmla="*/ 153 w 185"/>
                <a:gd name="T29" fmla="*/ 102 h 229"/>
                <a:gd name="T30" fmla="*/ 165 w 185"/>
                <a:gd name="T31" fmla="*/ 94 h 229"/>
                <a:gd name="T32" fmla="*/ 173 w 185"/>
                <a:gd name="T33" fmla="*/ 82 h 229"/>
                <a:gd name="T34" fmla="*/ 177 w 185"/>
                <a:gd name="T35" fmla="*/ 68 h 229"/>
                <a:gd name="T36" fmla="*/ 178 w 185"/>
                <a:gd name="T37" fmla="*/ 60 h 229"/>
                <a:gd name="T38" fmla="*/ 177 w 185"/>
                <a:gd name="T39" fmla="*/ 46 h 229"/>
                <a:gd name="T40" fmla="*/ 173 w 185"/>
                <a:gd name="T41" fmla="*/ 34 h 229"/>
                <a:gd name="T42" fmla="*/ 167 w 185"/>
                <a:gd name="T43" fmla="*/ 24 h 229"/>
                <a:gd name="T44" fmla="*/ 160 w 185"/>
                <a:gd name="T45" fmla="*/ 15 h 229"/>
                <a:gd name="T46" fmla="*/ 149 w 185"/>
                <a:gd name="T47" fmla="*/ 9 h 229"/>
                <a:gd name="T48" fmla="*/ 125 w 185"/>
                <a:gd name="T49" fmla="*/ 1 h 229"/>
                <a:gd name="T50" fmla="*/ 0 w 185"/>
                <a:gd name="T51" fmla="*/ 0 h 229"/>
                <a:gd name="T52" fmla="*/ 44 w 185"/>
                <a:gd name="T53" fmla="*/ 37 h 229"/>
                <a:gd name="T54" fmla="*/ 104 w 185"/>
                <a:gd name="T55" fmla="*/ 37 h 229"/>
                <a:gd name="T56" fmla="*/ 117 w 185"/>
                <a:gd name="T57" fmla="*/ 39 h 229"/>
                <a:gd name="T58" fmla="*/ 125 w 185"/>
                <a:gd name="T59" fmla="*/ 45 h 229"/>
                <a:gd name="T60" fmla="*/ 130 w 185"/>
                <a:gd name="T61" fmla="*/ 53 h 229"/>
                <a:gd name="T62" fmla="*/ 132 w 185"/>
                <a:gd name="T63" fmla="*/ 64 h 229"/>
                <a:gd name="T64" fmla="*/ 131 w 185"/>
                <a:gd name="T65" fmla="*/ 69 h 229"/>
                <a:gd name="T66" fmla="*/ 128 w 185"/>
                <a:gd name="T67" fmla="*/ 78 h 229"/>
                <a:gd name="T68" fmla="*/ 121 w 185"/>
                <a:gd name="T69" fmla="*/ 85 h 229"/>
                <a:gd name="T70" fmla="*/ 111 w 185"/>
                <a:gd name="T71" fmla="*/ 89 h 229"/>
                <a:gd name="T72" fmla="*/ 44 w 185"/>
                <a:gd name="T73" fmla="*/ 90 h 229"/>
                <a:gd name="T74" fmla="*/ 44 w 185"/>
                <a:gd name="T75" fmla="*/ 127 h 229"/>
                <a:gd name="T76" fmla="*/ 104 w 185"/>
                <a:gd name="T77" fmla="*/ 127 h 229"/>
                <a:gd name="T78" fmla="*/ 119 w 185"/>
                <a:gd name="T79" fmla="*/ 129 h 229"/>
                <a:gd name="T80" fmla="*/ 130 w 185"/>
                <a:gd name="T81" fmla="*/ 136 h 229"/>
                <a:gd name="T82" fmla="*/ 137 w 185"/>
                <a:gd name="T83" fmla="*/ 146 h 229"/>
                <a:gd name="T84" fmla="*/ 139 w 185"/>
                <a:gd name="T85" fmla="*/ 160 h 229"/>
                <a:gd name="T86" fmla="*/ 138 w 185"/>
                <a:gd name="T87" fmla="*/ 167 h 229"/>
                <a:gd name="T88" fmla="*/ 134 w 185"/>
                <a:gd name="T89" fmla="*/ 178 h 229"/>
                <a:gd name="T90" fmla="*/ 126 w 185"/>
                <a:gd name="T91" fmla="*/ 187 h 229"/>
                <a:gd name="T92" fmla="*/ 112 w 185"/>
                <a:gd name="T93" fmla="*/ 191 h 229"/>
                <a:gd name="T94" fmla="*/ 44 w 185"/>
                <a:gd name="T95" fmla="*/ 1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229">
                  <a:moveTo>
                    <a:pt x="0" y="0"/>
                  </a:moveTo>
                  <a:lnTo>
                    <a:pt x="0" y="229"/>
                  </a:lnTo>
                  <a:lnTo>
                    <a:pt x="105" y="229"/>
                  </a:lnTo>
                  <a:lnTo>
                    <a:pt x="105" y="229"/>
                  </a:lnTo>
                  <a:lnTo>
                    <a:pt x="123" y="228"/>
                  </a:lnTo>
                  <a:lnTo>
                    <a:pt x="131" y="227"/>
                  </a:lnTo>
                  <a:lnTo>
                    <a:pt x="139" y="225"/>
                  </a:lnTo>
                  <a:lnTo>
                    <a:pt x="146" y="222"/>
                  </a:lnTo>
                  <a:lnTo>
                    <a:pt x="152" y="219"/>
                  </a:lnTo>
                  <a:lnTo>
                    <a:pt x="159" y="215"/>
                  </a:lnTo>
                  <a:lnTo>
                    <a:pt x="164" y="211"/>
                  </a:lnTo>
                  <a:lnTo>
                    <a:pt x="169" y="207"/>
                  </a:lnTo>
                  <a:lnTo>
                    <a:pt x="173" y="201"/>
                  </a:lnTo>
                  <a:lnTo>
                    <a:pt x="177" y="196"/>
                  </a:lnTo>
                  <a:lnTo>
                    <a:pt x="180" y="189"/>
                  </a:lnTo>
                  <a:lnTo>
                    <a:pt x="182" y="182"/>
                  </a:lnTo>
                  <a:lnTo>
                    <a:pt x="183" y="175"/>
                  </a:lnTo>
                  <a:lnTo>
                    <a:pt x="184" y="167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4" y="148"/>
                  </a:lnTo>
                  <a:lnTo>
                    <a:pt x="181" y="138"/>
                  </a:lnTo>
                  <a:lnTo>
                    <a:pt x="178" y="129"/>
                  </a:lnTo>
                  <a:lnTo>
                    <a:pt x="173" y="122"/>
                  </a:lnTo>
                  <a:lnTo>
                    <a:pt x="167" y="116"/>
                  </a:lnTo>
                  <a:lnTo>
                    <a:pt x="161" y="112"/>
                  </a:lnTo>
                  <a:lnTo>
                    <a:pt x="153" y="108"/>
                  </a:lnTo>
                  <a:lnTo>
                    <a:pt x="147" y="106"/>
                  </a:lnTo>
                  <a:lnTo>
                    <a:pt x="147" y="106"/>
                  </a:lnTo>
                  <a:lnTo>
                    <a:pt x="153" y="102"/>
                  </a:lnTo>
                  <a:lnTo>
                    <a:pt x="160" y="98"/>
                  </a:lnTo>
                  <a:lnTo>
                    <a:pt x="165" y="94"/>
                  </a:lnTo>
                  <a:lnTo>
                    <a:pt x="169" y="88"/>
                  </a:lnTo>
                  <a:lnTo>
                    <a:pt x="173" y="82"/>
                  </a:lnTo>
                  <a:lnTo>
                    <a:pt x="175" y="76"/>
                  </a:lnTo>
                  <a:lnTo>
                    <a:pt x="177" y="68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7" y="53"/>
                  </a:lnTo>
                  <a:lnTo>
                    <a:pt x="177" y="46"/>
                  </a:lnTo>
                  <a:lnTo>
                    <a:pt x="175" y="40"/>
                  </a:lnTo>
                  <a:lnTo>
                    <a:pt x="173" y="34"/>
                  </a:lnTo>
                  <a:lnTo>
                    <a:pt x="171" y="29"/>
                  </a:lnTo>
                  <a:lnTo>
                    <a:pt x="167" y="24"/>
                  </a:lnTo>
                  <a:lnTo>
                    <a:pt x="164" y="19"/>
                  </a:lnTo>
                  <a:lnTo>
                    <a:pt x="160" y="15"/>
                  </a:lnTo>
                  <a:lnTo>
                    <a:pt x="154" y="12"/>
                  </a:lnTo>
                  <a:lnTo>
                    <a:pt x="149" y="9"/>
                  </a:lnTo>
                  <a:lnTo>
                    <a:pt x="138" y="4"/>
                  </a:lnTo>
                  <a:lnTo>
                    <a:pt x="125" y="1"/>
                  </a:lnTo>
                  <a:lnTo>
                    <a:pt x="111" y="0"/>
                  </a:lnTo>
                  <a:lnTo>
                    <a:pt x="0" y="0"/>
                  </a:lnTo>
                  <a:close/>
                  <a:moveTo>
                    <a:pt x="44" y="90"/>
                  </a:moveTo>
                  <a:lnTo>
                    <a:pt x="4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11" y="38"/>
                  </a:lnTo>
                  <a:lnTo>
                    <a:pt x="117" y="39"/>
                  </a:lnTo>
                  <a:lnTo>
                    <a:pt x="122" y="42"/>
                  </a:lnTo>
                  <a:lnTo>
                    <a:pt x="125" y="45"/>
                  </a:lnTo>
                  <a:lnTo>
                    <a:pt x="128" y="49"/>
                  </a:lnTo>
                  <a:lnTo>
                    <a:pt x="130" y="53"/>
                  </a:lnTo>
                  <a:lnTo>
                    <a:pt x="132" y="58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1" y="69"/>
                  </a:lnTo>
                  <a:lnTo>
                    <a:pt x="130" y="74"/>
                  </a:lnTo>
                  <a:lnTo>
                    <a:pt x="128" y="78"/>
                  </a:lnTo>
                  <a:lnTo>
                    <a:pt x="125" y="82"/>
                  </a:lnTo>
                  <a:lnTo>
                    <a:pt x="121" y="85"/>
                  </a:lnTo>
                  <a:lnTo>
                    <a:pt x="116" y="88"/>
                  </a:lnTo>
                  <a:lnTo>
                    <a:pt x="111" y="89"/>
                  </a:lnTo>
                  <a:lnTo>
                    <a:pt x="104" y="90"/>
                  </a:lnTo>
                  <a:lnTo>
                    <a:pt x="44" y="90"/>
                  </a:lnTo>
                  <a:close/>
                  <a:moveTo>
                    <a:pt x="44" y="192"/>
                  </a:moveTo>
                  <a:lnTo>
                    <a:pt x="44" y="127"/>
                  </a:lnTo>
                  <a:lnTo>
                    <a:pt x="104" y="127"/>
                  </a:lnTo>
                  <a:lnTo>
                    <a:pt x="104" y="127"/>
                  </a:lnTo>
                  <a:lnTo>
                    <a:pt x="112" y="128"/>
                  </a:lnTo>
                  <a:lnTo>
                    <a:pt x="119" y="129"/>
                  </a:lnTo>
                  <a:lnTo>
                    <a:pt x="125" y="132"/>
                  </a:lnTo>
                  <a:lnTo>
                    <a:pt x="130" y="136"/>
                  </a:lnTo>
                  <a:lnTo>
                    <a:pt x="134" y="141"/>
                  </a:lnTo>
                  <a:lnTo>
                    <a:pt x="137" y="146"/>
                  </a:lnTo>
                  <a:lnTo>
                    <a:pt x="138" y="153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38" y="167"/>
                  </a:lnTo>
                  <a:lnTo>
                    <a:pt x="137" y="173"/>
                  </a:lnTo>
                  <a:lnTo>
                    <a:pt x="134" y="178"/>
                  </a:lnTo>
                  <a:lnTo>
                    <a:pt x="131" y="183"/>
                  </a:lnTo>
                  <a:lnTo>
                    <a:pt x="126" y="187"/>
                  </a:lnTo>
                  <a:lnTo>
                    <a:pt x="120" y="190"/>
                  </a:lnTo>
                  <a:lnTo>
                    <a:pt x="112" y="191"/>
                  </a:lnTo>
                  <a:lnTo>
                    <a:pt x="103" y="192"/>
                  </a:lnTo>
                  <a:lnTo>
                    <a:pt x="44" y="1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7" name="Freeform 116"/>
            <p:cNvSpPr>
              <a:spLocks noEditPoints="1"/>
            </p:cNvSpPr>
            <p:nvPr userDrawn="1"/>
          </p:nvSpPr>
          <p:spPr bwMode="auto">
            <a:xfrm>
              <a:off x="3151188" y="6151563"/>
              <a:ext cx="79375" cy="95250"/>
            </a:xfrm>
            <a:custGeom>
              <a:avLst/>
              <a:gdLst>
                <a:gd name="T0" fmla="*/ 197 w 197"/>
                <a:gd name="T1" fmla="*/ 115 h 239"/>
                <a:gd name="T2" fmla="*/ 195 w 197"/>
                <a:gd name="T3" fmla="*/ 92 h 239"/>
                <a:gd name="T4" fmla="*/ 191 w 197"/>
                <a:gd name="T5" fmla="*/ 71 h 239"/>
                <a:gd name="T6" fmla="*/ 183 w 197"/>
                <a:gd name="T7" fmla="*/ 52 h 239"/>
                <a:gd name="T8" fmla="*/ 173 w 197"/>
                <a:gd name="T9" fmla="*/ 34 h 239"/>
                <a:gd name="T10" fmla="*/ 159 w 197"/>
                <a:gd name="T11" fmla="*/ 20 h 239"/>
                <a:gd name="T12" fmla="*/ 143 w 197"/>
                <a:gd name="T13" fmla="*/ 10 h 239"/>
                <a:gd name="T14" fmla="*/ 123 w 197"/>
                <a:gd name="T15" fmla="*/ 3 h 239"/>
                <a:gd name="T16" fmla="*/ 100 w 197"/>
                <a:gd name="T17" fmla="*/ 0 h 239"/>
                <a:gd name="T18" fmla="*/ 89 w 197"/>
                <a:gd name="T19" fmla="*/ 1 h 239"/>
                <a:gd name="T20" fmla="*/ 69 w 197"/>
                <a:gd name="T21" fmla="*/ 5 h 239"/>
                <a:gd name="T22" fmla="*/ 51 w 197"/>
                <a:gd name="T23" fmla="*/ 12 h 239"/>
                <a:gd name="T24" fmla="*/ 35 w 197"/>
                <a:gd name="T25" fmla="*/ 24 h 239"/>
                <a:gd name="T26" fmla="*/ 22 w 197"/>
                <a:gd name="T27" fmla="*/ 39 h 239"/>
                <a:gd name="T28" fmla="*/ 11 w 197"/>
                <a:gd name="T29" fmla="*/ 58 h 239"/>
                <a:gd name="T30" fmla="*/ 4 w 197"/>
                <a:gd name="T31" fmla="*/ 80 h 239"/>
                <a:gd name="T32" fmla="*/ 0 w 197"/>
                <a:gd name="T33" fmla="*/ 106 h 239"/>
                <a:gd name="T34" fmla="*/ 0 w 197"/>
                <a:gd name="T35" fmla="*/ 120 h 239"/>
                <a:gd name="T36" fmla="*/ 2 w 197"/>
                <a:gd name="T37" fmla="*/ 148 h 239"/>
                <a:gd name="T38" fmla="*/ 9 w 197"/>
                <a:gd name="T39" fmla="*/ 172 h 239"/>
                <a:gd name="T40" fmla="*/ 18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8 h 239"/>
                <a:gd name="T52" fmla="*/ 99 w 197"/>
                <a:gd name="T53" fmla="*/ 239 h 239"/>
                <a:gd name="T54" fmla="*/ 124 w 197"/>
                <a:gd name="T55" fmla="*/ 237 h 239"/>
                <a:gd name="T56" fmla="*/ 145 w 197"/>
                <a:gd name="T57" fmla="*/ 231 h 239"/>
                <a:gd name="T58" fmla="*/ 153 w 197"/>
                <a:gd name="T59" fmla="*/ 227 h 239"/>
                <a:gd name="T60" fmla="*/ 170 w 197"/>
                <a:gd name="T61" fmla="*/ 216 h 239"/>
                <a:gd name="T62" fmla="*/ 151 w 197"/>
                <a:gd name="T63" fmla="*/ 180 h 239"/>
                <a:gd name="T64" fmla="*/ 139 w 197"/>
                <a:gd name="T65" fmla="*/ 188 h 239"/>
                <a:gd name="T66" fmla="*/ 128 w 197"/>
                <a:gd name="T67" fmla="*/ 193 h 239"/>
                <a:gd name="T68" fmla="*/ 116 w 197"/>
                <a:gd name="T69" fmla="*/ 197 h 239"/>
                <a:gd name="T70" fmla="*/ 101 w 197"/>
                <a:gd name="T71" fmla="*/ 198 h 239"/>
                <a:gd name="T72" fmla="*/ 91 w 197"/>
                <a:gd name="T73" fmla="*/ 197 h 239"/>
                <a:gd name="T74" fmla="*/ 72 w 197"/>
                <a:gd name="T75" fmla="*/ 190 h 239"/>
                <a:gd name="T76" fmla="*/ 57 w 197"/>
                <a:gd name="T77" fmla="*/ 175 h 239"/>
                <a:gd name="T78" fmla="*/ 47 w 197"/>
                <a:gd name="T79" fmla="*/ 151 h 239"/>
                <a:gd name="T80" fmla="*/ 195 w 197"/>
                <a:gd name="T81" fmla="*/ 136 h 239"/>
                <a:gd name="T82" fmla="*/ 196 w 197"/>
                <a:gd name="T83" fmla="*/ 127 h 239"/>
                <a:gd name="T84" fmla="*/ 197 w 197"/>
                <a:gd name="T85" fmla="*/ 115 h 239"/>
                <a:gd name="T86" fmla="*/ 45 w 197"/>
                <a:gd name="T87" fmla="*/ 98 h 239"/>
                <a:gd name="T88" fmla="*/ 50 w 197"/>
                <a:gd name="T89" fmla="*/ 74 h 239"/>
                <a:gd name="T90" fmla="*/ 61 w 197"/>
                <a:gd name="T91" fmla="*/ 56 h 239"/>
                <a:gd name="T92" fmla="*/ 76 w 197"/>
                <a:gd name="T93" fmla="*/ 45 h 239"/>
                <a:gd name="T94" fmla="*/ 97 w 197"/>
                <a:gd name="T95" fmla="*/ 41 h 239"/>
                <a:gd name="T96" fmla="*/ 104 w 197"/>
                <a:gd name="T97" fmla="*/ 41 h 239"/>
                <a:gd name="T98" fmla="*/ 116 w 197"/>
                <a:gd name="T99" fmla="*/ 44 h 239"/>
                <a:gd name="T100" fmla="*/ 126 w 197"/>
                <a:gd name="T101" fmla="*/ 48 h 239"/>
                <a:gd name="T102" fmla="*/ 137 w 197"/>
                <a:gd name="T103" fmla="*/ 58 h 239"/>
                <a:gd name="T104" fmla="*/ 147 w 197"/>
                <a:gd name="T105" fmla="*/ 76 h 239"/>
                <a:gd name="T106" fmla="*/ 151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5"/>
                  </a:moveTo>
                  <a:lnTo>
                    <a:pt x="197" y="115"/>
                  </a:lnTo>
                  <a:lnTo>
                    <a:pt x="196" y="104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1"/>
                  </a:lnTo>
                  <a:lnTo>
                    <a:pt x="187" y="61"/>
                  </a:lnTo>
                  <a:lnTo>
                    <a:pt x="183" y="52"/>
                  </a:lnTo>
                  <a:lnTo>
                    <a:pt x="178" y="43"/>
                  </a:lnTo>
                  <a:lnTo>
                    <a:pt x="173" y="34"/>
                  </a:lnTo>
                  <a:lnTo>
                    <a:pt x="166" y="27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10"/>
                  </a:lnTo>
                  <a:lnTo>
                    <a:pt x="133" y="6"/>
                  </a:lnTo>
                  <a:lnTo>
                    <a:pt x="123" y="3"/>
                  </a:lnTo>
                  <a:lnTo>
                    <a:pt x="112" y="1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1"/>
                  </a:lnTo>
                  <a:lnTo>
                    <a:pt x="79" y="2"/>
                  </a:lnTo>
                  <a:lnTo>
                    <a:pt x="69" y="5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2" y="18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2" y="39"/>
                  </a:lnTo>
                  <a:lnTo>
                    <a:pt x="16" y="48"/>
                  </a:lnTo>
                  <a:lnTo>
                    <a:pt x="11" y="58"/>
                  </a:lnTo>
                  <a:lnTo>
                    <a:pt x="7" y="68"/>
                  </a:lnTo>
                  <a:lnTo>
                    <a:pt x="4" y="80"/>
                  </a:lnTo>
                  <a:lnTo>
                    <a:pt x="2" y="92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4"/>
                  </a:lnTo>
                  <a:lnTo>
                    <a:pt x="2" y="148"/>
                  </a:lnTo>
                  <a:lnTo>
                    <a:pt x="5" y="160"/>
                  </a:lnTo>
                  <a:lnTo>
                    <a:pt x="9" y="172"/>
                  </a:lnTo>
                  <a:lnTo>
                    <a:pt x="13" y="183"/>
                  </a:lnTo>
                  <a:lnTo>
                    <a:pt x="18" y="193"/>
                  </a:lnTo>
                  <a:lnTo>
                    <a:pt x="24" y="201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0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6"/>
                  </a:lnTo>
                  <a:lnTo>
                    <a:pt x="88" y="238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8"/>
                  </a:lnTo>
                  <a:lnTo>
                    <a:pt x="124" y="237"/>
                  </a:lnTo>
                  <a:lnTo>
                    <a:pt x="135" y="234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2" y="222"/>
                  </a:lnTo>
                  <a:lnTo>
                    <a:pt x="170" y="216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2" y="195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1" y="198"/>
                  </a:lnTo>
                  <a:lnTo>
                    <a:pt x="101" y="198"/>
                  </a:lnTo>
                  <a:lnTo>
                    <a:pt x="91" y="197"/>
                  </a:lnTo>
                  <a:lnTo>
                    <a:pt x="81" y="195"/>
                  </a:lnTo>
                  <a:lnTo>
                    <a:pt x="72" y="190"/>
                  </a:lnTo>
                  <a:lnTo>
                    <a:pt x="64" y="183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6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6" y="127"/>
                  </a:lnTo>
                  <a:lnTo>
                    <a:pt x="197" y="115"/>
                  </a:lnTo>
                  <a:lnTo>
                    <a:pt x="197" y="115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4"/>
                  </a:lnTo>
                  <a:lnTo>
                    <a:pt x="55" y="64"/>
                  </a:lnTo>
                  <a:lnTo>
                    <a:pt x="61" y="56"/>
                  </a:lnTo>
                  <a:lnTo>
                    <a:pt x="68" y="49"/>
                  </a:lnTo>
                  <a:lnTo>
                    <a:pt x="76" y="45"/>
                  </a:lnTo>
                  <a:lnTo>
                    <a:pt x="86" y="42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4"/>
                  </a:lnTo>
                  <a:lnTo>
                    <a:pt x="121" y="45"/>
                  </a:lnTo>
                  <a:lnTo>
                    <a:pt x="126" y="48"/>
                  </a:lnTo>
                  <a:lnTo>
                    <a:pt x="130" y="51"/>
                  </a:lnTo>
                  <a:lnTo>
                    <a:pt x="137" y="58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7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8" name="Freeform 117"/>
            <p:cNvSpPr>
              <a:spLocks/>
            </p:cNvSpPr>
            <p:nvPr userDrawn="1"/>
          </p:nvSpPr>
          <p:spPr bwMode="auto">
            <a:xfrm>
              <a:off x="3238500" y="6153151"/>
              <a:ext cx="73025" cy="92075"/>
            </a:xfrm>
            <a:custGeom>
              <a:avLst/>
              <a:gdLst>
                <a:gd name="T0" fmla="*/ 184 w 184"/>
                <a:gd name="T1" fmla="*/ 39 h 229"/>
                <a:gd name="T2" fmla="*/ 184 w 184"/>
                <a:gd name="T3" fmla="*/ 0 h 229"/>
                <a:gd name="T4" fmla="*/ 0 w 184"/>
                <a:gd name="T5" fmla="*/ 0 h 229"/>
                <a:gd name="T6" fmla="*/ 0 w 184"/>
                <a:gd name="T7" fmla="*/ 39 h 229"/>
                <a:gd name="T8" fmla="*/ 70 w 184"/>
                <a:gd name="T9" fmla="*/ 39 h 229"/>
                <a:gd name="T10" fmla="*/ 70 w 184"/>
                <a:gd name="T11" fmla="*/ 229 h 229"/>
                <a:gd name="T12" fmla="*/ 114 w 184"/>
                <a:gd name="T13" fmla="*/ 229 h 229"/>
                <a:gd name="T14" fmla="*/ 114 w 184"/>
                <a:gd name="T15" fmla="*/ 39 h 229"/>
                <a:gd name="T16" fmla="*/ 184 w 184"/>
                <a:gd name="T17" fmla="*/ 3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229">
                  <a:moveTo>
                    <a:pt x="184" y="39"/>
                  </a:moveTo>
                  <a:lnTo>
                    <a:pt x="184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70" y="39"/>
                  </a:lnTo>
                  <a:lnTo>
                    <a:pt x="70" y="229"/>
                  </a:lnTo>
                  <a:lnTo>
                    <a:pt x="114" y="229"/>
                  </a:lnTo>
                  <a:lnTo>
                    <a:pt x="114" y="39"/>
                  </a:lnTo>
                  <a:lnTo>
                    <a:pt x="18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19" name="Freeform 118"/>
            <p:cNvSpPr>
              <a:spLocks/>
            </p:cNvSpPr>
            <p:nvPr userDrawn="1"/>
          </p:nvSpPr>
          <p:spPr bwMode="auto">
            <a:xfrm>
              <a:off x="3325813" y="6219826"/>
              <a:ext cx="26988" cy="26988"/>
            </a:xfrm>
            <a:custGeom>
              <a:avLst/>
              <a:gdLst>
                <a:gd name="T0" fmla="*/ 69 w 69"/>
                <a:gd name="T1" fmla="*/ 34 h 69"/>
                <a:gd name="T2" fmla="*/ 69 w 69"/>
                <a:gd name="T3" fmla="*/ 34 h 69"/>
                <a:gd name="T4" fmla="*/ 69 w 69"/>
                <a:gd name="T5" fmla="*/ 27 h 69"/>
                <a:gd name="T6" fmla="*/ 67 w 69"/>
                <a:gd name="T7" fmla="*/ 21 h 69"/>
                <a:gd name="T8" fmla="*/ 63 w 69"/>
                <a:gd name="T9" fmla="*/ 15 h 69"/>
                <a:gd name="T10" fmla="*/ 59 w 69"/>
                <a:gd name="T11" fmla="*/ 10 h 69"/>
                <a:gd name="T12" fmla="*/ 54 w 69"/>
                <a:gd name="T13" fmla="*/ 5 h 69"/>
                <a:gd name="T14" fmla="*/ 48 w 69"/>
                <a:gd name="T15" fmla="*/ 2 h 69"/>
                <a:gd name="T16" fmla="*/ 42 w 69"/>
                <a:gd name="T17" fmla="*/ 0 h 69"/>
                <a:gd name="T18" fmla="*/ 35 w 69"/>
                <a:gd name="T19" fmla="*/ 0 h 69"/>
                <a:gd name="T20" fmla="*/ 35 w 69"/>
                <a:gd name="T21" fmla="*/ 0 h 69"/>
                <a:gd name="T22" fmla="*/ 28 w 69"/>
                <a:gd name="T23" fmla="*/ 0 h 69"/>
                <a:gd name="T24" fmla="*/ 21 w 69"/>
                <a:gd name="T25" fmla="*/ 2 h 69"/>
                <a:gd name="T26" fmla="*/ 15 w 69"/>
                <a:gd name="T27" fmla="*/ 5 h 69"/>
                <a:gd name="T28" fmla="*/ 10 w 69"/>
                <a:gd name="T29" fmla="*/ 10 h 69"/>
                <a:gd name="T30" fmla="*/ 6 w 69"/>
                <a:gd name="T31" fmla="*/ 15 h 69"/>
                <a:gd name="T32" fmla="*/ 3 w 69"/>
                <a:gd name="T33" fmla="*/ 21 h 69"/>
                <a:gd name="T34" fmla="*/ 1 w 69"/>
                <a:gd name="T35" fmla="*/ 27 h 69"/>
                <a:gd name="T36" fmla="*/ 0 w 69"/>
                <a:gd name="T37" fmla="*/ 34 h 69"/>
                <a:gd name="T38" fmla="*/ 0 w 69"/>
                <a:gd name="T39" fmla="*/ 34 h 69"/>
                <a:gd name="T40" fmla="*/ 1 w 69"/>
                <a:gd name="T41" fmla="*/ 42 h 69"/>
                <a:gd name="T42" fmla="*/ 3 w 69"/>
                <a:gd name="T43" fmla="*/ 48 h 69"/>
                <a:gd name="T44" fmla="*/ 6 w 69"/>
                <a:gd name="T45" fmla="*/ 54 h 69"/>
                <a:gd name="T46" fmla="*/ 10 w 69"/>
                <a:gd name="T47" fmla="*/ 59 h 69"/>
                <a:gd name="T48" fmla="*/ 15 w 69"/>
                <a:gd name="T49" fmla="*/ 63 h 69"/>
                <a:gd name="T50" fmla="*/ 21 w 69"/>
                <a:gd name="T51" fmla="*/ 66 h 69"/>
                <a:gd name="T52" fmla="*/ 28 w 69"/>
                <a:gd name="T53" fmla="*/ 68 h 69"/>
                <a:gd name="T54" fmla="*/ 35 w 69"/>
                <a:gd name="T55" fmla="*/ 69 h 69"/>
                <a:gd name="T56" fmla="*/ 35 w 69"/>
                <a:gd name="T57" fmla="*/ 69 h 69"/>
                <a:gd name="T58" fmla="*/ 42 w 69"/>
                <a:gd name="T59" fmla="*/ 68 h 69"/>
                <a:gd name="T60" fmla="*/ 48 w 69"/>
                <a:gd name="T61" fmla="*/ 66 h 69"/>
                <a:gd name="T62" fmla="*/ 54 w 69"/>
                <a:gd name="T63" fmla="*/ 63 h 69"/>
                <a:gd name="T64" fmla="*/ 59 w 69"/>
                <a:gd name="T65" fmla="*/ 59 h 69"/>
                <a:gd name="T66" fmla="*/ 63 w 69"/>
                <a:gd name="T67" fmla="*/ 54 h 69"/>
                <a:gd name="T68" fmla="*/ 67 w 69"/>
                <a:gd name="T69" fmla="*/ 48 h 69"/>
                <a:gd name="T70" fmla="*/ 69 w 69"/>
                <a:gd name="T71" fmla="*/ 42 h 69"/>
                <a:gd name="T72" fmla="*/ 69 w 69"/>
                <a:gd name="T73" fmla="*/ 34 h 69"/>
                <a:gd name="T74" fmla="*/ 69 w 69"/>
                <a:gd name="T75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9" h="69">
                  <a:moveTo>
                    <a:pt x="69" y="34"/>
                  </a:moveTo>
                  <a:lnTo>
                    <a:pt x="69" y="34"/>
                  </a:lnTo>
                  <a:lnTo>
                    <a:pt x="69" y="27"/>
                  </a:lnTo>
                  <a:lnTo>
                    <a:pt x="67" y="21"/>
                  </a:lnTo>
                  <a:lnTo>
                    <a:pt x="63" y="15"/>
                  </a:lnTo>
                  <a:lnTo>
                    <a:pt x="59" y="10"/>
                  </a:lnTo>
                  <a:lnTo>
                    <a:pt x="54" y="5"/>
                  </a:lnTo>
                  <a:lnTo>
                    <a:pt x="48" y="2"/>
                  </a:lnTo>
                  <a:lnTo>
                    <a:pt x="42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21" y="2"/>
                  </a:lnTo>
                  <a:lnTo>
                    <a:pt x="15" y="5"/>
                  </a:lnTo>
                  <a:lnTo>
                    <a:pt x="10" y="10"/>
                  </a:lnTo>
                  <a:lnTo>
                    <a:pt x="6" y="15"/>
                  </a:lnTo>
                  <a:lnTo>
                    <a:pt x="3" y="21"/>
                  </a:lnTo>
                  <a:lnTo>
                    <a:pt x="1" y="27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42"/>
                  </a:lnTo>
                  <a:lnTo>
                    <a:pt x="3" y="48"/>
                  </a:lnTo>
                  <a:lnTo>
                    <a:pt x="6" y="54"/>
                  </a:lnTo>
                  <a:lnTo>
                    <a:pt x="10" y="59"/>
                  </a:lnTo>
                  <a:lnTo>
                    <a:pt x="15" y="63"/>
                  </a:lnTo>
                  <a:lnTo>
                    <a:pt x="21" y="66"/>
                  </a:lnTo>
                  <a:lnTo>
                    <a:pt x="28" y="68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42" y="68"/>
                  </a:lnTo>
                  <a:lnTo>
                    <a:pt x="48" y="66"/>
                  </a:lnTo>
                  <a:lnTo>
                    <a:pt x="54" y="63"/>
                  </a:lnTo>
                  <a:lnTo>
                    <a:pt x="59" y="59"/>
                  </a:lnTo>
                  <a:lnTo>
                    <a:pt x="63" y="54"/>
                  </a:lnTo>
                  <a:lnTo>
                    <a:pt x="67" y="48"/>
                  </a:lnTo>
                  <a:lnTo>
                    <a:pt x="69" y="42"/>
                  </a:lnTo>
                  <a:lnTo>
                    <a:pt x="69" y="34"/>
                  </a:lnTo>
                  <a:lnTo>
                    <a:pt x="69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0" name="Freeform 119"/>
            <p:cNvSpPr>
              <a:spLocks noEditPoints="1"/>
            </p:cNvSpPr>
            <p:nvPr userDrawn="1"/>
          </p:nvSpPr>
          <p:spPr bwMode="auto">
            <a:xfrm>
              <a:off x="473075" y="6334126"/>
              <a:ext cx="90488" cy="122238"/>
            </a:xfrm>
            <a:custGeom>
              <a:avLst/>
              <a:gdLst>
                <a:gd name="T0" fmla="*/ 227 w 227"/>
                <a:gd name="T1" fmla="*/ 96 h 307"/>
                <a:gd name="T2" fmla="*/ 225 w 227"/>
                <a:gd name="T3" fmla="*/ 74 h 307"/>
                <a:gd name="T4" fmla="*/ 219 w 227"/>
                <a:gd name="T5" fmla="*/ 54 h 307"/>
                <a:gd name="T6" fmla="*/ 210 w 227"/>
                <a:gd name="T7" fmla="*/ 38 h 307"/>
                <a:gd name="T8" fmla="*/ 198 w 227"/>
                <a:gd name="T9" fmla="*/ 24 h 307"/>
                <a:gd name="T10" fmla="*/ 183 w 227"/>
                <a:gd name="T11" fmla="*/ 14 h 307"/>
                <a:gd name="T12" fmla="*/ 167 w 227"/>
                <a:gd name="T13" fmla="*/ 6 h 307"/>
                <a:gd name="T14" fmla="*/ 148 w 227"/>
                <a:gd name="T15" fmla="*/ 2 h 307"/>
                <a:gd name="T16" fmla="*/ 128 w 227"/>
                <a:gd name="T17" fmla="*/ 0 h 307"/>
                <a:gd name="T18" fmla="*/ 0 w 227"/>
                <a:gd name="T19" fmla="*/ 307 h 307"/>
                <a:gd name="T20" fmla="*/ 45 w 227"/>
                <a:gd name="T21" fmla="*/ 192 h 307"/>
                <a:gd name="T22" fmla="*/ 125 w 227"/>
                <a:gd name="T23" fmla="*/ 192 h 307"/>
                <a:gd name="T24" fmla="*/ 146 w 227"/>
                <a:gd name="T25" fmla="*/ 190 h 307"/>
                <a:gd name="T26" fmla="*/ 165 w 227"/>
                <a:gd name="T27" fmla="*/ 186 h 307"/>
                <a:gd name="T28" fmla="*/ 183 w 227"/>
                <a:gd name="T29" fmla="*/ 178 h 307"/>
                <a:gd name="T30" fmla="*/ 197 w 227"/>
                <a:gd name="T31" fmla="*/ 167 h 307"/>
                <a:gd name="T32" fmla="*/ 210 w 227"/>
                <a:gd name="T33" fmla="*/ 154 h 307"/>
                <a:gd name="T34" fmla="*/ 219 w 227"/>
                <a:gd name="T35" fmla="*/ 137 h 307"/>
                <a:gd name="T36" fmla="*/ 225 w 227"/>
                <a:gd name="T37" fmla="*/ 118 h 307"/>
                <a:gd name="T38" fmla="*/ 227 w 227"/>
                <a:gd name="T39" fmla="*/ 96 h 307"/>
                <a:gd name="T40" fmla="*/ 179 w 227"/>
                <a:gd name="T41" fmla="*/ 96 h 307"/>
                <a:gd name="T42" fmla="*/ 178 w 227"/>
                <a:gd name="T43" fmla="*/ 108 h 307"/>
                <a:gd name="T44" fmla="*/ 172 w 227"/>
                <a:gd name="T45" fmla="*/ 127 h 307"/>
                <a:gd name="T46" fmla="*/ 159 w 227"/>
                <a:gd name="T47" fmla="*/ 141 h 307"/>
                <a:gd name="T48" fmla="*/ 139 w 227"/>
                <a:gd name="T49" fmla="*/ 148 h 307"/>
                <a:gd name="T50" fmla="*/ 45 w 227"/>
                <a:gd name="T51" fmla="*/ 149 h 307"/>
                <a:gd name="T52" fmla="*/ 127 w 227"/>
                <a:gd name="T53" fmla="*/ 43 h 307"/>
                <a:gd name="T54" fmla="*/ 138 w 227"/>
                <a:gd name="T55" fmla="*/ 44 h 307"/>
                <a:gd name="T56" fmla="*/ 157 w 227"/>
                <a:gd name="T57" fmla="*/ 51 h 307"/>
                <a:gd name="T58" fmla="*/ 171 w 227"/>
                <a:gd name="T59" fmla="*/ 65 h 307"/>
                <a:gd name="T60" fmla="*/ 178 w 227"/>
                <a:gd name="T61" fmla="*/ 84 h 307"/>
                <a:gd name="T62" fmla="*/ 179 w 227"/>
                <a:gd name="T63" fmla="*/ 9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7" h="307">
                  <a:moveTo>
                    <a:pt x="227" y="96"/>
                  </a:moveTo>
                  <a:lnTo>
                    <a:pt x="227" y="96"/>
                  </a:lnTo>
                  <a:lnTo>
                    <a:pt x="226" y="84"/>
                  </a:lnTo>
                  <a:lnTo>
                    <a:pt x="225" y="74"/>
                  </a:lnTo>
                  <a:lnTo>
                    <a:pt x="222" y="64"/>
                  </a:lnTo>
                  <a:lnTo>
                    <a:pt x="219" y="54"/>
                  </a:lnTo>
                  <a:lnTo>
                    <a:pt x="215" y="46"/>
                  </a:lnTo>
                  <a:lnTo>
                    <a:pt x="210" y="38"/>
                  </a:lnTo>
                  <a:lnTo>
                    <a:pt x="204" y="31"/>
                  </a:lnTo>
                  <a:lnTo>
                    <a:pt x="198" y="24"/>
                  </a:lnTo>
                  <a:lnTo>
                    <a:pt x="191" y="19"/>
                  </a:lnTo>
                  <a:lnTo>
                    <a:pt x="183" y="14"/>
                  </a:lnTo>
                  <a:lnTo>
                    <a:pt x="175" y="10"/>
                  </a:lnTo>
                  <a:lnTo>
                    <a:pt x="167" y="6"/>
                  </a:lnTo>
                  <a:lnTo>
                    <a:pt x="158" y="4"/>
                  </a:lnTo>
                  <a:lnTo>
                    <a:pt x="148" y="2"/>
                  </a:lnTo>
                  <a:lnTo>
                    <a:pt x="138" y="1"/>
                  </a:lnTo>
                  <a:lnTo>
                    <a:pt x="128" y="0"/>
                  </a:lnTo>
                  <a:lnTo>
                    <a:pt x="0" y="0"/>
                  </a:lnTo>
                  <a:lnTo>
                    <a:pt x="0" y="307"/>
                  </a:lnTo>
                  <a:lnTo>
                    <a:pt x="45" y="307"/>
                  </a:lnTo>
                  <a:lnTo>
                    <a:pt x="45" y="192"/>
                  </a:lnTo>
                  <a:lnTo>
                    <a:pt x="125" y="192"/>
                  </a:lnTo>
                  <a:lnTo>
                    <a:pt x="125" y="192"/>
                  </a:lnTo>
                  <a:lnTo>
                    <a:pt x="135" y="191"/>
                  </a:lnTo>
                  <a:lnTo>
                    <a:pt x="146" y="190"/>
                  </a:lnTo>
                  <a:lnTo>
                    <a:pt x="156" y="188"/>
                  </a:lnTo>
                  <a:lnTo>
                    <a:pt x="165" y="186"/>
                  </a:lnTo>
                  <a:lnTo>
                    <a:pt x="174" y="182"/>
                  </a:lnTo>
                  <a:lnTo>
                    <a:pt x="183" y="178"/>
                  </a:lnTo>
                  <a:lnTo>
                    <a:pt x="190" y="173"/>
                  </a:lnTo>
                  <a:lnTo>
                    <a:pt x="197" y="167"/>
                  </a:lnTo>
                  <a:lnTo>
                    <a:pt x="204" y="161"/>
                  </a:lnTo>
                  <a:lnTo>
                    <a:pt x="210" y="154"/>
                  </a:lnTo>
                  <a:lnTo>
                    <a:pt x="215" y="146"/>
                  </a:lnTo>
                  <a:lnTo>
                    <a:pt x="219" y="137"/>
                  </a:lnTo>
                  <a:lnTo>
                    <a:pt x="222" y="128"/>
                  </a:lnTo>
                  <a:lnTo>
                    <a:pt x="225" y="118"/>
                  </a:lnTo>
                  <a:lnTo>
                    <a:pt x="226" y="107"/>
                  </a:lnTo>
                  <a:lnTo>
                    <a:pt x="227" y="96"/>
                  </a:lnTo>
                  <a:lnTo>
                    <a:pt x="227" y="96"/>
                  </a:lnTo>
                  <a:close/>
                  <a:moveTo>
                    <a:pt x="179" y="96"/>
                  </a:moveTo>
                  <a:lnTo>
                    <a:pt x="179" y="96"/>
                  </a:lnTo>
                  <a:lnTo>
                    <a:pt x="178" y="108"/>
                  </a:lnTo>
                  <a:lnTo>
                    <a:pt x="176" y="118"/>
                  </a:lnTo>
                  <a:lnTo>
                    <a:pt x="172" y="127"/>
                  </a:lnTo>
                  <a:lnTo>
                    <a:pt x="166" y="135"/>
                  </a:lnTo>
                  <a:lnTo>
                    <a:pt x="159" y="141"/>
                  </a:lnTo>
                  <a:lnTo>
                    <a:pt x="150" y="145"/>
                  </a:lnTo>
                  <a:lnTo>
                    <a:pt x="139" y="148"/>
                  </a:lnTo>
                  <a:lnTo>
                    <a:pt x="127" y="149"/>
                  </a:lnTo>
                  <a:lnTo>
                    <a:pt x="45" y="149"/>
                  </a:lnTo>
                  <a:lnTo>
                    <a:pt x="45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38" y="44"/>
                  </a:lnTo>
                  <a:lnTo>
                    <a:pt x="148" y="47"/>
                  </a:lnTo>
                  <a:lnTo>
                    <a:pt x="157" y="51"/>
                  </a:lnTo>
                  <a:lnTo>
                    <a:pt x="165" y="57"/>
                  </a:lnTo>
                  <a:lnTo>
                    <a:pt x="171" y="65"/>
                  </a:lnTo>
                  <a:lnTo>
                    <a:pt x="175" y="73"/>
                  </a:lnTo>
                  <a:lnTo>
                    <a:pt x="178" y="84"/>
                  </a:lnTo>
                  <a:lnTo>
                    <a:pt x="179" y="96"/>
                  </a:lnTo>
                  <a:lnTo>
                    <a:pt x="179" y="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1" name="Freeform 120"/>
            <p:cNvSpPr>
              <a:spLocks noEditPoints="1"/>
            </p:cNvSpPr>
            <p:nvPr userDrawn="1"/>
          </p:nvSpPr>
          <p:spPr bwMode="auto">
            <a:xfrm>
              <a:off x="576263" y="6362701"/>
              <a:ext cx="77788" cy="95250"/>
            </a:xfrm>
            <a:custGeom>
              <a:avLst/>
              <a:gdLst>
                <a:gd name="T0" fmla="*/ 196 w 196"/>
                <a:gd name="T1" fmla="*/ 114 h 239"/>
                <a:gd name="T2" fmla="*/ 195 w 196"/>
                <a:gd name="T3" fmla="*/ 92 h 239"/>
                <a:gd name="T4" fmla="*/ 191 w 196"/>
                <a:gd name="T5" fmla="*/ 70 h 239"/>
                <a:gd name="T6" fmla="*/ 183 w 196"/>
                <a:gd name="T7" fmla="*/ 51 h 239"/>
                <a:gd name="T8" fmla="*/ 173 w 196"/>
                <a:gd name="T9" fmla="*/ 34 h 239"/>
                <a:gd name="T10" fmla="*/ 159 w 196"/>
                <a:gd name="T11" fmla="*/ 20 h 239"/>
                <a:gd name="T12" fmla="*/ 143 w 196"/>
                <a:gd name="T13" fmla="*/ 9 h 239"/>
                <a:gd name="T14" fmla="*/ 123 w 196"/>
                <a:gd name="T15" fmla="*/ 2 h 239"/>
                <a:gd name="T16" fmla="*/ 100 w 196"/>
                <a:gd name="T17" fmla="*/ 0 h 239"/>
                <a:gd name="T18" fmla="*/ 89 w 196"/>
                <a:gd name="T19" fmla="*/ 0 h 239"/>
                <a:gd name="T20" fmla="*/ 69 w 196"/>
                <a:gd name="T21" fmla="*/ 4 h 239"/>
                <a:gd name="T22" fmla="*/ 51 w 196"/>
                <a:gd name="T23" fmla="*/ 12 h 239"/>
                <a:gd name="T24" fmla="*/ 35 w 196"/>
                <a:gd name="T25" fmla="*/ 23 h 239"/>
                <a:gd name="T26" fmla="*/ 21 w 196"/>
                <a:gd name="T27" fmla="*/ 38 h 239"/>
                <a:gd name="T28" fmla="*/ 11 w 196"/>
                <a:gd name="T29" fmla="*/ 57 h 239"/>
                <a:gd name="T30" fmla="*/ 4 w 196"/>
                <a:gd name="T31" fmla="*/ 79 h 239"/>
                <a:gd name="T32" fmla="*/ 0 w 196"/>
                <a:gd name="T33" fmla="*/ 105 h 239"/>
                <a:gd name="T34" fmla="*/ 0 w 196"/>
                <a:gd name="T35" fmla="*/ 119 h 239"/>
                <a:gd name="T36" fmla="*/ 2 w 196"/>
                <a:gd name="T37" fmla="*/ 147 h 239"/>
                <a:gd name="T38" fmla="*/ 9 w 196"/>
                <a:gd name="T39" fmla="*/ 173 h 239"/>
                <a:gd name="T40" fmla="*/ 18 w 196"/>
                <a:gd name="T41" fmla="*/ 193 h 239"/>
                <a:gd name="T42" fmla="*/ 30 w 196"/>
                <a:gd name="T43" fmla="*/ 209 h 239"/>
                <a:gd name="T44" fmla="*/ 36 w 196"/>
                <a:gd name="T45" fmla="*/ 215 h 239"/>
                <a:gd name="T46" fmla="*/ 51 w 196"/>
                <a:gd name="T47" fmla="*/ 226 h 239"/>
                <a:gd name="T48" fmla="*/ 68 w 196"/>
                <a:gd name="T49" fmla="*/ 234 h 239"/>
                <a:gd name="T50" fmla="*/ 88 w 196"/>
                <a:gd name="T51" fmla="*/ 239 h 239"/>
                <a:gd name="T52" fmla="*/ 99 w 196"/>
                <a:gd name="T53" fmla="*/ 239 h 239"/>
                <a:gd name="T54" fmla="*/ 124 w 196"/>
                <a:gd name="T55" fmla="*/ 237 h 239"/>
                <a:gd name="T56" fmla="*/ 145 w 196"/>
                <a:gd name="T57" fmla="*/ 231 h 239"/>
                <a:gd name="T58" fmla="*/ 153 w 196"/>
                <a:gd name="T59" fmla="*/ 227 h 239"/>
                <a:gd name="T60" fmla="*/ 169 w 196"/>
                <a:gd name="T61" fmla="*/ 217 h 239"/>
                <a:gd name="T62" fmla="*/ 151 w 196"/>
                <a:gd name="T63" fmla="*/ 180 h 239"/>
                <a:gd name="T64" fmla="*/ 139 w 196"/>
                <a:gd name="T65" fmla="*/ 188 h 239"/>
                <a:gd name="T66" fmla="*/ 128 w 196"/>
                <a:gd name="T67" fmla="*/ 194 h 239"/>
                <a:gd name="T68" fmla="*/ 116 w 196"/>
                <a:gd name="T69" fmla="*/ 197 h 239"/>
                <a:gd name="T70" fmla="*/ 101 w 196"/>
                <a:gd name="T71" fmla="*/ 199 h 239"/>
                <a:gd name="T72" fmla="*/ 91 w 196"/>
                <a:gd name="T73" fmla="*/ 198 h 239"/>
                <a:gd name="T74" fmla="*/ 72 w 196"/>
                <a:gd name="T75" fmla="*/ 191 h 239"/>
                <a:gd name="T76" fmla="*/ 57 w 196"/>
                <a:gd name="T77" fmla="*/ 175 h 239"/>
                <a:gd name="T78" fmla="*/ 47 w 196"/>
                <a:gd name="T79" fmla="*/ 151 h 239"/>
                <a:gd name="T80" fmla="*/ 195 w 196"/>
                <a:gd name="T81" fmla="*/ 135 h 239"/>
                <a:gd name="T82" fmla="*/ 196 w 196"/>
                <a:gd name="T83" fmla="*/ 126 h 239"/>
                <a:gd name="T84" fmla="*/ 196 w 196"/>
                <a:gd name="T85" fmla="*/ 114 h 239"/>
                <a:gd name="T86" fmla="*/ 45 w 196"/>
                <a:gd name="T87" fmla="*/ 98 h 239"/>
                <a:gd name="T88" fmla="*/ 50 w 196"/>
                <a:gd name="T89" fmla="*/ 73 h 239"/>
                <a:gd name="T90" fmla="*/ 61 w 196"/>
                <a:gd name="T91" fmla="*/ 55 h 239"/>
                <a:gd name="T92" fmla="*/ 76 w 196"/>
                <a:gd name="T93" fmla="*/ 44 h 239"/>
                <a:gd name="T94" fmla="*/ 97 w 196"/>
                <a:gd name="T95" fmla="*/ 40 h 239"/>
                <a:gd name="T96" fmla="*/ 104 w 196"/>
                <a:gd name="T97" fmla="*/ 41 h 239"/>
                <a:gd name="T98" fmla="*/ 116 w 196"/>
                <a:gd name="T99" fmla="*/ 43 h 239"/>
                <a:gd name="T100" fmla="*/ 126 w 196"/>
                <a:gd name="T101" fmla="*/ 47 h 239"/>
                <a:gd name="T102" fmla="*/ 137 w 196"/>
                <a:gd name="T103" fmla="*/ 57 h 239"/>
                <a:gd name="T104" fmla="*/ 147 w 196"/>
                <a:gd name="T105" fmla="*/ 76 h 239"/>
                <a:gd name="T106" fmla="*/ 151 w 196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239">
                  <a:moveTo>
                    <a:pt x="196" y="114"/>
                  </a:moveTo>
                  <a:lnTo>
                    <a:pt x="196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1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0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3" y="184"/>
                  </a:lnTo>
                  <a:lnTo>
                    <a:pt x="18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1" y="222"/>
                  </a:lnTo>
                  <a:lnTo>
                    <a:pt x="169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1" y="198"/>
                  </a:lnTo>
                  <a:lnTo>
                    <a:pt x="81" y="195"/>
                  </a:lnTo>
                  <a:lnTo>
                    <a:pt x="72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6" y="114"/>
                  </a:lnTo>
                  <a:lnTo>
                    <a:pt x="196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6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2" name="Freeform 121"/>
            <p:cNvSpPr>
              <a:spLocks/>
            </p:cNvSpPr>
            <p:nvPr userDrawn="1"/>
          </p:nvSpPr>
          <p:spPr bwMode="auto">
            <a:xfrm>
              <a:off x="673100" y="6365876"/>
              <a:ext cx="115888" cy="90488"/>
            </a:xfrm>
            <a:custGeom>
              <a:avLst/>
              <a:gdLst>
                <a:gd name="T0" fmla="*/ 294 w 294"/>
                <a:gd name="T1" fmla="*/ 0 h 230"/>
                <a:gd name="T2" fmla="*/ 249 w 294"/>
                <a:gd name="T3" fmla="*/ 0 h 230"/>
                <a:gd name="T4" fmla="*/ 249 w 294"/>
                <a:gd name="T5" fmla="*/ 190 h 230"/>
                <a:gd name="T6" fmla="*/ 169 w 294"/>
                <a:gd name="T7" fmla="*/ 190 h 230"/>
                <a:gd name="T8" fmla="*/ 169 w 294"/>
                <a:gd name="T9" fmla="*/ 0 h 230"/>
                <a:gd name="T10" fmla="*/ 124 w 294"/>
                <a:gd name="T11" fmla="*/ 0 h 230"/>
                <a:gd name="T12" fmla="*/ 124 w 294"/>
                <a:gd name="T13" fmla="*/ 190 h 230"/>
                <a:gd name="T14" fmla="*/ 45 w 294"/>
                <a:gd name="T15" fmla="*/ 190 h 230"/>
                <a:gd name="T16" fmla="*/ 45 w 294"/>
                <a:gd name="T17" fmla="*/ 0 h 230"/>
                <a:gd name="T18" fmla="*/ 0 w 294"/>
                <a:gd name="T19" fmla="*/ 0 h 230"/>
                <a:gd name="T20" fmla="*/ 0 w 294"/>
                <a:gd name="T21" fmla="*/ 230 h 230"/>
                <a:gd name="T22" fmla="*/ 294 w 294"/>
                <a:gd name="T23" fmla="*/ 230 h 230"/>
                <a:gd name="T24" fmla="*/ 294 w 29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230">
                  <a:moveTo>
                    <a:pt x="294" y="0"/>
                  </a:moveTo>
                  <a:lnTo>
                    <a:pt x="249" y="0"/>
                  </a:lnTo>
                  <a:lnTo>
                    <a:pt x="249" y="190"/>
                  </a:lnTo>
                  <a:lnTo>
                    <a:pt x="169" y="190"/>
                  </a:lnTo>
                  <a:lnTo>
                    <a:pt x="169" y="0"/>
                  </a:lnTo>
                  <a:lnTo>
                    <a:pt x="124" y="0"/>
                  </a:lnTo>
                  <a:lnTo>
                    <a:pt x="124" y="190"/>
                  </a:lnTo>
                  <a:lnTo>
                    <a:pt x="45" y="19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294" y="23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3" name="Freeform 122"/>
            <p:cNvSpPr>
              <a:spLocks noEditPoints="1"/>
            </p:cNvSpPr>
            <p:nvPr userDrawn="1"/>
          </p:nvSpPr>
          <p:spPr bwMode="auto">
            <a:xfrm>
              <a:off x="808038" y="6362701"/>
              <a:ext cx="74613" cy="95250"/>
            </a:xfrm>
            <a:custGeom>
              <a:avLst/>
              <a:gdLst>
                <a:gd name="T0" fmla="*/ 186 w 186"/>
                <a:gd name="T1" fmla="*/ 77 h 239"/>
                <a:gd name="T2" fmla="*/ 185 w 186"/>
                <a:gd name="T3" fmla="*/ 67 h 239"/>
                <a:gd name="T4" fmla="*/ 182 w 186"/>
                <a:gd name="T5" fmla="*/ 50 h 239"/>
                <a:gd name="T6" fmla="*/ 176 w 186"/>
                <a:gd name="T7" fmla="*/ 36 h 239"/>
                <a:gd name="T8" fmla="*/ 167 w 186"/>
                <a:gd name="T9" fmla="*/ 24 h 239"/>
                <a:gd name="T10" fmla="*/ 156 w 186"/>
                <a:gd name="T11" fmla="*/ 14 h 239"/>
                <a:gd name="T12" fmla="*/ 142 w 186"/>
                <a:gd name="T13" fmla="*/ 7 h 239"/>
                <a:gd name="T14" fmla="*/ 127 w 186"/>
                <a:gd name="T15" fmla="*/ 2 h 239"/>
                <a:gd name="T16" fmla="*/ 109 w 186"/>
                <a:gd name="T17" fmla="*/ 0 h 239"/>
                <a:gd name="T18" fmla="*/ 100 w 186"/>
                <a:gd name="T19" fmla="*/ 0 h 239"/>
                <a:gd name="T20" fmla="*/ 77 w 186"/>
                <a:gd name="T21" fmla="*/ 1 h 239"/>
                <a:gd name="T22" fmla="*/ 57 w 186"/>
                <a:gd name="T23" fmla="*/ 5 h 239"/>
                <a:gd name="T24" fmla="*/ 38 w 186"/>
                <a:gd name="T25" fmla="*/ 11 h 239"/>
                <a:gd name="T26" fmla="*/ 21 w 186"/>
                <a:gd name="T27" fmla="*/ 20 h 239"/>
                <a:gd name="T28" fmla="*/ 39 w 186"/>
                <a:gd name="T29" fmla="*/ 54 h 239"/>
                <a:gd name="T30" fmla="*/ 66 w 186"/>
                <a:gd name="T31" fmla="*/ 43 h 239"/>
                <a:gd name="T32" fmla="*/ 98 w 186"/>
                <a:gd name="T33" fmla="*/ 40 h 239"/>
                <a:gd name="T34" fmla="*/ 108 w 186"/>
                <a:gd name="T35" fmla="*/ 41 h 239"/>
                <a:gd name="T36" fmla="*/ 124 w 186"/>
                <a:gd name="T37" fmla="*/ 46 h 239"/>
                <a:gd name="T38" fmla="*/ 135 w 186"/>
                <a:gd name="T39" fmla="*/ 56 h 239"/>
                <a:gd name="T40" fmla="*/ 141 w 186"/>
                <a:gd name="T41" fmla="*/ 70 h 239"/>
                <a:gd name="T42" fmla="*/ 142 w 186"/>
                <a:gd name="T43" fmla="*/ 96 h 239"/>
                <a:gd name="T44" fmla="*/ 132 w 186"/>
                <a:gd name="T45" fmla="*/ 92 h 239"/>
                <a:gd name="T46" fmla="*/ 107 w 186"/>
                <a:gd name="T47" fmla="*/ 88 h 239"/>
                <a:gd name="T48" fmla="*/ 91 w 186"/>
                <a:gd name="T49" fmla="*/ 87 h 239"/>
                <a:gd name="T50" fmla="*/ 63 w 186"/>
                <a:gd name="T51" fmla="*/ 89 h 239"/>
                <a:gd name="T52" fmla="*/ 47 w 186"/>
                <a:gd name="T53" fmla="*/ 94 h 239"/>
                <a:gd name="T54" fmla="*/ 32 w 186"/>
                <a:gd name="T55" fmla="*/ 101 h 239"/>
                <a:gd name="T56" fmla="*/ 20 w 186"/>
                <a:gd name="T57" fmla="*/ 110 h 239"/>
                <a:gd name="T58" fmla="*/ 10 w 186"/>
                <a:gd name="T59" fmla="*/ 121 h 239"/>
                <a:gd name="T60" fmla="*/ 3 w 186"/>
                <a:gd name="T61" fmla="*/ 135 h 239"/>
                <a:gd name="T62" fmla="*/ 0 w 186"/>
                <a:gd name="T63" fmla="*/ 153 h 239"/>
                <a:gd name="T64" fmla="*/ 0 w 186"/>
                <a:gd name="T65" fmla="*/ 162 h 239"/>
                <a:gd name="T66" fmla="*/ 1 w 186"/>
                <a:gd name="T67" fmla="*/ 182 h 239"/>
                <a:gd name="T68" fmla="*/ 7 w 186"/>
                <a:gd name="T69" fmla="*/ 198 h 239"/>
                <a:gd name="T70" fmla="*/ 15 w 186"/>
                <a:gd name="T71" fmla="*/ 211 h 239"/>
                <a:gd name="T72" fmla="*/ 25 w 186"/>
                <a:gd name="T73" fmla="*/ 222 h 239"/>
                <a:gd name="T74" fmla="*/ 37 w 186"/>
                <a:gd name="T75" fmla="*/ 230 h 239"/>
                <a:gd name="T76" fmla="*/ 51 w 186"/>
                <a:gd name="T77" fmla="*/ 235 h 239"/>
                <a:gd name="T78" fmla="*/ 79 w 186"/>
                <a:gd name="T79" fmla="*/ 239 h 239"/>
                <a:gd name="T80" fmla="*/ 90 w 186"/>
                <a:gd name="T81" fmla="*/ 239 h 239"/>
                <a:gd name="T82" fmla="*/ 108 w 186"/>
                <a:gd name="T83" fmla="*/ 234 h 239"/>
                <a:gd name="T84" fmla="*/ 115 w 186"/>
                <a:gd name="T85" fmla="*/ 231 h 239"/>
                <a:gd name="T86" fmla="*/ 134 w 186"/>
                <a:gd name="T87" fmla="*/ 219 h 239"/>
                <a:gd name="T88" fmla="*/ 142 w 186"/>
                <a:gd name="T89" fmla="*/ 235 h 239"/>
                <a:gd name="T90" fmla="*/ 142 w 186"/>
                <a:gd name="T91" fmla="*/ 170 h 239"/>
                <a:gd name="T92" fmla="*/ 137 w 186"/>
                <a:gd name="T93" fmla="*/ 175 h 239"/>
                <a:gd name="T94" fmla="*/ 126 w 186"/>
                <a:gd name="T95" fmla="*/ 185 h 239"/>
                <a:gd name="T96" fmla="*/ 112 w 186"/>
                <a:gd name="T97" fmla="*/ 193 h 239"/>
                <a:gd name="T98" fmla="*/ 95 w 186"/>
                <a:gd name="T99" fmla="*/ 198 h 239"/>
                <a:gd name="T100" fmla="*/ 86 w 186"/>
                <a:gd name="T101" fmla="*/ 199 h 239"/>
                <a:gd name="T102" fmla="*/ 68 w 186"/>
                <a:gd name="T103" fmla="*/ 196 h 239"/>
                <a:gd name="T104" fmla="*/ 55 w 186"/>
                <a:gd name="T105" fmla="*/ 190 h 239"/>
                <a:gd name="T106" fmla="*/ 50 w 186"/>
                <a:gd name="T107" fmla="*/ 185 h 239"/>
                <a:gd name="T108" fmla="*/ 43 w 186"/>
                <a:gd name="T109" fmla="*/ 170 h 239"/>
                <a:gd name="T110" fmla="*/ 42 w 186"/>
                <a:gd name="T111" fmla="*/ 161 h 239"/>
                <a:gd name="T112" fmla="*/ 45 w 186"/>
                <a:gd name="T113" fmla="*/ 146 h 239"/>
                <a:gd name="T114" fmla="*/ 55 w 186"/>
                <a:gd name="T115" fmla="*/ 135 h 239"/>
                <a:gd name="T116" fmla="*/ 70 w 186"/>
                <a:gd name="T117" fmla="*/ 128 h 239"/>
                <a:gd name="T118" fmla="*/ 89 w 186"/>
                <a:gd name="T119" fmla="*/ 126 h 239"/>
                <a:gd name="T120" fmla="*/ 106 w 186"/>
                <a:gd name="T121" fmla="*/ 126 h 239"/>
                <a:gd name="T122" fmla="*/ 119 w 186"/>
                <a:gd name="T123" fmla="*/ 128 h 239"/>
                <a:gd name="T124" fmla="*/ 142 w 186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239">
                  <a:moveTo>
                    <a:pt x="186" y="235"/>
                  </a:moveTo>
                  <a:lnTo>
                    <a:pt x="186" y="77"/>
                  </a:lnTo>
                  <a:lnTo>
                    <a:pt x="186" y="77"/>
                  </a:lnTo>
                  <a:lnTo>
                    <a:pt x="185" y="67"/>
                  </a:lnTo>
                  <a:lnTo>
                    <a:pt x="184" y="58"/>
                  </a:lnTo>
                  <a:lnTo>
                    <a:pt x="182" y="50"/>
                  </a:lnTo>
                  <a:lnTo>
                    <a:pt x="179" y="43"/>
                  </a:lnTo>
                  <a:lnTo>
                    <a:pt x="176" y="36"/>
                  </a:lnTo>
                  <a:lnTo>
                    <a:pt x="172" y="29"/>
                  </a:lnTo>
                  <a:lnTo>
                    <a:pt x="167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49" y="10"/>
                  </a:lnTo>
                  <a:lnTo>
                    <a:pt x="142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1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2" y="48"/>
                  </a:lnTo>
                  <a:lnTo>
                    <a:pt x="66" y="43"/>
                  </a:lnTo>
                  <a:lnTo>
                    <a:pt x="82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8" y="41"/>
                  </a:lnTo>
                  <a:lnTo>
                    <a:pt x="117" y="43"/>
                  </a:lnTo>
                  <a:lnTo>
                    <a:pt x="124" y="46"/>
                  </a:lnTo>
                  <a:lnTo>
                    <a:pt x="131" y="50"/>
                  </a:lnTo>
                  <a:lnTo>
                    <a:pt x="135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2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6" y="128"/>
                  </a:lnTo>
                  <a:lnTo>
                    <a:pt x="3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1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0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7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6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7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5" y="146"/>
                  </a:lnTo>
                  <a:lnTo>
                    <a:pt x="49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6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4" name="Freeform 123"/>
            <p:cNvSpPr>
              <a:spLocks noEditPoints="1"/>
            </p:cNvSpPr>
            <p:nvPr userDrawn="1"/>
          </p:nvSpPr>
          <p:spPr bwMode="auto">
            <a:xfrm>
              <a:off x="896938" y="6365876"/>
              <a:ext cx="76200" cy="90488"/>
            </a:xfrm>
            <a:custGeom>
              <a:avLst/>
              <a:gdLst>
                <a:gd name="T0" fmla="*/ 0 w 195"/>
                <a:gd name="T1" fmla="*/ 230 h 230"/>
                <a:gd name="T2" fmla="*/ 50 w 195"/>
                <a:gd name="T3" fmla="*/ 230 h 230"/>
                <a:gd name="T4" fmla="*/ 101 w 195"/>
                <a:gd name="T5" fmla="*/ 138 h 230"/>
                <a:gd name="T6" fmla="*/ 151 w 195"/>
                <a:gd name="T7" fmla="*/ 138 h 230"/>
                <a:gd name="T8" fmla="*/ 151 w 195"/>
                <a:gd name="T9" fmla="*/ 230 h 230"/>
                <a:gd name="T10" fmla="*/ 195 w 195"/>
                <a:gd name="T11" fmla="*/ 230 h 230"/>
                <a:gd name="T12" fmla="*/ 195 w 195"/>
                <a:gd name="T13" fmla="*/ 0 h 230"/>
                <a:gd name="T14" fmla="*/ 82 w 195"/>
                <a:gd name="T15" fmla="*/ 0 h 230"/>
                <a:gd name="T16" fmla="*/ 82 w 195"/>
                <a:gd name="T17" fmla="*/ 0 h 230"/>
                <a:gd name="T18" fmla="*/ 67 w 195"/>
                <a:gd name="T19" fmla="*/ 1 h 230"/>
                <a:gd name="T20" fmla="*/ 60 w 195"/>
                <a:gd name="T21" fmla="*/ 2 h 230"/>
                <a:gd name="T22" fmla="*/ 53 w 195"/>
                <a:gd name="T23" fmla="*/ 4 h 230"/>
                <a:gd name="T24" fmla="*/ 47 w 195"/>
                <a:gd name="T25" fmla="*/ 6 h 230"/>
                <a:gd name="T26" fmla="*/ 41 w 195"/>
                <a:gd name="T27" fmla="*/ 9 h 230"/>
                <a:gd name="T28" fmla="*/ 36 w 195"/>
                <a:gd name="T29" fmla="*/ 13 h 230"/>
                <a:gd name="T30" fmla="*/ 31 w 195"/>
                <a:gd name="T31" fmla="*/ 17 h 230"/>
                <a:gd name="T32" fmla="*/ 26 w 195"/>
                <a:gd name="T33" fmla="*/ 21 h 230"/>
                <a:gd name="T34" fmla="*/ 22 w 195"/>
                <a:gd name="T35" fmla="*/ 27 h 230"/>
                <a:gd name="T36" fmla="*/ 19 w 195"/>
                <a:gd name="T37" fmla="*/ 32 h 230"/>
                <a:gd name="T38" fmla="*/ 16 w 195"/>
                <a:gd name="T39" fmla="*/ 38 h 230"/>
                <a:gd name="T40" fmla="*/ 14 w 195"/>
                <a:gd name="T41" fmla="*/ 45 h 230"/>
                <a:gd name="T42" fmla="*/ 12 w 195"/>
                <a:gd name="T43" fmla="*/ 52 h 230"/>
                <a:gd name="T44" fmla="*/ 11 w 195"/>
                <a:gd name="T45" fmla="*/ 60 h 230"/>
                <a:gd name="T46" fmla="*/ 10 w 195"/>
                <a:gd name="T47" fmla="*/ 69 h 230"/>
                <a:gd name="T48" fmla="*/ 10 w 195"/>
                <a:gd name="T49" fmla="*/ 69 h 230"/>
                <a:gd name="T50" fmla="*/ 11 w 195"/>
                <a:gd name="T51" fmla="*/ 82 h 230"/>
                <a:gd name="T52" fmla="*/ 14 w 195"/>
                <a:gd name="T53" fmla="*/ 93 h 230"/>
                <a:gd name="T54" fmla="*/ 18 w 195"/>
                <a:gd name="T55" fmla="*/ 103 h 230"/>
                <a:gd name="T56" fmla="*/ 23 w 195"/>
                <a:gd name="T57" fmla="*/ 112 h 230"/>
                <a:gd name="T58" fmla="*/ 30 w 195"/>
                <a:gd name="T59" fmla="*/ 119 h 230"/>
                <a:gd name="T60" fmla="*/ 38 w 195"/>
                <a:gd name="T61" fmla="*/ 125 h 230"/>
                <a:gd name="T62" fmla="*/ 47 w 195"/>
                <a:gd name="T63" fmla="*/ 129 h 230"/>
                <a:gd name="T64" fmla="*/ 58 w 195"/>
                <a:gd name="T65" fmla="*/ 132 h 230"/>
                <a:gd name="T66" fmla="*/ 0 w 195"/>
                <a:gd name="T67" fmla="*/ 230 h 230"/>
                <a:gd name="T68" fmla="*/ 151 w 195"/>
                <a:gd name="T69" fmla="*/ 37 h 230"/>
                <a:gd name="T70" fmla="*/ 151 w 195"/>
                <a:gd name="T71" fmla="*/ 101 h 230"/>
                <a:gd name="T72" fmla="*/ 87 w 195"/>
                <a:gd name="T73" fmla="*/ 101 h 230"/>
                <a:gd name="T74" fmla="*/ 87 w 195"/>
                <a:gd name="T75" fmla="*/ 101 h 230"/>
                <a:gd name="T76" fmla="*/ 80 w 195"/>
                <a:gd name="T77" fmla="*/ 100 h 230"/>
                <a:gd name="T78" fmla="*/ 73 w 195"/>
                <a:gd name="T79" fmla="*/ 99 h 230"/>
                <a:gd name="T80" fmla="*/ 68 w 195"/>
                <a:gd name="T81" fmla="*/ 96 h 230"/>
                <a:gd name="T82" fmla="*/ 63 w 195"/>
                <a:gd name="T83" fmla="*/ 92 h 230"/>
                <a:gd name="T84" fmla="*/ 60 w 195"/>
                <a:gd name="T85" fmla="*/ 88 h 230"/>
                <a:gd name="T86" fmla="*/ 57 w 195"/>
                <a:gd name="T87" fmla="*/ 82 h 230"/>
                <a:gd name="T88" fmla="*/ 56 w 195"/>
                <a:gd name="T89" fmla="*/ 76 h 230"/>
                <a:gd name="T90" fmla="*/ 55 w 195"/>
                <a:gd name="T91" fmla="*/ 69 h 230"/>
                <a:gd name="T92" fmla="*/ 55 w 195"/>
                <a:gd name="T93" fmla="*/ 69 h 230"/>
                <a:gd name="T94" fmla="*/ 56 w 195"/>
                <a:gd name="T95" fmla="*/ 62 h 230"/>
                <a:gd name="T96" fmla="*/ 58 w 195"/>
                <a:gd name="T97" fmla="*/ 55 h 230"/>
                <a:gd name="T98" fmla="*/ 60 w 195"/>
                <a:gd name="T99" fmla="*/ 50 h 230"/>
                <a:gd name="T100" fmla="*/ 64 w 195"/>
                <a:gd name="T101" fmla="*/ 45 h 230"/>
                <a:gd name="T102" fmla="*/ 69 w 195"/>
                <a:gd name="T103" fmla="*/ 41 h 230"/>
                <a:gd name="T104" fmla="*/ 74 w 195"/>
                <a:gd name="T105" fmla="*/ 39 h 230"/>
                <a:gd name="T106" fmla="*/ 80 w 195"/>
                <a:gd name="T107" fmla="*/ 37 h 230"/>
                <a:gd name="T108" fmla="*/ 87 w 195"/>
                <a:gd name="T109" fmla="*/ 37 h 230"/>
                <a:gd name="T110" fmla="*/ 151 w 195"/>
                <a:gd name="T111" fmla="*/ 3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5" h="230">
                  <a:moveTo>
                    <a:pt x="0" y="230"/>
                  </a:moveTo>
                  <a:lnTo>
                    <a:pt x="50" y="230"/>
                  </a:lnTo>
                  <a:lnTo>
                    <a:pt x="101" y="138"/>
                  </a:lnTo>
                  <a:lnTo>
                    <a:pt x="151" y="138"/>
                  </a:lnTo>
                  <a:lnTo>
                    <a:pt x="151" y="230"/>
                  </a:lnTo>
                  <a:lnTo>
                    <a:pt x="195" y="230"/>
                  </a:lnTo>
                  <a:lnTo>
                    <a:pt x="195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41" y="9"/>
                  </a:lnTo>
                  <a:lnTo>
                    <a:pt x="36" y="13"/>
                  </a:lnTo>
                  <a:lnTo>
                    <a:pt x="31" y="17"/>
                  </a:lnTo>
                  <a:lnTo>
                    <a:pt x="26" y="21"/>
                  </a:lnTo>
                  <a:lnTo>
                    <a:pt x="22" y="27"/>
                  </a:lnTo>
                  <a:lnTo>
                    <a:pt x="19" y="32"/>
                  </a:lnTo>
                  <a:lnTo>
                    <a:pt x="16" y="38"/>
                  </a:lnTo>
                  <a:lnTo>
                    <a:pt x="14" y="45"/>
                  </a:lnTo>
                  <a:lnTo>
                    <a:pt x="12" y="52"/>
                  </a:lnTo>
                  <a:lnTo>
                    <a:pt x="11" y="60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1" y="82"/>
                  </a:lnTo>
                  <a:lnTo>
                    <a:pt x="14" y="93"/>
                  </a:lnTo>
                  <a:lnTo>
                    <a:pt x="18" y="103"/>
                  </a:lnTo>
                  <a:lnTo>
                    <a:pt x="23" y="112"/>
                  </a:lnTo>
                  <a:lnTo>
                    <a:pt x="30" y="119"/>
                  </a:lnTo>
                  <a:lnTo>
                    <a:pt x="38" y="125"/>
                  </a:lnTo>
                  <a:lnTo>
                    <a:pt x="47" y="129"/>
                  </a:lnTo>
                  <a:lnTo>
                    <a:pt x="58" y="132"/>
                  </a:lnTo>
                  <a:lnTo>
                    <a:pt x="0" y="230"/>
                  </a:lnTo>
                  <a:close/>
                  <a:moveTo>
                    <a:pt x="151" y="37"/>
                  </a:moveTo>
                  <a:lnTo>
                    <a:pt x="151" y="101"/>
                  </a:lnTo>
                  <a:lnTo>
                    <a:pt x="87" y="101"/>
                  </a:lnTo>
                  <a:lnTo>
                    <a:pt x="87" y="101"/>
                  </a:lnTo>
                  <a:lnTo>
                    <a:pt x="80" y="100"/>
                  </a:lnTo>
                  <a:lnTo>
                    <a:pt x="73" y="99"/>
                  </a:lnTo>
                  <a:lnTo>
                    <a:pt x="68" y="96"/>
                  </a:lnTo>
                  <a:lnTo>
                    <a:pt x="63" y="92"/>
                  </a:lnTo>
                  <a:lnTo>
                    <a:pt x="60" y="88"/>
                  </a:lnTo>
                  <a:lnTo>
                    <a:pt x="57" y="82"/>
                  </a:lnTo>
                  <a:lnTo>
                    <a:pt x="56" y="76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6" y="62"/>
                  </a:lnTo>
                  <a:lnTo>
                    <a:pt x="58" y="55"/>
                  </a:lnTo>
                  <a:lnTo>
                    <a:pt x="60" y="50"/>
                  </a:lnTo>
                  <a:lnTo>
                    <a:pt x="64" y="45"/>
                  </a:lnTo>
                  <a:lnTo>
                    <a:pt x="69" y="41"/>
                  </a:lnTo>
                  <a:lnTo>
                    <a:pt x="74" y="39"/>
                  </a:lnTo>
                  <a:lnTo>
                    <a:pt x="80" y="37"/>
                  </a:lnTo>
                  <a:lnTo>
                    <a:pt x="87" y="37"/>
                  </a:lnTo>
                  <a:lnTo>
                    <a:pt x="151" y="3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5" name="Freeform 124"/>
            <p:cNvSpPr>
              <a:spLocks/>
            </p:cNvSpPr>
            <p:nvPr userDrawn="1"/>
          </p:nvSpPr>
          <p:spPr bwMode="auto">
            <a:xfrm>
              <a:off x="1036638" y="6362701"/>
              <a:ext cx="71438" cy="95250"/>
            </a:xfrm>
            <a:custGeom>
              <a:avLst/>
              <a:gdLst>
                <a:gd name="T0" fmla="*/ 181 w 181"/>
                <a:gd name="T1" fmla="*/ 39 h 239"/>
                <a:gd name="T2" fmla="*/ 164 w 181"/>
                <a:gd name="T3" fmla="*/ 22 h 239"/>
                <a:gd name="T4" fmla="*/ 145 w 181"/>
                <a:gd name="T5" fmla="*/ 10 h 239"/>
                <a:gd name="T6" fmla="*/ 124 w 181"/>
                <a:gd name="T7" fmla="*/ 2 h 239"/>
                <a:gd name="T8" fmla="*/ 100 w 181"/>
                <a:gd name="T9" fmla="*/ 0 h 239"/>
                <a:gd name="T10" fmla="*/ 90 w 181"/>
                <a:gd name="T11" fmla="*/ 0 h 239"/>
                <a:gd name="T12" fmla="*/ 70 w 181"/>
                <a:gd name="T13" fmla="*/ 4 h 239"/>
                <a:gd name="T14" fmla="*/ 52 w 181"/>
                <a:gd name="T15" fmla="*/ 12 h 239"/>
                <a:gd name="T16" fmla="*/ 36 w 181"/>
                <a:gd name="T17" fmla="*/ 24 h 239"/>
                <a:gd name="T18" fmla="*/ 23 w 181"/>
                <a:gd name="T19" fmla="*/ 39 h 239"/>
                <a:gd name="T20" fmla="*/ 12 w 181"/>
                <a:gd name="T21" fmla="*/ 58 h 239"/>
                <a:gd name="T22" fmla="*/ 4 w 181"/>
                <a:gd name="T23" fmla="*/ 80 h 239"/>
                <a:gd name="T24" fmla="*/ 0 w 181"/>
                <a:gd name="T25" fmla="*/ 106 h 239"/>
                <a:gd name="T26" fmla="*/ 0 w 181"/>
                <a:gd name="T27" fmla="*/ 120 h 239"/>
                <a:gd name="T28" fmla="*/ 2 w 181"/>
                <a:gd name="T29" fmla="*/ 145 h 239"/>
                <a:gd name="T30" fmla="*/ 8 w 181"/>
                <a:gd name="T31" fmla="*/ 169 h 239"/>
                <a:gd name="T32" fmla="*/ 17 w 181"/>
                <a:gd name="T33" fmla="*/ 190 h 239"/>
                <a:gd name="T34" fmla="*/ 29 w 181"/>
                <a:gd name="T35" fmla="*/ 207 h 239"/>
                <a:gd name="T36" fmla="*/ 43 w 181"/>
                <a:gd name="T37" fmla="*/ 221 h 239"/>
                <a:gd name="T38" fmla="*/ 60 w 181"/>
                <a:gd name="T39" fmla="*/ 231 h 239"/>
                <a:gd name="T40" fmla="*/ 79 w 181"/>
                <a:gd name="T41" fmla="*/ 237 h 239"/>
                <a:gd name="T42" fmla="*/ 99 w 181"/>
                <a:gd name="T43" fmla="*/ 239 h 239"/>
                <a:gd name="T44" fmla="*/ 114 w 181"/>
                <a:gd name="T45" fmla="*/ 238 h 239"/>
                <a:gd name="T46" fmla="*/ 138 w 181"/>
                <a:gd name="T47" fmla="*/ 232 h 239"/>
                <a:gd name="T48" fmla="*/ 158 w 181"/>
                <a:gd name="T49" fmla="*/ 220 h 239"/>
                <a:gd name="T50" fmla="*/ 174 w 181"/>
                <a:gd name="T51" fmla="*/ 205 h 239"/>
                <a:gd name="T52" fmla="*/ 152 w 181"/>
                <a:gd name="T53" fmla="*/ 168 h 239"/>
                <a:gd name="T54" fmla="*/ 139 w 181"/>
                <a:gd name="T55" fmla="*/ 181 h 239"/>
                <a:gd name="T56" fmla="*/ 127 w 181"/>
                <a:gd name="T57" fmla="*/ 189 h 239"/>
                <a:gd name="T58" fmla="*/ 115 w 181"/>
                <a:gd name="T59" fmla="*/ 195 h 239"/>
                <a:gd name="T60" fmla="*/ 100 w 181"/>
                <a:gd name="T61" fmla="*/ 197 h 239"/>
                <a:gd name="T62" fmla="*/ 94 w 181"/>
                <a:gd name="T63" fmla="*/ 196 h 239"/>
                <a:gd name="T64" fmla="*/ 82 w 181"/>
                <a:gd name="T65" fmla="*/ 193 h 239"/>
                <a:gd name="T66" fmla="*/ 72 w 181"/>
                <a:gd name="T67" fmla="*/ 188 h 239"/>
                <a:gd name="T68" fmla="*/ 63 w 181"/>
                <a:gd name="T69" fmla="*/ 180 h 239"/>
                <a:gd name="T70" fmla="*/ 56 w 181"/>
                <a:gd name="T71" fmla="*/ 169 h 239"/>
                <a:gd name="T72" fmla="*/ 49 w 181"/>
                <a:gd name="T73" fmla="*/ 150 h 239"/>
                <a:gd name="T74" fmla="*/ 45 w 181"/>
                <a:gd name="T75" fmla="*/ 118 h 239"/>
                <a:gd name="T76" fmla="*/ 46 w 181"/>
                <a:gd name="T77" fmla="*/ 102 h 239"/>
                <a:gd name="T78" fmla="*/ 54 w 181"/>
                <a:gd name="T79" fmla="*/ 74 h 239"/>
                <a:gd name="T80" fmla="*/ 60 w 181"/>
                <a:gd name="T81" fmla="*/ 63 h 239"/>
                <a:gd name="T82" fmla="*/ 68 w 181"/>
                <a:gd name="T83" fmla="*/ 54 h 239"/>
                <a:gd name="T84" fmla="*/ 77 w 181"/>
                <a:gd name="T85" fmla="*/ 48 h 239"/>
                <a:gd name="T86" fmla="*/ 87 w 181"/>
                <a:gd name="T87" fmla="*/ 44 h 239"/>
                <a:gd name="T88" fmla="*/ 99 w 181"/>
                <a:gd name="T89" fmla="*/ 43 h 239"/>
                <a:gd name="T90" fmla="*/ 106 w 181"/>
                <a:gd name="T91" fmla="*/ 43 h 239"/>
                <a:gd name="T92" fmla="*/ 121 w 181"/>
                <a:gd name="T93" fmla="*/ 46 h 239"/>
                <a:gd name="T94" fmla="*/ 134 w 181"/>
                <a:gd name="T95" fmla="*/ 53 h 239"/>
                <a:gd name="T96" fmla="*/ 148 w 181"/>
                <a:gd name="T97" fmla="*/ 64 h 239"/>
                <a:gd name="T98" fmla="*/ 181 w 181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1" h="239">
                  <a:moveTo>
                    <a:pt x="181" y="39"/>
                  </a:moveTo>
                  <a:lnTo>
                    <a:pt x="181" y="39"/>
                  </a:lnTo>
                  <a:lnTo>
                    <a:pt x="173" y="30"/>
                  </a:lnTo>
                  <a:lnTo>
                    <a:pt x="164" y="22"/>
                  </a:lnTo>
                  <a:lnTo>
                    <a:pt x="155" y="15"/>
                  </a:lnTo>
                  <a:lnTo>
                    <a:pt x="145" y="10"/>
                  </a:lnTo>
                  <a:lnTo>
                    <a:pt x="135" y="5"/>
                  </a:lnTo>
                  <a:lnTo>
                    <a:pt x="124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0" y="0"/>
                  </a:lnTo>
                  <a:lnTo>
                    <a:pt x="80" y="2"/>
                  </a:lnTo>
                  <a:lnTo>
                    <a:pt x="70" y="4"/>
                  </a:lnTo>
                  <a:lnTo>
                    <a:pt x="61" y="8"/>
                  </a:lnTo>
                  <a:lnTo>
                    <a:pt x="52" y="12"/>
                  </a:lnTo>
                  <a:lnTo>
                    <a:pt x="44" y="18"/>
                  </a:lnTo>
                  <a:lnTo>
                    <a:pt x="36" y="24"/>
                  </a:lnTo>
                  <a:lnTo>
                    <a:pt x="29" y="31"/>
                  </a:lnTo>
                  <a:lnTo>
                    <a:pt x="23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4" y="80"/>
                  </a:lnTo>
                  <a:lnTo>
                    <a:pt x="2" y="93"/>
                  </a:lnTo>
                  <a:lnTo>
                    <a:pt x="0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2" y="145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90"/>
                  </a:lnTo>
                  <a:lnTo>
                    <a:pt x="22" y="199"/>
                  </a:lnTo>
                  <a:lnTo>
                    <a:pt x="29" y="207"/>
                  </a:lnTo>
                  <a:lnTo>
                    <a:pt x="35" y="214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60" y="231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6"/>
                  </a:lnTo>
                  <a:lnTo>
                    <a:pt x="138" y="232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6" y="213"/>
                  </a:lnTo>
                  <a:lnTo>
                    <a:pt x="174" y="205"/>
                  </a:lnTo>
                  <a:lnTo>
                    <a:pt x="181" y="197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39" y="181"/>
                  </a:lnTo>
                  <a:lnTo>
                    <a:pt x="133" y="185"/>
                  </a:lnTo>
                  <a:lnTo>
                    <a:pt x="127" y="189"/>
                  </a:lnTo>
                  <a:lnTo>
                    <a:pt x="121" y="193"/>
                  </a:lnTo>
                  <a:lnTo>
                    <a:pt x="115" y="195"/>
                  </a:lnTo>
                  <a:lnTo>
                    <a:pt x="108" y="196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1"/>
                  </a:lnTo>
                  <a:lnTo>
                    <a:pt x="72" y="188"/>
                  </a:lnTo>
                  <a:lnTo>
                    <a:pt x="67" y="184"/>
                  </a:lnTo>
                  <a:lnTo>
                    <a:pt x="63" y="180"/>
                  </a:lnTo>
                  <a:lnTo>
                    <a:pt x="59" y="175"/>
                  </a:lnTo>
                  <a:lnTo>
                    <a:pt x="56" y="169"/>
                  </a:lnTo>
                  <a:lnTo>
                    <a:pt x="53" y="164"/>
                  </a:lnTo>
                  <a:lnTo>
                    <a:pt x="49" y="150"/>
                  </a:lnTo>
                  <a:lnTo>
                    <a:pt x="46" y="13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8"/>
                  </a:lnTo>
                  <a:lnTo>
                    <a:pt x="68" y="54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7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6" y="43"/>
                  </a:lnTo>
                  <a:lnTo>
                    <a:pt x="114" y="44"/>
                  </a:lnTo>
                  <a:lnTo>
                    <a:pt x="121" y="46"/>
                  </a:lnTo>
                  <a:lnTo>
                    <a:pt x="127" y="49"/>
                  </a:lnTo>
                  <a:lnTo>
                    <a:pt x="134" y="53"/>
                  </a:lnTo>
                  <a:lnTo>
                    <a:pt x="141" y="58"/>
                  </a:lnTo>
                  <a:lnTo>
                    <a:pt x="148" y="64"/>
                  </a:lnTo>
                  <a:lnTo>
                    <a:pt x="155" y="70"/>
                  </a:lnTo>
                  <a:lnTo>
                    <a:pt x="181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6" name="Freeform 125"/>
            <p:cNvSpPr>
              <a:spLocks/>
            </p:cNvSpPr>
            <p:nvPr userDrawn="1"/>
          </p:nvSpPr>
          <p:spPr bwMode="auto">
            <a:xfrm>
              <a:off x="1116013" y="6365876"/>
              <a:ext cx="82550" cy="92075"/>
            </a:xfrm>
            <a:custGeom>
              <a:avLst/>
              <a:gdLst>
                <a:gd name="T0" fmla="*/ 93 w 208"/>
                <a:gd name="T1" fmla="*/ 39 h 234"/>
                <a:gd name="T2" fmla="*/ 163 w 208"/>
                <a:gd name="T3" fmla="*/ 39 h 234"/>
                <a:gd name="T4" fmla="*/ 163 w 208"/>
                <a:gd name="T5" fmla="*/ 230 h 234"/>
                <a:gd name="T6" fmla="*/ 208 w 208"/>
                <a:gd name="T7" fmla="*/ 230 h 234"/>
                <a:gd name="T8" fmla="*/ 208 w 208"/>
                <a:gd name="T9" fmla="*/ 0 h 234"/>
                <a:gd name="T10" fmla="*/ 51 w 208"/>
                <a:gd name="T11" fmla="*/ 0 h 234"/>
                <a:gd name="T12" fmla="*/ 46 w 208"/>
                <a:gd name="T13" fmla="*/ 116 h 234"/>
                <a:gd name="T14" fmla="*/ 46 w 208"/>
                <a:gd name="T15" fmla="*/ 116 h 234"/>
                <a:gd name="T16" fmla="*/ 45 w 208"/>
                <a:gd name="T17" fmla="*/ 135 h 234"/>
                <a:gd name="T18" fmla="*/ 42 w 208"/>
                <a:gd name="T19" fmla="*/ 152 h 234"/>
                <a:gd name="T20" fmla="*/ 37 w 208"/>
                <a:gd name="T21" fmla="*/ 165 h 234"/>
                <a:gd name="T22" fmla="*/ 32 w 208"/>
                <a:gd name="T23" fmla="*/ 175 h 234"/>
                <a:gd name="T24" fmla="*/ 25 w 208"/>
                <a:gd name="T25" fmla="*/ 183 h 234"/>
                <a:gd name="T26" fmla="*/ 17 w 208"/>
                <a:gd name="T27" fmla="*/ 189 h 234"/>
                <a:gd name="T28" fmla="*/ 9 w 208"/>
                <a:gd name="T29" fmla="*/ 193 h 234"/>
                <a:gd name="T30" fmla="*/ 0 w 208"/>
                <a:gd name="T31" fmla="*/ 195 h 234"/>
                <a:gd name="T32" fmla="*/ 11 w 208"/>
                <a:gd name="T33" fmla="*/ 234 h 234"/>
                <a:gd name="T34" fmla="*/ 11 w 208"/>
                <a:gd name="T35" fmla="*/ 234 h 234"/>
                <a:gd name="T36" fmla="*/ 18 w 208"/>
                <a:gd name="T37" fmla="*/ 233 h 234"/>
                <a:gd name="T38" fmla="*/ 26 w 208"/>
                <a:gd name="T39" fmla="*/ 230 h 234"/>
                <a:gd name="T40" fmla="*/ 33 w 208"/>
                <a:gd name="T41" fmla="*/ 228 h 234"/>
                <a:gd name="T42" fmla="*/ 40 w 208"/>
                <a:gd name="T43" fmla="*/ 224 h 234"/>
                <a:gd name="T44" fmla="*/ 47 w 208"/>
                <a:gd name="T45" fmla="*/ 220 h 234"/>
                <a:gd name="T46" fmla="*/ 53 w 208"/>
                <a:gd name="T47" fmla="*/ 215 h 234"/>
                <a:gd name="T48" fmla="*/ 59 w 208"/>
                <a:gd name="T49" fmla="*/ 209 h 234"/>
                <a:gd name="T50" fmla="*/ 65 w 208"/>
                <a:gd name="T51" fmla="*/ 203 h 234"/>
                <a:gd name="T52" fmla="*/ 70 w 208"/>
                <a:gd name="T53" fmla="*/ 195 h 234"/>
                <a:gd name="T54" fmla="*/ 75 w 208"/>
                <a:gd name="T55" fmla="*/ 187 h 234"/>
                <a:gd name="T56" fmla="*/ 79 w 208"/>
                <a:gd name="T57" fmla="*/ 178 h 234"/>
                <a:gd name="T58" fmla="*/ 82 w 208"/>
                <a:gd name="T59" fmla="*/ 168 h 234"/>
                <a:gd name="T60" fmla="*/ 86 w 208"/>
                <a:gd name="T61" fmla="*/ 156 h 234"/>
                <a:gd name="T62" fmla="*/ 88 w 208"/>
                <a:gd name="T63" fmla="*/ 143 h 234"/>
                <a:gd name="T64" fmla="*/ 89 w 208"/>
                <a:gd name="T65" fmla="*/ 130 h 234"/>
                <a:gd name="T66" fmla="*/ 90 w 208"/>
                <a:gd name="T67" fmla="*/ 116 h 234"/>
                <a:gd name="T68" fmla="*/ 93 w 208"/>
                <a:gd name="T69" fmla="*/ 3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234">
                  <a:moveTo>
                    <a:pt x="93" y="39"/>
                  </a:moveTo>
                  <a:lnTo>
                    <a:pt x="163" y="39"/>
                  </a:lnTo>
                  <a:lnTo>
                    <a:pt x="163" y="230"/>
                  </a:lnTo>
                  <a:lnTo>
                    <a:pt x="208" y="230"/>
                  </a:lnTo>
                  <a:lnTo>
                    <a:pt x="208" y="0"/>
                  </a:lnTo>
                  <a:lnTo>
                    <a:pt x="51" y="0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5" y="135"/>
                  </a:lnTo>
                  <a:lnTo>
                    <a:pt x="42" y="152"/>
                  </a:lnTo>
                  <a:lnTo>
                    <a:pt x="37" y="165"/>
                  </a:lnTo>
                  <a:lnTo>
                    <a:pt x="32" y="175"/>
                  </a:lnTo>
                  <a:lnTo>
                    <a:pt x="25" y="183"/>
                  </a:lnTo>
                  <a:lnTo>
                    <a:pt x="17" y="189"/>
                  </a:lnTo>
                  <a:lnTo>
                    <a:pt x="9" y="193"/>
                  </a:lnTo>
                  <a:lnTo>
                    <a:pt x="0" y="195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8" y="233"/>
                  </a:lnTo>
                  <a:lnTo>
                    <a:pt x="26" y="230"/>
                  </a:lnTo>
                  <a:lnTo>
                    <a:pt x="33" y="228"/>
                  </a:lnTo>
                  <a:lnTo>
                    <a:pt x="40" y="224"/>
                  </a:lnTo>
                  <a:lnTo>
                    <a:pt x="47" y="220"/>
                  </a:lnTo>
                  <a:lnTo>
                    <a:pt x="53" y="215"/>
                  </a:lnTo>
                  <a:lnTo>
                    <a:pt x="59" y="209"/>
                  </a:lnTo>
                  <a:lnTo>
                    <a:pt x="65" y="203"/>
                  </a:lnTo>
                  <a:lnTo>
                    <a:pt x="70" y="195"/>
                  </a:lnTo>
                  <a:lnTo>
                    <a:pt x="75" y="187"/>
                  </a:lnTo>
                  <a:lnTo>
                    <a:pt x="79" y="178"/>
                  </a:lnTo>
                  <a:lnTo>
                    <a:pt x="82" y="168"/>
                  </a:lnTo>
                  <a:lnTo>
                    <a:pt x="86" y="156"/>
                  </a:lnTo>
                  <a:lnTo>
                    <a:pt x="88" y="143"/>
                  </a:lnTo>
                  <a:lnTo>
                    <a:pt x="89" y="130"/>
                  </a:lnTo>
                  <a:lnTo>
                    <a:pt x="90" y="116"/>
                  </a:lnTo>
                  <a:lnTo>
                    <a:pt x="93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7" name="Freeform 126"/>
            <p:cNvSpPr>
              <a:spLocks noEditPoints="1"/>
            </p:cNvSpPr>
            <p:nvPr userDrawn="1"/>
          </p:nvSpPr>
          <p:spPr bwMode="auto">
            <a:xfrm>
              <a:off x="1217613" y="6362701"/>
              <a:ext cx="80963" cy="95250"/>
            </a:xfrm>
            <a:custGeom>
              <a:avLst/>
              <a:gdLst>
                <a:gd name="T0" fmla="*/ 204 w 204"/>
                <a:gd name="T1" fmla="*/ 105 h 239"/>
                <a:gd name="T2" fmla="*/ 196 w 204"/>
                <a:gd name="T3" fmla="*/ 69 h 239"/>
                <a:gd name="T4" fmla="*/ 182 w 204"/>
                <a:gd name="T5" fmla="*/ 40 h 239"/>
                <a:gd name="T6" fmla="*/ 160 w 204"/>
                <a:gd name="T7" fmla="*/ 18 h 239"/>
                <a:gd name="T8" fmla="*/ 133 w 204"/>
                <a:gd name="T9" fmla="*/ 5 h 239"/>
                <a:gd name="T10" fmla="*/ 102 w 204"/>
                <a:gd name="T11" fmla="*/ 0 h 239"/>
                <a:gd name="T12" fmla="*/ 81 w 204"/>
                <a:gd name="T13" fmla="*/ 2 h 239"/>
                <a:gd name="T14" fmla="*/ 53 w 204"/>
                <a:gd name="T15" fmla="*/ 12 h 239"/>
                <a:gd name="T16" fmla="*/ 30 w 204"/>
                <a:gd name="T17" fmla="*/ 31 h 239"/>
                <a:gd name="T18" fmla="*/ 12 w 204"/>
                <a:gd name="T19" fmla="*/ 58 h 239"/>
                <a:gd name="T20" fmla="*/ 2 w 204"/>
                <a:gd name="T21" fmla="*/ 93 h 239"/>
                <a:gd name="T22" fmla="*/ 0 w 204"/>
                <a:gd name="T23" fmla="*/ 119 h 239"/>
                <a:gd name="T24" fmla="*/ 5 w 204"/>
                <a:gd name="T25" fmla="*/ 158 h 239"/>
                <a:gd name="T26" fmla="*/ 17 w 204"/>
                <a:gd name="T27" fmla="*/ 189 h 239"/>
                <a:gd name="T28" fmla="*/ 36 w 204"/>
                <a:gd name="T29" fmla="*/ 214 h 239"/>
                <a:gd name="T30" fmla="*/ 61 w 204"/>
                <a:gd name="T31" fmla="*/ 231 h 239"/>
                <a:gd name="T32" fmla="*/ 90 w 204"/>
                <a:gd name="T33" fmla="*/ 239 h 239"/>
                <a:gd name="T34" fmla="*/ 112 w 204"/>
                <a:gd name="T35" fmla="*/ 239 h 239"/>
                <a:gd name="T36" fmla="*/ 142 w 204"/>
                <a:gd name="T37" fmla="*/ 231 h 239"/>
                <a:gd name="T38" fmla="*/ 167 w 204"/>
                <a:gd name="T39" fmla="*/ 215 h 239"/>
                <a:gd name="T40" fmla="*/ 187 w 204"/>
                <a:gd name="T41" fmla="*/ 190 h 239"/>
                <a:gd name="T42" fmla="*/ 200 w 204"/>
                <a:gd name="T43" fmla="*/ 158 h 239"/>
                <a:gd name="T44" fmla="*/ 204 w 204"/>
                <a:gd name="T45" fmla="*/ 118 h 239"/>
                <a:gd name="T46" fmla="*/ 159 w 204"/>
                <a:gd name="T47" fmla="*/ 119 h 239"/>
                <a:gd name="T48" fmla="*/ 150 w 204"/>
                <a:gd name="T49" fmla="*/ 163 h 239"/>
                <a:gd name="T50" fmla="*/ 135 w 204"/>
                <a:gd name="T51" fmla="*/ 183 h 239"/>
                <a:gd name="T52" fmla="*/ 120 w 204"/>
                <a:gd name="T53" fmla="*/ 193 h 239"/>
                <a:gd name="T54" fmla="*/ 103 w 204"/>
                <a:gd name="T55" fmla="*/ 197 h 239"/>
                <a:gd name="T56" fmla="*/ 90 w 204"/>
                <a:gd name="T57" fmla="*/ 195 h 239"/>
                <a:gd name="T58" fmla="*/ 74 w 204"/>
                <a:gd name="T59" fmla="*/ 189 h 239"/>
                <a:gd name="T60" fmla="*/ 61 w 204"/>
                <a:gd name="T61" fmla="*/ 177 h 239"/>
                <a:gd name="T62" fmla="*/ 52 w 204"/>
                <a:gd name="T63" fmla="*/ 159 h 239"/>
                <a:gd name="T64" fmla="*/ 45 w 204"/>
                <a:gd name="T65" fmla="*/ 118 h 239"/>
                <a:gd name="T66" fmla="*/ 49 w 204"/>
                <a:gd name="T67" fmla="*/ 87 h 239"/>
                <a:gd name="T68" fmla="*/ 60 w 204"/>
                <a:gd name="T69" fmla="*/ 63 h 239"/>
                <a:gd name="T70" fmla="*/ 73 w 204"/>
                <a:gd name="T71" fmla="*/ 51 h 239"/>
                <a:gd name="T72" fmla="*/ 88 w 204"/>
                <a:gd name="T73" fmla="*/ 44 h 239"/>
                <a:gd name="T74" fmla="*/ 100 w 204"/>
                <a:gd name="T75" fmla="*/ 43 h 239"/>
                <a:gd name="T76" fmla="*/ 119 w 204"/>
                <a:gd name="T77" fmla="*/ 46 h 239"/>
                <a:gd name="T78" fmla="*/ 135 w 204"/>
                <a:gd name="T79" fmla="*/ 55 h 239"/>
                <a:gd name="T80" fmla="*/ 147 w 204"/>
                <a:gd name="T81" fmla="*/ 69 h 239"/>
                <a:gd name="T82" fmla="*/ 155 w 204"/>
                <a:gd name="T83" fmla="*/ 88 h 239"/>
                <a:gd name="T84" fmla="*/ 159 w 204"/>
                <a:gd name="T85" fmla="*/ 11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4" h="239">
                  <a:moveTo>
                    <a:pt x="204" y="118"/>
                  </a:moveTo>
                  <a:lnTo>
                    <a:pt x="204" y="118"/>
                  </a:lnTo>
                  <a:lnTo>
                    <a:pt x="204" y="105"/>
                  </a:lnTo>
                  <a:lnTo>
                    <a:pt x="202" y="92"/>
                  </a:lnTo>
                  <a:lnTo>
                    <a:pt x="200" y="81"/>
                  </a:lnTo>
                  <a:lnTo>
                    <a:pt x="196" y="69"/>
                  </a:lnTo>
                  <a:lnTo>
                    <a:pt x="192" y="59"/>
                  </a:lnTo>
                  <a:lnTo>
                    <a:pt x="187" y="49"/>
                  </a:lnTo>
                  <a:lnTo>
                    <a:pt x="182" y="40"/>
                  </a:lnTo>
                  <a:lnTo>
                    <a:pt x="175" y="32"/>
                  </a:lnTo>
                  <a:lnTo>
                    <a:pt x="168" y="25"/>
                  </a:lnTo>
                  <a:lnTo>
                    <a:pt x="160" y="18"/>
                  </a:lnTo>
                  <a:lnTo>
                    <a:pt x="152" y="13"/>
                  </a:lnTo>
                  <a:lnTo>
                    <a:pt x="143" y="8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3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2" y="0"/>
                  </a:lnTo>
                  <a:lnTo>
                    <a:pt x="81" y="2"/>
                  </a:lnTo>
                  <a:lnTo>
                    <a:pt x="71" y="4"/>
                  </a:lnTo>
                  <a:lnTo>
                    <a:pt x="62" y="8"/>
                  </a:lnTo>
                  <a:lnTo>
                    <a:pt x="53" y="12"/>
                  </a:lnTo>
                  <a:lnTo>
                    <a:pt x="45" y="18"/>
                  </a:lnTo>
                  <a:lnTo>
                    <a:pt x="37" y="24"/>
                  </a:lnTo>
                  <a:lnTo>
                    <a:pt x="30" y="31"/>
                  </a:lnTo>
                  <a:lnTo>
                    <a:pt x="23" y="40"/>
                  </a:lnTo>
                  <a:lnTo>
                    <a:pt x="17" y="49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5" y="80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" y="132"/>
                  </a:lnTo>
                  <a:lnTo>
                    <a:pt x="2" y="145"/>
                  </a:lnTo>
                  <a:lnTo>
                    <a:pt x="5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89"/>
                  </a:lnTo>
                  <a:lnTo>
                    <a:pt x="23" y="198"/>
                  </a:lnTo>
                  <a:lnTo>
                    <a:pt x="29" y="207"/>
                  </a:lnTo>
                  <a:lnTo>
                    <a:pt x="36" y="214"/>
                  </a:lnTo>
                  <a:lnTo>
                    <a:pt x="44" y="221"/>
                  </a:lnTo>
                  <a:lnTo>
                    <a:pt x="52" y="226"/>
                  </a:lnTo>
                  <a:lnTo>
                    <a:pt x="61" y="231"/>
                  </a:lnTo>
                  <a:lnTo>
                    <a:pt x="70" y="234"/>
                  </a:lnTo>
                  <a:lnTo>
                    <a:pt x="80" y="237"/>
                  </a:lnTo>
                  <a:lnTo>
                    <a:pt x="90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12" y="239"/>
                  </a:lnTo>
                  <a:lnTo>
                    <a:pt x="122" y="237"/>
                  </a:lnTo>
                  <a:lnTo>
                    <a:pt x="132" y="235"/>
                  </a:lnTo>
                  <a:lnTo>
                    <a:pt x="142" y="231"/>
                  </a:lnTo>
                  <a:lnTo>
                    <a:pt x="151" y="227"/>
                  </a:lnTo>
                  <a:lnTo>
                    <a:pt x="159" y="221"/>
                  </a:lnTo>
                  <a:lnTo>
                    <a:pt x="167" y="215"/>
                  </a:lnTo>
                  <a:lnTo>
                    <a:pt x="175" y="208"/>
                  </a:lnTo>
                  <a:lnTo>
                    <a:pt x="181" y="199"/>
                  </a:lnTo>
                  <a:lnTo>
                    <a:pt x="187" y="190"/>
                  </a:lnTo>
                  <a:lnTo>
                    <a:pt x="192" y="181"/>
                  </a:lnTo>
                  <a:lnTo>
                    <a:pt x="196" y="170"/>
                  </a:lnTo>
                  <a:lnTo>
                    <a:pt x="200" y="158"/>
                  </a:lnTo>
                  <a:lnTo>
                    <a:pt x="202" y="145"/>
                  </a:lnTo>
                  <a:lnTo>
                    <a:pt x="204" y="132"/>
                  </a:lnTo>
                  <a:lnTo>
                    <a:pt x="204" y="118"/>
                  </a:lnTo>
                  <a:lnTo>
                    <a:pt x="204" y="118"/>
                  </a:lnTo>
                  <a:close/>
                  <a:moveTo>
                    <a:pt x="159" y="119"/>
                  </a:moveTo>
                  <a:lnTo>
                    <a:pt x="159" y="119"/>
                  </a:lnTo>
                  <a:lnTo>
                    <a:pt x="158" y="135"/>
                  </a:lnTo>
                  <a:lnTo>
                    <a:pt x="155" y="150"/>
                  </a:lnTo>
                  <a:lnTo>
                    <a:pt x="150" y="163"/>
                  </a:lnTo>
                  <a:lnTo>
                    <a:pt x="143" y="174"/>
                  </a:lnTo>
                  <a:lnTo>
                    <a:pt x="140" y="179"/>
                  </a:lnTo>
                  <a:lnTo>
                    <a:pt x="135" y="183"/>
                  </a:lnTo>
                  <a:lnTo>
                    <a:pt x="131" y="187"/>
                  </a:lnTo>
                  <a:lnTo>
                    <a:pt x="126" y="191"/>
                  </a:lnTo>
                  <a:lnTo>
                    <a:pt x="120" y="193"/>
                  </a:lnTo>
                  <a:lnTo>
                    <a:pt x="115" y="195"/>
                  </a:lnTo>
                  <a:lnTo>
                    <a:pt x="109" y="196"/>
                  </a:lnTo>
                  <a:lnTo>
                    <a:pt x="103" y="197"/>
                  </a:lnTo>
                  <a:lnTo>
                    <a:pt x="103" y="197"/>
                  </a:lnTo>
                  <a:lnTo>
                    <a:pt x="96" y="196"/>
                  </a:lnTo>
                  <a:lnTo>
                    <a:pt x="90" y="195"/>
                  </a:lnTo>
                  <a:lnTo>
                    <a:pt x="85" y="194"/>
                  </a:lnTo>
                  <a:lnTo>
                    <a:pt x="79" y="192"/>
                  </a:lnTo>
                  <a:lnTo>
                    <a:pt x="74" y="189"/>
                  </a:lnTo>
                  <a:lnTo>
                    <a:pt x="70" y="185"/>
                  </a:lnTo>
                  <a:lnTo>
                    <a:pt x="65" y="181"/>
                  </a:lnTo>
                  <a:lnTo>
                    <a:pt x="61" y="177"/>
                  </a:lnTo>
                  <a:lnTo>
                    <a:pt x="58" y="171"/>
                  </a:lnTo>
                  <a:lnTo>
                    <a:pt x="55" y="166"/>
                  </a:lnTo>
                  <a:lnTo>
                    <a:pt x="52" y="159"/>
                  </a:lnTo>
                  <a:lnTo>
                    <a:pt x="50" y="152"/>
                  </a:lnTo>
                  <a:lnTo>
                    <a:pt x="47" y="136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6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9"/>
                  </a:lnTo>
                  <a:lnTo>
                    <a:pt x="68" y="54"/>
                  </a:lnTo>
                  <a:lnTo>
                    <a:pt x="73" y="51"/>
                  </a:lnTo>
                  <a:lnTo>
                    <a:pt x="77" y="48"/>
                  </a:lnTo>
                  <a:lnTo>
                    <a:pt x="83" y="46"/>
                  </a:lnTo>
                  <a:lnTo>
                    <a:pt x="88" y="44"/>
                  </a:lnTo>
                  <a:lnTo>
                    <a:pt x="94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7" y="43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5" y="48"/>
                  </a:lnTo>
                  <a:lnTo>
                    <a:pt x="130" y="51"/>
                  </a:lnTo>
                  <a:lnTo>
                    <a:pt x="135" y="55"/>
                  </a:lnTo>
                  <a:lnTo>
                    <a:pt x="139" y="59"/>
                  </a:lnTo>
                  <a:lnTo>
                    <a:pt x="143" y="63"/>
                  </a:lnTo>
                  <a:lnTo>
                    <a:pt x="147" y="69"/>
                  </a:lnTo>
                  <a:lnTo>
                    <a:pt x="150" y="75"/>
                  </a:lnTo>
                  <a:lnTo>
                    <a:pt x="153" y="81"/>
                  </a:lnTo>
                  <a:lnTo>
                    <a:pt x="155" y="88"/>
                  </a:lnTo>
                  <a:lnTo>
                    <a:pt x="158" y="103"/>
                  </a:lnTo>
                  <a:lnTo>
                    <a:pt x="159" y="119"/>
                  </a:lnTo>
                  <a:lnTo>
                    <a:pt x="159" y="1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8" name="Freeform 127"/>
            <p:cNvSpPr>
              <a:spLocks/>
            </p:cNvSpPr>
            <p:nvPr userDrawn="1"/>
          </p:nvSpPr>
          <p:spPr bwMode="auto">
            <a:xfrm>
              <a:off x="1309688" y="6362701"/>
              <a:ext cx="123825" cy="93663"/>
            </a:xfrm>
            <a:custGeom>
              <a:avLst/>
              <a:gdLst>
                <a:gd name="T0" fmla="*/ 179 w 313"/>
                <a:gd name="T1" fmla="*/ 235 h 235"/>
                <a:gd name="T2" fmla="*/ 206 w 313"/>
                <a:gd name="T3" fmla="*/ 131 h 235"/>
                <a:gd name="T4" fmla="*/ 313 w 313"/>
                <a:gd name="T5" fmla="*/ 235 h 235"/>
                <a:gd name="T6" fmla="*/ 269 w 313"/>
                <a:gd name="T7" fmla="*/ 53 h 235"/>
                <a:gd name="T8" fmla="*/ 273 w 313"/>
                <a:gd name="T9" fmla="*/ 47 h 235"/>
                <a:gd name="T10" fmla="*/ 283 w 313"/>
                <a:gd name="T11" fmla="*/ 40 h 235"/>
                <a:gd name="T12" fmla="*/ 289 w 313"/>
                <a:gd name="T13" fmla="*/ 39 h 235"/>
                <a:gd name="T14" fmla="*/ 300 w 313"/>
                <a:gd name="T15" fmla="*/ 40 h 235"/>
                <a:gd name="T16" fmla="*/ 307 w 313"/>
                <a:gd name="T17" fmla="*/ 44 h 235"/>
                <a:gd name="T18" fmla="*/ 307 w 313"/>
                <a:gd name="T19" fmla="*/ 5 h 235"/>
                <a:gd name="T20" fmla="*/ 291 w 313"/>
                <a:gd name="T21" fmla="*/ 0 h 235"/>
                <a:gd name="T22" fmla="*/ 284 w 313"/>
                <a:gd name="T23" fmla="*/ 0 h 235"/>
                <a:gd name="T24" fmla="*/ 270 w 313"/>
                <a:gd name="T25" fmla="*/ 2 h 235"/>
                <a:gd name="T26" fmla="*/ 258 w 313"/>
                <a:gd name="T27" fmla="*/ 8 h 235"/>
                <a:gd name="T28" fmla="*/ 247 w 313"/>
                <a:gd name="T29" fmla="*/ 19 h 235"/>
                <a:gd name="T30" fmla="*/ 238 w 313"/>
                <a:gd name="T31" fmla="*/ 35 h 235"/>
                <a:gd name="T32" fmla="*/ 179 w 313"/>
                <a:gd name="T33" fmla="*/ 94 h 235"/>
                <a:gd name="T34" fmla="*/ 135 w 313"/>
                <a:gd name="T35" fmla="*/ 5 h 235"/>
                <a:gd name="T36" fmla="*/ 108 w 313"/>
                <a:gd name="T37" fmla="*/ 94 h 235"/>
                <a:gd name="T38" fmla="*/ 75 w 313"/>
                <a:gd name="T39" fmla="*/ 35 h 235"/>
                <a:gd name="T40" fmla="*/ 66 w 313"/>
                <a:gd name="T41" fmla="*/ 19 h 235"/>
                <a:gd name="T42" fmla="*/ 56 w 313"/>
                <a:gd name="T43" fmla="*/ 8 h 235"/>
                <a:gd name="T44" fmla="*/ 43 w 313"/>
                <a:gd name="T45" fmla="*/ 2 h 235"/>
                <a:gd name="T46" fmla="*/ 29 w 313"/>
                <a:gd name="T47" fmla="*/ 0 h 235"/>
                <a:gd name="T48" fmla="*/ 23 w 313"/>
                <a:gd name="T49" fmla="*/ 0 h 235"/>
                <a:gd name="T50" fmla="*/ 6 w 313"/>
                <a:gd name="T51" fmla="*/ 5 h 235"/>
                <a:gd name="T52" fmla="*/ 6 w 313"/>
                <a:gd name="T53" fmla="*/ 44 h 235"/>
                <a:gd name="T54" fmla="*/ 14 w 313"/>
                <a:gd name="T55" fmla="*/ 40 h 235"/>
                <a:gd name="T56" fmla="*/ 25 w 313"/>
                <a:gd name="T57" fmla="*/ 39 h 235"/>
                <a:gd name="T58" fmla="*/ 31 w 313"/>
                <a:gd name="T59" fmla="*/ 40 h 235"/>
                <a:gd name="T60" fmla="*/ 41 w 313"/>
                <a:gd name="T61" fmla="*/ 47 h 235"/>
                <a:gd name="T62" fmla="*/ 73 w 313"/>
                <a:gd name="T63" fmla="*/ 107 h 235"/>
                <a:gd name="T64" fmla="*/ 49 w 313"/>
                <a:gd name="T65" fmla="*/ 235 h 235"/>
                <a:gd name="T66" fmla="*/ 135 w 313"/>
                <a:gd name="T67" fmla="*/ 13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3" h="235">
                  <a:moveTo>
                    <a:pt x="135" y="235"/>
                  </a:moveTo>
                  <a:lnTo>
                    <a:pt x="179" y="235"/>
                  </a:lnTo>
                  <a:lnTo>
                    <a:pt x="179" y="131"/>
                  </a:lnTo>
                  <a:lnTo>
                    <a:pt x="206" y="131"/>
                  </a:lnTo>
                  <a:lnTo>
                    <a:pt x="264" y="235"/>
                  </a:lnTo>
                  <a:lnTo>
                    <a:pt x="313" y="235"/>
                  </a:lnTo>
                  <a:lnTo>
                    <a:pt x="240" y="107"/>
                  </a:lnTo>
                  <a:lnTo>
                    <a:pt x="269" y="53"/>
                  </a:lnTo>
                  <a:lnTo>
                    <a:pt x="269" y="53"/>
                  </a:lnTo>
                  <a:lnTo>
                    <a:pt x="273" y="47"/>
                  </a:lnTo>
                  <a:lnTo>
                    <a:pt x="277" y="43"/>
                  </a:lnTo>
                  <a:lnTo>
                    <a:pt x="283" y="40"/>
                  </a:lnTo>
                  <a:lnTo>
                    <a:pt x="289" y="39"/>
                  </a:lnTo>
                  <a:lnTo>
                    <a:pt x="289" y="39"/>
                  </a:lnTo>
                  <a:lnTo>
                    <a:pt x="295" y="39"/>
                  </a:lnTo>
                  <a:lnTo>
                    <a:pt x="300" y="40"/>
                  </a:lnTo>
                  <a:lnTo>
                    <a:pt x="304" y="42"/>
                  </a:lnTo>
                  <a:lnTo>
                    <a:pt x="307" y="44"/>
                  </a:lnTo>
                  <a:lnTo>
                    <a:pt x="307" y="5"/>
                  </a:lnTo>
                  <a:lnTo>
                    <a:pt x="307" y="5"/>
                  </a:lnTo>
                  <a:lnTo>
                    <a:pt x="296" y="1"/>
                  </a:lnTo>
                  <a:lnTo>
                    <a:pt x="291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77" y="0"/>
                  </a:lnTo>
                  <a:lnTo>
                    <a:pt x="270" y="2"/>
                  </a:lnTo>
                  <a:lnTo>
                    <a:pt x="264" y="5"/>
                  </a:lnTo>
                  <a:lnTo>
                    <a:pt x="258" y="8"/>
                  </a:lnTo>
                  <a:lnTo>
                    <a:pt x="252" y="13"/>
                  </a:lnTo>
                  <a:lnTo>
                    <a:pt x="247" y="19"/>
                  </a:lnTo>
                  <a:lnTo>
                    <a:pt x="243" y="26"/>
                  </a:lnTo>
                  <a:lnTo>
                    <a:pt x="238" y="35"/>
                  </a:lnTo>
                  <a:lnTo>
                    <a:pt x="206" y="94"/>
                  </a:lnTo>
                  <a:lnTo>
                    <a:pt x="179" y="94"/>
                  </a:lnTo>
                  <a:lnTo>
                    <a:pt x="179" y="5"/>
                  </a:lnTo>
                  <a:lnTo>
                    <a:pt x="135" y="5"/>
                  </a:lnTo>
                  <a:lnTo>
                    <a:pt x="135" y="94"/>
                  </a:lnTo>
                  <a:lnTo>
                    <a:pt x="108" y="9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1" y="26"/>
                  </a:lnTo>
                  <a:lnTo>
                    <a:pt x="66" y="19"/>
                  </a:lnTo>
                  <a:lnTo>
                    <a:pt x="61" y="13"/>
                  </a:lnTo>
                  <a:lnTo>
                    <a:pt x="56" y="8"/>
                  </a:lnTo>
                  <a:lnTo>
                    <a:pt x="50" y="5"/>
                  </a:lnTo>
                  <a:lnTo>
                    <a:pt x="43" y="2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17" y="1"/>
                  </a:lnTo>
                  <a:lnTo>
                    <a:pt x="6" y="5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10" y="42"/>
                  </a:lnTo>
                  <a:lnTo>
                    <a:pt x="14" y="40"/>
                  </a:lnTo>
                  <a:lnTo>
                    <a:pt x="19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31" y="40"/>
                  </a:lnTo>
                  <a:lnTo>
                    <a:pt x="36" y="43"/>
                  </a:lnTo>
                  <a:lnTo>
                    <a:pt x="41" y="47"/>
                  </a:lnTo>
                  <a:lnTo>
                    <a:pt x="45" y="53"/>
                  </a:lnTo>
                  <a:lnTo>
                    <a:pt x="73" y="107"/>
                  </a:lnTo>
                  <a:lnTo>
                    <a:pt x="0" y="235"/>
                  </a:lnTo>
                  <a:lnTo>
                    <a:pt x="49" y="235"/>
                  </a:lnTo>
                  <a:lnTo>
                    <a:pt x="108" y="131"/>
                  </a:lnTo>
                  <a:lnTo>
                    <a:pt x="135" y="131"/>
                  </a:lnTo>
                  <a:lnTo>
                    <a:pt x="135" y="2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29" name="Freeform 128"/>
            <p:cNvSpPr>
              <a:spLocks/>
            </p:cNvSpPr>
            <p:nvPr userDrawn="1"/>
          </p:nvSpPr>
          <p:spPr bwMode="auto">
            <a:xfrm>
              <a:off x="1449388" y="6365876"/>
              <a:ext cx="73025" cy="90488"/>
            </a:xfrm>
            <a:custGeom>
              <a:avLst/>
              <a:gdLst>
                <a:gd name="T0" fmla="*/ 139 w 184"/>
                <a:gd name="T1" fmla="*/ 0 h 230"/>
                <a:gd name="T2" fmla="*/ 139 w 184"/>
                <a:gd name="T3" fmla="*/ 87 h 230"/>
                <a:gd name="T4" fmla="*/ 45 w 184"/>
                <a:gd name="T5" fmla="*/ 87 h 230"/>
                <a:gd name="T6" fmla="*/ 45 w 184"/>
                <a:gd name="T7" fmla="*/ 0 h 230"/>
                <a:gd name="T8" fmla="*/ 0 w 184"/>
                <a:gd name="T9" fmla="*/ 0 h 230"/>
                <a:gd name="T10" fmla="*/ 0 w 184"/>
                <a:gd name="T11" fmla="*/ 230 h 230"/>
                <a:gd name="T12" fmla="*/ 45 w 184"/>
                <a:gd name="T13" fmla="*/ 230 h 230"/>
                <a:gd name="T14" fmla="*/ 45 w 184"/>
                <a:gd name="T15" fmla="*/ 126 h 230"/>
                <a:gd name="T16" fmla="*/ 139 w 184"/>
                <a:gd name="T17" fmla="*/ 126 h 230"/>
                <a:gd name="T18" fmla="*/ 139 w 184"/>
                <a:gd name="T19" fmla="*/ 230 h 230"/>
                <a:gd name="T20" fmla="*/ 184 w 184"/>
                <a:gd name="T21" fmla="*/ 230 h 230"/>
                <a:gd name="T22" fmla="*/ 184 w 184"/>
                <a:gd name="T23" fmla="*/ 0 h 230"/>
                <a:gd name="T24" fmla="*/ 139 w 18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30">
                  <a:moveTo>
                    <a:pt x="139" y="0"/>
                  </a:moveTo>
                  <a:lnTo>
                    <a:pt x="139" y="87"/>
                  </a:lnTo>
                  <a:lnTo>
                    <a:pt x="45" y="87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5" y="230"/>
                  </a:lnTo>
                  <a:lnTo>
                    <a:pt x="45" y="126"/>
                  </a:lnTo>
                  <a:lnTo>
                    <a:pt x="139" y="126"/>
                  </a:lnTo>
                  <a:lnTo>
                    <a:pt x="139" y="230"/>
                  </a:lnTo>
                  <a:lnTo>
                    <a:pt x="184" y="230"/>
                  </a:lnTo>
                  <a:lnTo>
                    <a:pt x="184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0" name="Freeform 129"/>
            <p:cNvSpPr>
              <a:spLocks noEditPoints="1"/>
            </p:cNvSpPr>
            <p:nvPr userDrawn="1"/>
          </p:nvSpPr>
          <p:spPr bwMode="auto">
            <a:xfrm>
              <a:off x="1544638" y="6365876"/>
              <a:ext cx="100013" cy="90488"/>
            </a:xfrm>
            <a:custGeom>
              <a:avLst/>
              <a:gdLst>
                <a:gd name="T0" fmla="*/ 0 w 248"/>
                <a:gd name="T1" fmla="*/ 0 h 230"/>
                <a:gd name="T2" fmla="*/ 91 w 248"/>
                <a:gd name="T3" fmla="*/ 230 h 230"/>
                <a:gd name="T4" fmla="*/ 99 w 248"/>
                <a:gd name="T5" fmla="*/ 229 h 230"/>
                <a:gd name="T6" fmla="*/ 115 w 248"/>
                <a:gd name="T7" fmla="*/ 227 h 230"/>
                <a:gd name="T8" fmla="*/ 129 w 248"/>
                <a:gd name="T9" fmla="*/ 222 h 230"/>
                <a:gd name="T10" fmla="*/ 142 w 248"/>
                <a:gd name="T11" fmla="*/ 215 h 230"/>
                <a:gd name="T12" fmla="*/ 152 w 248"/>
                <a:gd name="T13" fmla="*/ 206 h 230"/>
                <a:gd name="T14" fmla="*/ 160 w 248"/>
                <a:gd name="T15" fmla="*/ 194 h 230"/>
                <a:gd name="T16" fmla="*/ 166 w 248"/>
                <a:gd name="T17" fmla="*/ 180 h 230"/>
                <a:gd name="T18" fmla="*/ 169 w 248"/>
                <a:gd name="T19" fmla="*/ 164 h 230"/>
                <a:gd name="T20" fmla="*/ 169 w 248"/>
                <a:gd name="T21" fmla="*/ 155 h 230"/>
                <a:gd name="T22" fmla="*/ 168 w 248"/>
                <a:gd name="T23" fmla="*/ 137 h 230"/>
                <a:gd name="T24" fmla="*/ 163 w 248"/>
                <a:gd name="T25" fmla="*/ 122 h 230"/>
                <a:gd name="T26" fmla="*/ 157 w 248"/>
                <a:gd name="T27" fmla="*/ 109 h 230"/>
                <a:gd name="T28" fmla="*/ 148 w 248"/>
                <a:gd name="T29" fmla="*/ 99 h 230"/>
                <a:gd name="T30" fmla="*/ 137 w 248"/>
                <a:gd name="T31" fmla="*/ 91 h 230"/>
                <a:gd name="T32" fmla="*/ 124 w 248"/>
                <a:gd name="T33" fmla="*/ 85 h 230"/>
                <a:gd name="T34" fmla="*/ 109 w 248"/>
                <a:gd name="T35" fmla="*/ 81 h 230"/>
                <a:gd name="T36" fmla="*/ 93 w 248"/>
                <a:gd name="T37" fmla="*/ 80 h 230"/>
                <a:gd name="T38" fmla="*/ 45 w 248"/>
                <a:gd name="T39" fmla="*/ 0 h 230"/>
                <a:gd name="T40" fmla="*/ 45 w 248"/>
                <a:gd name="T41" fmla="*/ 117 h 230"/>
                <a:gd name="T42" fmla="*/ 89 w 248"/>
                <a:gd name="T43" fmla="*/ 117 h 230"/>
                <a:gd name="T44" fmla="*/ 105 w 248"/>
                <a:gd name="T45" fmla="*/ 120 h 230"/>
                <a:gd name="T46" fmla="*/ 116 w 248"/>
                <a:gd name="T47" fmla="*/ 127 h 230"/>
                <a:gd name="T48" fmla="*/ 124 w 248"/>
                <a:gd name="T49" fmla="*/ 138 h 230"/>
                <a:gd name="T50" fmla="*/ 126 w 248"/>
                <a:gd name="T51" fmla="*/ 155 h 230"/>
                <a:gd name="T52" fmla="*/ 126 w 248"/>
                <a:gd name="T53" fmla="*/ 163 h 230"/>
                <a:gd name="T54" fmla="*/ 121 w 248"/>
                <a:gd name="T55" fmla="*/ 177 h 230"/>
                <a:gd name="T56" fmla="*/ 112 w 248"/>
                <a:gd name="T57" fmla="*/ 187 h 230"/>
                <a:gd name="T58" fmla="*/ 98 w 248"/>
                <a:gd name="T59" fmla="*/ 192 h 230"/>
                <a:gd name="T60" fmla="*/ 45 w 248"/>
                <a:gd name="T61" fmla="*/ 192 h 230"/>
                <a:gd name="T62" fmla="*/ 248 w 248"/>
                <a:gd name="T63" fmla="*/ 0 h 230"/>
                <a:gd name="T64" fmla="*/ 203 w 248"/>
                <a:gd name="T6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8" h="230">
                  <a:moveTo>
                    <a:pt x="45" y="0"/>
                  </a:moveTo>
                  <a:lnTo>
                    <a:pt x="0" y="0"/>
                  </a:lnTo>
                  <a:lnTo>
                    <a:pt x="0" y="230"/>
                  </a:lnTo>
                  <a:lnTo>
                    <a:pt x="91" y="230"/>
                  </a:lnTo>
                  <a:lnTo>
                    <a:pt x="91" y="230"/>
                  </a:lnTo>
                  <a:lnTo>
                    <a:pt x="99" y="229"/>
                  </a:lnTo>
                  <a:lnTo>
                    <a:pt x="107" y="228"/>
                  </a:lnTo>
                  <a:lnTo>
                    <a:pt x="115" y="227"/>
                  </a:lnTo>
                  <a:lnTo>
                    <a:pt x="122" y="225"/>
                  </a:lnTo>
                  <a:lnTo>
                    <a:pt x="129" y="222"/>
                  </a:lnTo>
                  <a:lnTo>
                    <a:pt x="136" y="219"/>
                  </a:lnTo>
                  <a:lnTo>
                    <a:pt x="142" y="215"/>
                  </a:lnTo>
                  <a:lnTo>
                    <a:pt x="147" y="211"/>
                  </a:lnTo>
                  <a:lnTo>
                    <a:pt x="152" y="206"/>
                  </a:lnTo>
                  <a:lnTo>
                    <a:pt x="157" y="200"/>
                  </a:lnTo>
                  <a:lnTo>
                    <a:pt x="160" y="194"/>
                  </a:lnTo>
                  <a:lnTo>
                    <a:pt x="163" y="187"/>
                  </a:lnTo>
                  <a:lnTo>
                    <a:pt x="166" y="180"/>
                  </a:lnTo>
                  <a:lnTo>
                    <a:pt x="168" y="172"/>
                  </a:lnTo>
                  <a:lnTo>
                    <a:pt x="169" y="164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46"/>
                  </a:lnTo>
                  <a:lnTo>
                    <a:pt x="168" y="137"/>
                  </a:lnTo>
                  <a:lnTo>
                    <a:pt x="166" y="129"/>
                  </a:lnTo>
                  <a:lnTo>
                    <a:pt x="163" y="122"/>
                  </a:lnTo>
                  <a:lnTo>
                    <a:pt x="160" y="115"/>
                  </a:lnTo>
                  <a:lnTo>
                    <a:pt x="157" y="109"/>
                  </a:lnTo>
                  <a:lnTo>
                    <a:pt x="152" y="104"/>
                  </a:lnTo>
                  <a:lnTo>
                    <a:pt x="148" y="99"/>
                  </a:lnTo>
                  <a:lnTo>
                    <a:pt x="142" y="94"/>
                  </a:lnTo>
                  <a:lnTo>
                    <a:pt x="137" y="91"/>
                  </a:lnTo>
                  <a:lnTo>
                    <a:pt x="130" y="88"/>
                  </a:lnTo>
                  <a:lnTo>
                    <a:pt x="124" y="85"/>
                  </a:lnTo>
                  <a:lnTo>
                    <a:pt x="117" y="83"/>
                  </a:lnTo>
                  <a:lnTo>
                    <a:pt x="109" y="81"/>
                  </a:lnTo>
                  <a:lnTo>
                    <a:pt x="101" y="81"/>
                  </a:lnTo>
                  <a:lnTo>
                    <a:pt x="93" y="80"/>
                  </a:lnTo>
                  <a:lnTo>
                    <a:pt x="45" y="80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7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8" y="118"/>
                  </a:lnTo>
                  <a:lnTo>
                    <a:pt x="105" y="120"/>
                  </a:lnTo>
                  <a:lnTo>
                    <a:pt x="111" y="123"/>
                  </a:lnTo>
                  <a:lnTo>
                    <a:pt x="116" y="127"/>
                  </a:lnTo>
                  <a:lnTo>
                    <a:pt x="121" y="132"/>
                  </a:lnTo>
                  <a:lnTo>
                    <a:pt x="124" y="138"/>
                  </a:lnTo>
                  <a:lnTo>
                    <a:pt x="126" y="14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63"/>
                  </a:lnTo>
                  <a:lnTo>
                    <a:pt x="124" y="171"/>
                  </a:lnTo>
                  <a:lnTo>
                    <a:pt x="121" y="177"/>
                  </a:lnTo>
                  <a:lnTo>
                    <a:pt x="117" y="182"/>
                  </a:lnTo>
                  <a:lnTo>
                    <a:pt x="112" y="187"/>
                  </a:lnTo>
                  <a:lnTo>
                    <a:pt x="106" y="190"/>
                  </a:lnTo>
                  <a:lnTo>
                    <a:pt x="98" y="192"/>
                  </a:lnTo>
                  <a:lnTo>
                    <a:pt x="89" y="192"/>
                  </a:lnTo>
                  <a:lnTo>
                    <a:pt x="45" y="192"/>
                  </a:lnTo>
                  <a:close/>
                  <a:moveTo>
                    <a:pt x="248" y="230"/>
                  </a:moveTo>
                  <a:lnTo>
                    <a:pt x="248" y="0"/>
                  </a:lnTo>
                  <a:lnTo>
                    <a:pt x="203" y="0"/>
                  </a:lnTo>
                  <a:lnTo>
                    <a:pt x="203" y="230"/>
                  </a:lnTo>
                  <a:lnTo>
                    <a:pt x="248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1" name="Freeform 130"/>
            <p:cNvSpPr>
              <a:spLocks noEditPoints="1"/>
            </p:cNvSpPr>
            <p:nvPr userDrawn="1"/>
          </p:nvSpPr>
          <p:spPr bwMode="auto">
            <a:xfrm>
              <a:off x="1662113" y="6362701"/>
              <a:ext cx="77788" cy="95250"/>
            </a:xfrm>
            <a:custGeom>
              <a:avLst/>
              <a:gdLst>
                <a:gd name="T0" fmla="*/ 196 w 196"/>
                <a:gd name="T1" fmla="*/ 114 h 239"/>
                <a:gd name="T2" fmla="*/ 195 w 196"/>
                <a:gd name="T3" fmla="*/ 92 h 239"/>
                <a:gd name="T4" fmla="*/ 190 w 196"/>
                <a:gd name="T5" fmla="*/ 70 h 239"/>
                <a:gd name="T6" fmla="*/ 183 w 196"/>
                <a:gd name="T7" fmla="*/ 51 h 239"/>
                <a:gd name="T8" fmla="*/ 173 w 196"/>
                <a:gd name="T9" fmla="*/ 34 h 239"/>
                <a:gd name="T10" fmla="*/ 159 w 196"/>
                <a:gd name="T11" fmla="*/ 20 h 239"/>
                <a:gd name="T12" fmla="*/ 143 w 196"/>
                <a:gd name="T13" fmla="*/ 9 h 239"/>
                <a:gd name="T14" fmla="*/ 123 w 196"/>
                <a:gd name="T15" fmla="*/ 2 h 239"/>
                <a:gd name="T16" fmla="*/ 100 w 196"/>
                <a:gd name="T17" fmla="*/ 0 h 239"/>
                <a:gd name="T18" fmla="*/ 89 w 196"/>
                <a:gd name="T19" fmla="*/ 0 h 239"/>
                <a:gd name="T20" fmla="*/ 69 w 196"/>
                <a:gd name="T21" fmla="*/ 4 h 239"/>
                <a:gd name="T22" fmla="*/ 51 w 196"/>
                <a:gd name="T23" fmla="*/ 12 h 239"/>
                <a:gd name="T24" fmla="*/ 35 w 196"/>
                <a:gd name="T25" fmla="*/ 23 h 239"/>
                <a:gd name="T26" fmla="*/ 21 w 196"/>
                <a:gd name="T27" fmla="*/ 38 h 239"/>
                <a:gd name="T28" fmla="*/ 11 w 196"/>
                <a:gd name="T29" fmla="*/ 57 h 239"/>
                <a:gd name="T30" fmla="*/ 4 w 196"/>
                <a:gd name="T31" fmla="*/ 79 h 239"/>
                <a:gd name="T32" fmla="*/ 0 w 196"/>
                <a:gd name="T33" fmla="*/ 105 h 239"/>
                <a:gd name="T34" fmla="*/ 0 w 196"/>
                <a:gd name="T35" fmla="*/ 119 h 239"/>
                <a:gd name="T36" fmla="*/ 2 w 196"/>
                <a:gd name="T37" fmla="*/ 147 h 239"/>
                <a:gd name="T38" fmla="*/ 8 w 196"/>
                <a:gd name="T39" fmla="*/ 173 h 239"/>
                <a:gd name="T40" fmla="*/ 18 w 196"/>
                <a:gd name="T41" fmla="*/ 193 h 239"/>
                <a:gd name="T42" fmla="*/ 30 w 196"/>
                <a:gd name="T43" fmla="*/ 209 h 239"/>
                <a:gd name="T44" fmla="*/ 36 w 196"/>
                <a:gd name="T45" fmla="*/ 215 h 239"/>
                <a:gd name="T46" fmla="*/ 51 w 196"/>
                <a:gd name="T47" fmla="*/ 226 h 239"/>
                <a:gd name="T48" fmla="*/ 68 w 196"/>
                <a:gd name="T49" fmla="*/ 234 h 239"/>
                <a:gd name="T50" fmla="*/ 88 w 196"/>
                <a:gd name="T51" fmla="*/ 239 h 239"/>
                <a:gd name="T52" fmla="*/ 99 w 196"/>
                <a:gd name="T53" fmla="*/ 239 h 239"/>
                <a:gd name="T54" fmla="*/ 124 w 196"/>
                <a:gd name="T55" fmla="*/ 237 h 239"/>
                <a:gd name="T56" fmla="*/ 145 w 196"/>
                <a:gd name="T57" fmla="*/ 231 h 239"/>
                <a:gd name="T58" fmla="*/ 153 w 196"/>
                <a:gd name="T59" fmla="*/ 227 h 239"/>
                <a:gd name="T60" fmla="*/ 169 w 196"/>
                <a:gd name="T61" fmla="*/ 217 h 239"/>
                <a:gd name="T62" fmla="*/ 151 w 196"/>
                <a:gd name="T63" fmla="*/ 180 h 239"/>
                <a:gd name="T64" fmla="*/ 139 w 196"/>
                <a:gd name="T65" fmla="*/ 188 h 239"/>
                <a:gd name="T66" fmla="*/ 128 w 196"/>
                <a:gd name="T67" fmla="*/ 194 h 239"/>
                <a:gd name="T68" fmla="*/ 115 w 196"/>
                <a:gd name="T69" fmla="*/ 197 h 239"/>
                <a:gd name="T70" fmla="*/ 101 w 196"/>
                <a:gd name="T71" fmla="*/ 199 h 239"/>
                <a:gd name="T72" fmla="*/ 91 w 196"/>
                <a:gd name="T73" fmla="*/ 198 h 239"/>
                <a:gd name="T74" fmla="*/ 72 w 196"/>
                <a:gd name="T75" fmla="*/ 191 h 239"/>
                <a:gd name="T76" fmla="*/ 57 w 196"/>
                <a:gd name="T77" fmla="*/ 175 h 239"/>
                <a:gd name="T78" fmla="*/ 47 w 196"/>
                <a:gd name="T79" fmla="*/ 151 h 239"/>
                <a:gd name="T80" fmla="*/ 195 w 196"/>
                <a:gd name="T81" fmla="*/ 135 h 239"/>
                <a:gd name="T82" fmla="*/ 196 w 196"/>
                <a:gd name="T83" fmla="*/ 126 h 239"/>
                <a:gd name="T84" fmla="*/ 196 w 196"/>
                <a:gd name="T85" fmla="*/ 114 h 239"/>
                <a:gd name="T86" fmla="*/ 45 w 196"/>
                <a:gd name="T87" fmla="*/ 98 h 239"/>
                <a:gd name="T88" fmla="*/ 50 w 196"/>
                <a:gd name="T89" fmla="*/ 73 h 239"/>
                <a:gd name="T90" fmla="*/ 61 w 196"/>
                <a:gd name="T91" fmla="*/ 55 h 239"/>
                <a:gd name="T92" fmla="*/ 76 w 196"/>
                <a:gd name="T93" fmla="*/ 44 h 239"/>
                <a:gd name="T94" fmla="*/ 97 w 196"/>
                <a:gd name="T95" fmla="*/ 40 h 239"/>
                <a:gd name="T96" fmla="*/ 104 w 196"/>
                <a:gd name="T97" fmla="*/ 41 h 239"/>
                <a:gd name="T98" fmla="*/ 116 w 196"/>
                <a:gd name="T99" fmla="*/ 43 h 239"/>
                <a:gd name="T100" fmla="*/ 126 w 196"/>
                <a:gd name="T101" fmla="*/ 47 h 239"/>
                <a:gd name="T102" fmla="*/ 137 w 196"/>
                <a:gd name="T103" fmla="*/ 57 h 239"/>
                <a:gd name="T104" fmla="*/ 147 w 196"/>
                <a:gd name="T105" fmla="*/ 76 h 239"/>
                <a:gd name="T106" fmla="*/ 151 w 196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6" h="239">
                  <a:moveTo>
                    <a:pt x="196" y="114"/>
                  </a:moveTo>
                  <a:lnTo>
                    <a:pt x="196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0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59" y="8"/>
                  </a:lnTo>
                  <a:lnTo>
                    <a:pt x="51" y="12"/>
                  </a:lnTo>
                  <a:lnTo>
                    <a:pt x="42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1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0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8" y="173"/>
                  </a:lnTo>
                  <a:lnTo>
                    <a:pt x="13" y="184"/>
                  </a:lnTo>
                  <a:lnTo>
                    <a:pt x="18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7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3" y="227"/>
                  </a:lnTo>
                  <a:lnTo>
                    <a:pt x="161" y="222"/>
                  </a:lnTo>
                  <a:lnTo>
                    <a:pt x="169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5" y="197"/>
                  </a:lnTo>
                  <a:lnTo>
                    <a:pt x="109" y="198"/>
                  </a:lnTo>
                  <a:lnTo>
                    <a:pt x="101" y="199"/>
                  </a:lnTo>
                  <a:lnTo>
                    <a:pt x="101" y="199"/>
                  </a:lnTo>
                  <a:lnTo>
                    <a:pt x="91" y="198"/>
                  </a:lnTo>
                  <a:lnTo>
                    <a:pt x="81" y="195"/>
                  </a:lnTo>
                  <a:lnTo>
                    <a:pt x="72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6" y="114"/>
                  </a:lnTo>
                  <a:lnTo>
                    <a:pt x="196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6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2" name="Freeform 131"/>
            <p:cNvSpPr>
              <a:spLocks/>
            </p:cNvSpPr>
            <p:nvPr userDrawn="1"/>
          </p:nvSpPr>
          <p:spPr bwMode="auto">
            <a:xfrm>
              <a:off x="1793875" y="6362701"/>
              <a:ext cx="71438" cy="95250"/>
            </a:xfrm>
            <a:custGeom>
              <a:avLst/>
              <a:gdLst>
                <a:gd name="T0" fmla="*/ 92 w 177"/>
                <a:gd name="T1" fmla="*/ 131 h 239"/>
                <a:gd name="T2" fmla="*/ 117 w 177"/>
                <a:gd name="T3" fmla="*/ 137 h 239"/>
                <a:gd name="T4" fmla="*/ 129 w 177"/>
                <a:gd name="T5" fmla="*/ 153 h 239"/>
                <a:gd name="T6" fmla="*/ 132 w 177"/>
                <a:gd name="T7" fmla="*/ 166 h 239"/>
                <a:gd name="T8" fmla="*/ 126 w 177"/>
                <a:gd name="T9" fmla="*/ 185 h 239"/>
                <a:gd name="T10" fmla="*/ 106 w 177"/>
                <a:gd name="T11" fmla="*/ 198 h 239"/>
                <a:gd name="T12" fmla="*/ 85 w 177"/>
                <a:gd name="T13" fmla="*/ 201 h 239"/>
                <a:gd name="T14" fmla="*/ 60 w 177"/>
                <a:gd name="T15" fmla="*/ 197 h 239"/>
                <a:gd name="T16" fmla="*/ 36 w 177"/>
                <a:gd name="T17" fmla="*/ 187 h 239"/>
                <a:gd name="T18" fmla="*/ 0 w 177"/>
                <a:gd name="T19" fmla="*/ 210 h 239"/>
                <a:gd name="T20" fmla="*/ 18 w 177"/>
                <a:gd name="T21" fmla="*/ 222 h 239"/>
                <a:gd name="T22" fmla="*/ 49 w 177"/>
                <a:gd name="T23" fmla="*/ 235 h 239"/>
                <a:gd name="T24" fmla="*/ 83 w 177"/>
                <a:gd name="T25" fmla="*/ 239 h 239"/>
                <a:gd name="T26" fmla="*/ 106 w 177"/>
                <a:gd name="T27" fmla="*/ 238 h 239"/>
                <a:gd name="T28" fmla="*/ 133 w 177"/>
                <a:gd name="T29" fmla="*/ 231 h 239"/>
                <a:gd name="T30" fmla="*/ 154 w 177"/>
                <a:gd name="T31" fmla="*/ 218 h 239"/>
                <a:gd name="T32" fmla="*/ 168 w 177"/>
                <a:gd name="T33" fmla="*/ 202 h 239"/>
                <a:gd name="T34" fmla="*/ 175 w 177"/>
                <a:gd name="T35" fmla="*/ 182 h 239"/>
                <a:gd name="T36" fmla="*/ 177 w 177"/>
                <a:gd name="T37" fmla="*/ 168 h 239"/>
                <a:gd name="T38" fmla="*/ 168 w 177"/>
                <a:gd name="T39" fmla="*/ 137 h 239"/>
                <a:gd name="T40" fmla="*/ 148 w 177"/>
                <a:gd name="T41" fmla="*/ 118 h 239"/>
                <a:gd name="T42" fmla="*/ 133 w 177"/>
                <a:gd name="T43" fmla="*/ 112 h 239"/>
                <a:gd name="T44" fmla="*/ 154 w 177"/>
                <a:gd name="T45" fmla="*/ 99 h 239"/>
                <a:gd name="T46" fmla="*/ 167 w 177"/>
                <a:gd name="T47" fmla="*/ 80 h 239"/>
                <a:gd name="T48" fmla="*/ 170 w 177"/>
                <a:gd name="T49" fmla="*/ 64 h 239"/>
                <a:gd name="T50" fmla="*/ 167 w 177"/>
                <a:gd name="T51" fmla="*/ 45 h 239"/>
                <a:gd name="T52" fmla="*/ 158 w 177"/>
                <a:gd name="T53" fmla="*/ 28 h 239"/>
                <a:gd name="T54" fmla="*/ 144 w 177"/>
                <a:gd name="T55" fmla="*/ 15 h 239"/>
                <a:gd name="T56" fmla="*/ 123 w 177"/>
                <a:gd name="T57" fmla="*/ 5 h 239"/>
                <a:gd name="T58" fmla="*/ 95 w 177"/>
                <a:gd name="T59" fmla="*/ 0 h 239"/>
                <a:gd name="T60" fmla="*/ 74 w 177"/>
                <a:gd name="T61" fmla="*/ 0 h 239"/>
                <a:gd name="T62" fmla="*/ 43 w 177"/>
                <a:gd name="T63" fmla="*/ 7 h 239"/>
                <a:gd name="T64" fmla="*/ 15 w 177"/>
                <a:gd name="T65" fmla="*/ 20 h 239"/>
                <a:gd name="T66" fmla="*/ 27 w 177"/>
                <a:gd name="T67" fmla="*/ 60 h 239"/>
                <a:gd name="T68" fmla="*/ 56 w 177"/>
                <a:gd name="T69" fmla="*/ 44 h 239"/>
                <a:gd name="T70" fmla="*/ 79 w 177"/>
                <a:gd name="T71" fmla="*/ 39 h 239"/>
                <a:gd name="T72" fmla="*/ 96 w 177"/>
                <a:gd name="T73" fmla="*/ 39 h 239"/>
                <a:gd name="T74" fmla="*/ 116 w 177"/>
                <a:gd name="T75" fmla="*/ 47 h 239"/>
                <a:gd name="T76" fmla="*/ 125 w 177"/>
                <a:gd name="T77" fmla="*/ 62 h 239"/>
                <a:gd name="T78" fmla="*/ 125 w 177"/>
                <a:gd name="T79" fmla="*/ 72 h 239"/>
                <a:gd name="T80" fmla="*/ 117 w 177"/>
                <a:gd name="T81" fmla="*/ 86 h 239"/>
                <a:gd name="T82" fmla="*/ 99 w 177"/>
                <a:gd name="T83" fmla="*/ 94 h 239"/>
                <a:gd name="T84" fmla="*/ 61 w 177"/>
                <a:gd name="T85" fmla="*/ 13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7" h="239">
                  <a:moveTo>
                    <a:pt x="61" y="131"/>
                  </a:moveTo>
                  <a:lnTo>
                    <a:pt x="92" y="131"/>
                  </a:lnTo>
                  <a:lnTo>
                    <a:pt x="92" y="131"/>
                  </a:lnTo>
                  <a:lnTo>
                    <a:pt x="102" y="132"/>
                  </a:lnTo>
                  <a:lnTo>
                    <a:pt x="110" y="134"/>
                  </a:lnTo>
                  <a:lnTo>
                    <a:pt x="117" y="137"/>
                  </a:lnTo>
                  <a:lnTo>
                    <a:pt x="122" y="142"/>
                  </a:lnTo>
                  <a:lnTo>
                    <a:pt x="126" y="147"/>
                  </a:lnTo>
                  <a:lnTo>
                    <a:pt x="129" y="153"/>
                  </a:lnTo>
                  <a:lnTo>
                    <a:pt x="131" y="159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1" y="173"/>
                  </a:lnTo>
                  <a:lnTo>
                    <a:pt x="129" y="179"/>
                  </a:lnTo>
                  <a:lnTo>
                    <a:pt x="126" y="185"/>
                  </a:lnTo>
                  <a:lnTo>
                    <a:pt x="121" y="190"/>
                  </a:lnTo>
                  <a:lnTo>
                    <a:pt x="114" y="194"/>
                  </a:lnTo>
                  <a:lnTo>
                    <a:pt x="106" y="198"/>
                  </a:lnTo>
                  <a:lnTo>
                    <a:pt x="96" y="200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77" y="200"/>
                  </a:lnTo>
                  <a:lnTo>
                    <a:pt x="69" y="199"/>
                  </a:lnTo>
                  <a:lnTo>
                    <a:pt x="60" y="197"/>
                  </a:lnTo>
                  <a:lnTo>
                    <a:pt x="52" y="194"/>
                  </a:lnTo>
                  <a:lnTo>
                    <a:pt x="44" y="191"/>
                  </a:lnTo>
                  <a:lnTo>
                    <a:pt x="36" y="187"/>
                  </a:lnTo>
                  <a:lnTo>
                    <a:pt x="28" y="182"/>
                  </a:lnTo>
                  <a:lnTo>
                    <a:pt x="20" y="17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8" y="216"/>
                  </a:lnTo>
                  <a:lnTo>
                    <a:pt x="18" y="222"/>
                  </a:lnTo>
                  <a:lnTo>
                    <a:pt x="28" y="227"/>
                  </a:lnTo>
                  <a:lnTo>
                    <a:pt x="38" y="231"/>
                  </a:lnTo>
                  <a:lnTo>
                    <a:pt x="49" y="235"/>
                  </a:lnTo>
                  <a:lnTo>
                    <a:pt x="60" y="237"/>
                  </a:lnTo>
                  <a:lnTo>
                    <a:pt x="72" y="239"/>
                  </a:lnTo>
                  <a:lnTo>
                    <a:pt x="83" y="239"/>
                  </a:lnTo>
                  <a:lnTo>
                    <a:pt x="83" y="239"/>
                  </a:lnTo>
                  <a:lnTo>
                    <a:pt x="95" y="239"/>
                  </a:lnTo>
                  <a:lnTo>
                    <a:pt x="106" y="238"/>
                  </a:lnTo>
                  <a:lnTo>
                    <a:pt x="116" y="236"/>
                  </a:lnTo>
                  <a:lnTo>
                    <a:pt x="125" y="234"/>
                  </a:lnTo>
                  <a:lnTo>
                    <a:pt x="133" y="231"/>
                  </a:lnTo>
                  <a:lnTo>
                    <a:pt x="141" y="227"/>
                  </a:lnTo>
                  <a:lnTo>
                    <a:pt x="148" y="223"/>
                  </a:lnTo>
                  <a:lnTo>
                    <a:pt x="154" y="218"/>
                  </a:lnTo>
                  <a:lnTo>
                    <a:pt x="159" y="213"/>
                  </a:lnTo>
                  <a:lnTo>
                    <a:pt x="164" y="208"/>
                  </a:lnTo>
                  <a:lnTo>
                    <a:pt x="168" y="202"/>
                  </a:lnTo>
                  <a:lnTo>
                    <a:pt x="171" y="196"/>
                  </a:lnTo>
                  <a:lnTo>
                    <a:pt x="173" y="189"/>
                  </a:lnTo>
                  <a:lnTo>
                    <a:pt x="175" y="182"/>
                  </a:lnTo>
                  <a:lnTo>
                    <a:pt x="176" y="175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76" y="157"/>
                  </a:lnTo>
                  <a:lnTo>
                    <a:pt x="173" y="145"/>
                  </a:lnTo>
                  <a:lnTo>
                    <a:pt x="168" y="137"/>
                  </a:lnTo>
                  <a:lnTo>
                    <a:pt x="162" y="129"/>
                  </a:lnTo>
                  <a:lnTo>
                    <a:pt x="156" y="123"/>
                  </a:lnTo>
                  <a:lnTo>
                    <a:pt x="148" y="118"/>
                  </a:lnTo>
                  <a:lnTo>
                    <a:pt x="141" y="114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41" y="108"/>
                  </a:lnTo>
                  <a:lnTo>
                    <a:pt x="148" y="104"/>
                  </a:lnTo>
                  <a:lnTo>
                    <a:pt x="154" y="99"/>
                  </a:lnTo>
                  <a:lnTo>
                    <a:pt x="159" y="94"/>
                  </a:lnTo>
                  <a:lnTo>
                    <a:pt x="164" y="88"/>
                  </a:lnTo>
                  <a:lnTo>
                    <a:pt x="167" y="80"/>
                  </a:lnTo>
                  <a:lnTo>
                    <a:pt x="169" y="73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69" y="57"/>
                  </a:lnTo>
                  <a:lnTo>
                    <a:pt x="168" y="51"/>
                  </a:lnTo>
                  <a:lnTo>
                    <a:pt x="167" y="45"/>
                  </a:lnTo>
                  <a:lnTo>
                    <a:pt x="165" y="39"/>
                  </a:lnTo>
                  <a:lnTo>
                    <a:pt x="162" y="34"/>
                  </a:lnTo>
                  <a:lnTo>
                    <a:pt x="158" y="28"/>
                  </a:lnTo>
                  <a:lnTo>
                    <a:pt x="154" y="23"/>
                  </a:lnTo>
                  <a:lnTo>
                    <a:pt x="149" y="19"/>
                  </a:lnTo>
                  <a:lnTo>
                    <a:pt x="144" y="15"/>
                  </a:lnTo>
                  <a:lnTo>
                    <a:pt x="138" y="11"/>
                  </a:lnTo>
                  <a:lnTo>
                    <a:pt x="131" y="8"/>
                  </a:lnTo>
                  <a:lnTo>
                    <a:pt x="123" y="5"/>
                  </a:lnTo>
                  <a:lnTo>
                    <a:pt x="114" y="3"/>
                  </a:lnTo>
                  <a:lnTo>
                    <a:pt x="105" y="1"/>
                  </a:lnTo>
                  <a:lnTo>
                    <a:pt x="9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3" y="2"/>
                  </a:lnTo>
                  <a:lnTo>
                    <a:pt x="53" y="4"/>
                  </a:lnTo>
                  <a:lnTo>
                    <a:pt x="43" y="7"/>
                  </a:lnTo>
                  <a:lnTo>
                    <a:pt x="33" y="11"/>
                  </a:lnTo>
                  <a:lnTo>
                    <a:pt x="24" y="15"/>
                  </a:lnTo>
                  <a:lnTo>
                    <a:pt x="15" y="20"/>
                  </a:lnTo>
                  <a:lnTo>
                    <a:pt x="7" y="25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41" y="50"/>
                  </a:lnTo>
                  <a:lnTo>
                    <a:pt x="48" y="47"/>
                  </a:lnTo>
                  <a:lnTo>
                    <a:pt x="56" y="44"/>
                  </a:lnTo>
                  <a:lnTo>
                    <a:pt x="63" y="42"/>
                  </a:lnTo>
                  <a:lnTo>
                    <a:pt x="71" y="40"/>
                  </a:lnTo>
                  <a:lnTo>
                    <a:pt x="79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96" y="39"/>
                  </a:lnTo>
                  <a:lnTo>
                    <a:pt x="104" y="41"/>
                  </a:lnTo>
                  <a:lnTo>
                    <a:pt x="111" y="44"/>
                  </a:lnTo>
                  <a:lnTo>
                    <a:pt x="116" y="47"/>
                  </a:lnTo>
                  <a:lnTo>
                    <a:pt x="120" y="52"/>
                  </a:lnTo>
                  <a:lnTo>
                    <a:pt x="123" y="56"/>
                  </a:lnTo>
                  <a:lnTo>
                    <a:pt x="125" y="62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5" y="72"/>
                  </a:lnTo>
                  <a:lnTo>
                    <a:pt x="124" y="77"/>
                  </a:lnTo>
                  <a:lnTo>
                    <a:pt x="121" y="82"/>
                  </a:lnTo>
                  <a:lnTo>
                    <a:pt x="117" y="86"/>
                  </a:lnTo>
                  <a:lnTo>
                    <a:pt x="112" y="89"/>
                  </a:lnTo>
                  <a:lnTo>
                    <a:pt x="106" y="92"/>
                  </a:lnTo>
                  <a:lnTo>
                    <a:pt x="99" y="94"/>
                  </a:lnTo>
                  <a:lnTo>
                    <a:pt x="90" y="94"/>
                  </a:lnTo>
                  <a:lnTo>
                    <a:pt x="61" y="94"/>
                  </a:lnTo>
                  <a:lnTo>
                    <a:pt x="61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3" name="Freeform 132"/>
            <p:cNvSpPr>
              <a:spLocks noEditPoints="1"/>
            </p:cNvSpPr>
            <p:nvPr userDrawn="1"/>
          </p:nvSpPr>
          <p:spPr bwMode="auto">
            <a:xfrm>
              <a:off x="1878013" y="6362701"/>
              <a:ext cx="74613" cy="95250"/>
            </a:xfrm>
            <a:custGeom>
              <a:avLst/>
              <a:gdLst>
                <a:gd name="T0" fmla="*/ 187 w 187"/>
                <a:gd name="T1" fmla="*/ 77 h 239"/>
                <a:gd name="T2" fmla="*/ 186 w 187"/>
                <a:gd name="T3" fmla="*/ 67 h 239"/>
                <a:gd name="T4" fmla="*/ 183 w 187"/>
                <a:gd name="T5" fmla="*/ 50 h 239"/>
                <a:gd name="T6" fmla="*/ 177 w 187"/>
                <a:gd name="T7" fmla="*/ 36 h 239"/>
                <a:gd name="T8" fmla="*/ 168 w 187"/>
                <a:gd name="T9" fmla="*/ 24 h 239"/>
                <a:gd name="T10" fmla="*/ 156 w 187"/>
                <a:gd name="T11" fmla="*/ 14 h 239"/>
                <a:gd name="T12" fmla="*/ 143 w 187"/>
                <a:gd name="T13" fmla="*/ 7 h 239"/>
                <a:gd name="T14" fmla="*/ 127 w 187"/>
                <a:gd name="T15" fmla="*/ 2 h 239"/>
                <a:gd name="T16" fmla="*/ 109 w 187"/>
                <a:gd name="T17" fmla="*/ 0 h 239"/>
                <a:gd name="T18" fmla="*/ 100 w 187"/>
                <a:gd name="T19" fmla="*/ 0 h 239"/>
                <a:gd name="T20" fmla="*/ 77 w 187"/>
                <a:gd name="T21" fmla="*/ 1 h 239"/>
                <a:gd name="T22" fmla="*/ 57 w 187"/>
                <a:gd name="T23" fmla="*/ 5 h 239"/>
                <a:gd name="T24" fmla="*/ 38 w 187"/>
                <a:gd name="T25" fmla="*/ 11 h 239"/>
                <a:gd name="T26" fmla="*/ 22 w 187"/>
                <a:gd name="T27" fmla="*/ 20 h 239"/>
                <a:gd name="T28" fmla="*/ 39 w 187"/>
                <a:gd name="T29" fmla="*/ 54 h 239"/>
                <a:gd name="T30" fmla="*/ 67 w 187"/>
                <a:gd name="T31" fmla="*/ 43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1 w 187"/>
                <a:gd name="T41" fmla="*/ 70 h 239"/>
                <a:gd name="T42" fmla="*/ 142 w 187"/>
                <a:gd name="T43" fmla="*/ 96 h 239"/>
                <a:gd name="T44" fmla="*/ 133 w 187"/>
                <a:gd name="T45" fmla="*/ 92 h 239"/>
                <a:gd name="T46" fmla="*/ 107 w 187"/>
                <a:gd name="T47" fmla="*/ 88 h 239"/>
                <a:gd name="T48" fmla="*/ 91 w 187"/>
                <a:gd name="T49" fmla="*/ 87 h 239"/>
                <a:gd name="T50" fmla="*/ 63 w 187"/>
                <a:gd name="T51" fmla="*/ 89 h 239"/>
                <a:gd name="T52" fmla="*/ 47 w 187"/>
                <a:gd name="T53" fmla="*/ 94 h 239"/>
                <a:gd name="T54" fmla="*/ 32 w 187"/>
                <a:gd name="T55" fmla="*/ 101 h 239"/>
                <a:gd name="T56" fmla="*/ 20 w 187"/>
                <a:gd name="T57" fmla="*/ 110 h 239"/>
                <a:gd name="T58" fmla="*/ 10 w 187"/>
                <a:gd name="T59" fmla="*/ 121 h 239"/>
                <a:gd name="T60" fmla="*/ 4 w 187"/>
                <a:gd name="T61" fmla="*/ 135 h 239"/>
                <a:gd name="T62" fmla="*/ 0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5 w 187"/>
                <a:gd name="T73" fmla="*/ 222 h 239"/>
                <a:gd name="T74" fmla="*/ 38 w 187"/>
                <a:gd name="T75" fmla="*/ 230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9 h 239"/>
                <a:gd name="T82" fmla="*/ 108 w 187"/>
                <a:gd name="T83" fmla="*/ 234 h 239"/>
                <a:gd name="T84" fmla="*/ 115 w 187"/>
                <a:gd name="T85" fmla="*/ 231 h 239"/>
                <a:gd name="T86" fmla="*/ 134 w 187"/>
                <a:gd name="T87" fmla="*/ 219 h 239"/>
                <a:gd name="T88" fmla="*/ 142 w 187"/>
                <a:gd name="T89" fmla="*/ 235 h 239"/>
                <a:gd name="T90" fmla="*/ 142 w 187"/>
                <a:gd name="T91" fmla="*/ 170 h 239"/>
                <a:gd name="T92" fmla="*/ 138 w 187"/>
                <a:gd name="T93" fmla="*/ 175 h 239"/>
                <a:gd name="T94" fmla="*/ 126 w 187"/>
                <a:gd name="T95" fmla="*/ 185 h 239"/>
                <a:gd name="T96" fmla="*/ 112 w 187"/>
                <a:gd name="T97" fmla="*/ 193 h 239"/>
                <a:gd name="T98" fmla="*/ 95 w 187"/>
                <a:gd name="T99" fmla="*/ 198 h 239"/>
                <a:gd name="T100" fmla="*/ 86 w 187"/>
                <a:gd name="T101" fmla="*/ 199 h 239"/>
                <a:gd name="T102" fmla="*/ 68 w 187"/>
                <a:gd name="T103" fmla="*/ 196 h 239"/>
                <a:gd name="T104" fmla="*/ 55 w 187"/>
                <a:gd name="T105" fmla="*/ 190 h 239"/>
                <a:gd name="T106" fmla="*/ 50 w 187"/>
                <a:gd name="T107" fmla="*/ 185 h 239"/>
                <a:gd name="T108" fmla="*/ 43 w 187"/>
                <a:gd name="T109" fmla="*/ 170 h 239"/>
                <a:gd name="T110" fmla="*/ 42 w 187"/>
                <a:gd name="T111" fmla="*/ 161 h 239"/>
                <a:gd name="T112" fmla="*/ 46 w 187"/>
                <a:gd name="T113" fmla="*/ 146 h 239"/>
                <a:gd name="T114" fmla="*/ 55 w 187"/>
                <a:gd name="T115" fmla="*/ 135 h 239"/>
                <a:gd name="T116" fmla="*/ 70 w 187"/>
                <a:gd name="T117" fmla="*/ 128 h 239"/>
                <a:gd name="T118" fmla="*/ 90 w 187"/>
                <a:gd name="T119" fmla="*/ 126 h 239"/>
                <a:gd name="T120" fmla="*/ 106 w 187"/>
                <a:gd name="T121" fmla="*/ 126 h 239"/>
                <a:gd name="T122" fmla="*/ 120 w 187"/>
                <a:gd name="T123" fmla="*/ 128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6" y="67"/>
                  </a:lnTo>
                  <a:lnTo>
                    <a:pt x="185" y="58"/>
                  </a:lnTo>
                  <a:lnTo>
                    <a:pt x="183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8" y="24"/>
                  </a:lnTo>
                  <a:lnTo>
                    <a:pt x="163" y="19"/>
                  </a:lnTo>
                  <a:lnTo>
                    <a:pt x="156" y="14"/>
                  </a:lnTo>
                  <a:lnTo>
                    <a:pt x="150" y="10"/>
                  </a:lnTo>
                  <a:lnTo>
                    <a:pt x="143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2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3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7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6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8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7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8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7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6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4" name="Freeform 133"/>
            <p:cNvSpPr>
              <a:spLocks noEditPoints="1"/>
            </p:cNvSpPr>
            <p:nvPr userDrawn="1"/>
          </p:nvSpPr>
          <p:spPr bwMode="auto">
            <a:xfrm>
              <a:off x="1962150" y="6365876"/>
              <a:ext cx="95250" cy="114300"/>
            </a:xfrm>
            <a:custGeom>
              <a:avLst/>
              <a:gdLst>
                <a:gd name="T0" fmla="*/ 52 w 238"/>
                <a:gd name="T1" fmla="*/ 0 h 291"/>
                <a:gd name="T2" fmla="*/ 46 w 238"/>
                <a:gd name="T3" fmla="*/ 87 h 291"/>
                <a:gd name="T4" fmla="*/ 46 w 238"/>
                <a:gd name="T5" fmla="*/ 87 h 291"/>
                <a:gd name="T6" fmla="*/ 44 w 238"/>
                <a:gd name="T7" fmla="*/ 105 h 291"/>
                <a:gd name="T8" fmla="*/ 41 w 238"/>
                <a:gd name="T9" fmla="*/ 120 h 291"/>
                <a:gd name="T10" fmla="*/ 38 w 238"/>
                <a:gd name="T11" fmla="*/ 135 h 291"/>
                <a:gd name="T12" fmla="*/ 35 w 238"/>
                <a:gd name="T13" fmla="*/ 149 h 291"/>
                <a:gd name="T14" fmla="*/ 27 w 238"/>
                <a:gd name="T15" fmla="*/ 172 h 291"/>
                <a:gd name="T16" fmla="*/ 20 w 238"/>
                <a:gd name="T17" fmla="*/ 190 h 291"/>
                <a:gd name="T18" fmla="*/ 0 w 238"/>
                <a:gd name="T19" fmla="*/ 190 h 291"/>
                <a:gd name="T20" fmla="*/ 0 w 238"/>
                <a:gd name="T21" fmla="*/ 291 h 291"/>
                <a:gd name="T22" fmla="*/ 42 w 238"/>
                <a:gd name="T23" fmla="*/ 270 h 291"/>
                <a:gd name="T24" fmla="*/ 42 w 238"/>
                <a:gd name="T25" fmla="*/ 230 h 291"/>
                <a:gd name="T26" fmla="*/ 196 w 238"/>
                <a:gd name="T27" fmla="*/ 230 h 291"/>
                <a:gd name="T28" fmla="*/ 196 w 238"/>
                <a:gd name="T29" fmla="*/ 291 h 291"/>
                <a:gd name="T30" fmla="*/ 238 w 238"/>
                <a:gd name="T31" fmla="*/ 270 h 291"/>
                <a:gd name="T32" fmla="*/ 238 w 238"/>
                <a:gd name="T33" fmla="*/ 190 h 291"/>
                <a:gd name="T34" fmla="*/ 208 w 238"/>
                <a:gd name="T35" fmla="*/ 190 h 291"/>
                <a:gd name="T36" fmla="*/ 208 w 238"/>
                <a:gd name="T37" fmla="*/ 0 h 291"/>
                <a:gd name="T38" fmla="*/ 52 w 238"/>
                <a:gd name="T39" fmla="*/ 0 h 291"/>
                <a:gd name="T40" fmla="*/ 163 w 238"/>
                <a:gd name="T41" fmla="*/ 190 h 291"/>
                <a:gd name="T42" fmla="*/ 67 w 238"/>
                <a:gd name="T43" fmla="*/ 190 h 291"/>
                <a:gd name="T44" fmla="*/ 67 w 238"/>
                <a:gd name="T45" fmla="*/ 190 h 291"/>
                <a:gd name="T46" fmla="*/ 74 w 238"/>
                <a:gd name="T47" fmla="*/ 172 h 291"/>
                <a:gd name="T48" fmla="*/ 80 w 238"/>
                <a:gd name="T49" fmla="*/ 150 h 291"/>
                <a:gd name="T50" fmla="*/ 83 w 238"/>
                <a:gd name="T51" fmla="*/ 136 h 291"/>
                <a:gd name="T52" fmla="*/ 86 w 238"/>
                <a:gd name="T53" fmla="*/ 122 h 291"/>
                <a:gd name="T54" fmla="*/ 88 w 238"/>
                <a:gd name="T55" fmla="*/ 105 h 291"/>
                <a:gd name="T56" fmla="*/ 89 w 238"/>
                <a:gd name="T57" fmla="*/ 87 h 291"/>
                <a:gd name="T58" fmla="*/ 93 w 238"/>
                <a:gd name="T59" fmla="*/ 39 h 291"/>
                <a:gd name="T60" fmla="*/ 163 w 238"/>
                <a:gd name="T61" fmla="*/ 39 h 291"/>
                <a:gd name="T62" fmla="*/ 163 w 238"/>
                <a:gd name="T63" fmla="*/ 19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8" h="291">
                  <a:moveTo>
                    <a:pt x="52" y="0"/>
                  </a:moveTo>
                  <a:lnTo>
                    <a:pt x="46" y="87"/>
                  </a:lnTo>
                  <a:lnTo>
                    <a:pt x="46" y="87"/>
                  </a:lnTo>
                  <a:lnTo>
                    <a:pt x="44" y="105"/>
                  </a:lnTo>
                  <a:lnTo>
                    <a:pt x="41" y="120"/>
                  </a:lnTo>
                  <a:lnTo>
                    <a:pt x="38" y="135"/>
                  </a:lnTo>
                  <a:lnTo>
                    <a:pt x="35" y="149"/>
                  </a:lnTo>
                  <a:lnTo>
                    <a:pt x="27" y="172"/>
                  </a:lnTo>
                  <a:lnTo>
                    <a:pt x="20" y="190"/>
                  </a:lnTo>
                  <a:lnTo>
                    <a:pt x="0" y="190"/>
                  </a:lnTo>
                  <a:lnTo>
                    <a:pt x="0" y="291"/>
                  </a:lnTo>
                  <a:lnTo>
                    <a:pt x="42" y="270"/>
                  </a:lnTo>
                  <a:lnTo>
                    <a:pt x="42" y="230"/>
                  </a:lnTo>
                  <a:lnTo>
                    <a:pt x="196" y="230"/>
                  </a:lnTo>
                  <a:lnTo>
                    <a:pt x="196" y="291"/>
                  </a:lnTo>
                  <a:lnTo>
                    <a:pt x="238" y="270"/>
                  </a:lnTo>
                  <a:lnTo>
                    <a:pt x="238" y="190"/>
                  </a:lnTo>
                  <a:lnTo>
                    <a:pt x="208" y="190"/>
                  </a:lnTo>
                  <a:lnTo>
                    <a:pt x="208" y="0"/>
                  </a:lnTo>
                  <a:lnTo>
                    <a:pt x="52" y="0"/>
                  </a:lnTo>
                  <a:close/>
                  <a:moveTo>
                    <a:pt x="163" y="190"/>
                  </a:moveTo>
                  <a:lnTo>
                    <a:pt x="67" y="190"/>
                  </a:lnTo>
                  <a:lnTo>
                    <a:pt x="67" y="190"/>
                  </a:lnTo>
                  <a:lnTo>
                    <a:pt x="74" y="172"/>
                  </a:lnTo>
                  <a:lnTo>
                    <a:pt x="80" y="150"/>
                  </a:lnTo>
                  <a:lnTo>
                    <a:pt x="83" y="136"/>
                  </a:lnTo>
                  <a:lnTo>
                    <a:pt x="86" y="122"/>
                  </a:lnTo>
                  <a:lnTo>
                    <a:pt x="88" y="105"/>
                  </a:lnTo>
                  <a:lnTo>
                    <a:pt x="89" y="87"/>
                  </a:lnTo>
                  <a:lnTo>
                    <a:pt x="93" y="39"/>
                  </a:lnTo>
                  <a:lnTo>
                    <a:pt x="163" y="39"/>
                  </a:lnTo>
                  <a:lnTo>
                    <a:pt x="163" y="1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5" name="Freeform 134"/>
            <p:cNvSpPr>
              <a:spLocks noEditPoints="1"/>
            </p:cNvSpPr>
            <p:nvPr userDrawn="1"/>
          </p:nvSpPr>
          <p:spPr bwMode="auto">
            <a:xfrm>
              <a:off x="2066925" y="6362701"/>
              <a:ext cx="73025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7 h 239"/>
                <a:gd name="T4" fmla="*/ 184 w 187"/>
                <a:gd name="T5" fmla="*/ 50 h 239"/>
                <a:gd name="T6" fmla="*/ 177 w 187"/>
                <a:gd name="T7" fmla="*/ 36 h 239"/>
                <a:gd name="T8" fmla="*/ 168 w 187"/>
                <a:gd name="T9" fmla="*/ 24 h 239"/>
                <a:gd name="T10" fmla="*/ 156 w 187"/>
                <a:gd name="T11" fmla="*/ 14 h 239"/>
                <a:gd name="T12" fmla="*/ 143 w 187"/>
                <a:gd name="T13" fmla="*/ 7 h 239"/>
                <a:gd name="T14" fmla="*/ 127 w 187"/>
                <a:gd name="T15" fmla="*/ 2 h 239"/>
                <a:gd name="T16" fmla="*/ 110 w 187"/>
                <a:gd name="T17" fmla="*/ 0 h 239"/>
                <a:gd name="T18" fmla="*/ 100 w 187"/>
                <a:gd name="T19" fmla="*/ 0 h 239"/>
                <a:gd name="T20" fmla="*/ 78 w 187"/>
                <a:gd name="T21" fmla="*/ 1 h 239"/>
                <a:gd name="T22" fmla="*/ 57 w 187"/>
                <a:gd name="T23" fmla="*/ 5 h 239"/>
                <a:gd name="T24" fmla="*/ 39 w 187"/>
                <a:gd name="T25" fmla="*/ 11 h 239"/>
                <a:gd name="T26" fmla="*/ 22 w 187"/>
                <a:gd name="T27" fmla="*/ 20 h 239"/>
                <a:gd name="T28" fmla="*/ 39 w 187"/>
                <a:gd name="T29" fmla="*/ 54 h 239"/>
                <a:gd name="T30" fmla="*/ 67 w 187"/>
                <a:gd name="T31" fmla="*/ 43 h 239"/>
                <a:gd name="T32" fmla="*/ 99 w 187"/>
                <a:gd name="T33" fmla="*/ 40 h 239"/>
                <a:gd name="T34" fmla="*/ 109 w 187"/>
                <a:gd name="T35" fmla="*/ 41 h 239"/>
                <a:gd name="T36" fmla="*/ 125 w 187"/>
                <a:gd name="T37" fmla="*/ 46 h 239"/>
                <a:gd name="T38" fmla="*/ 136 w 187"/>
                <a:gd name="T39" fmla="*/ 56 h 239"/>
                <a:gd name="T40" fmla="*/ 141 w 187"/>
                <a:gd name="T41" fmla="*/ 70 h 239"/>
                <a:gd name="T42" fmla="*/ 142 w 187"/>
                <a:gd name="T43" fmla="*/ 96 h 239"/>
                <a:gd name="T44" fmla="*/ 133 w 187"/>
                <a:gd name="T45" fmla="*/ 92 h 239"/>
                <a:gd name="T46" fmla="*/ 108 w 187"/>
                <a:gd name="T47" fmla="*/ 88 h 239"/>
                <a:gd name="T48" fmla="*/ 91 w 187"/>
                <a:gd name="T49" fmla="*/ 87 h 239"/>
                <a:gd name="T50" fmla="*/ 64 w 187"/>
                <a:gd name="T51" fmla="*/ 89 h 239"/>
                <a:gd name="T52" fmla="*/ 47 w 187"/>
                <a:gd name="T53" fmla="*/ 94 h 239"/>
                <a:gd name="T54" fmla="*/ 33 w 187"/>
                <a:gd name="T55" fmla="*/ 101 h 239"/>
                <a:gd name="T56" fmla="*/ 20 w 187"/>
                <a:gd name="T57" fmla="*/ 110 h 239"/>
                <a:gd name="T58" fmla="*/ 11 w 187"/>
                <a:gd name="T59" fmla="*/ 121 h 239"/>
                <a:gd name="T60" fmla="*/ 4 w 187"/>
                <a:gd name="T61" fmla="*/ 135 h 239"/>
                <a:gd name="T62" fmla="*/ 1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6 w 187"/>
                <a:gd name="T73" fmla="*/ 222 h 239"/>
                <a:gd name="T74" fmla="*/ 38 w 187"/>
                <a:gd name="T75" fmla="*/ 230 h 239"/>
                <a:gd name="T76" fmla="*/ 51 w 187"/>
                <a:gd name="T77" fmla="*/ 235 h 239"/>
                <a:gd name="T78" fmla="*/ 79 w 187"/>
                <a:gd name="T79" fmla="*/ 239 h 239"/>
                <a:gd name="T80" fmla="*/ 90 w 187"/>
                <a:gd name="T81" fmla="*/ 239 h 239"/>
                <a:gd name="T82" fmla="*/ 109 w 187"/>
                <a:gd name="T83" fmla="*/ 234 h 239"/>
                <a:gd name="T84" fmla="*/ 116 w 187"/>
                <a:gd name="T85" fmla="*/ 231 h 239"/>
                <a:gd name="T86" fmla="*/ 134 w 187"/>
                <a:gd name="T87" fmla="*/ 219 h 239"/>
                <a:gd name="T88" fmla="*/ 142 w 187"/>
                <a:gd name="T89" fmla="*/ 235 h 239"/>
                <a:gd name="T90" fmla="*/ 142 w 187"/>
                <a:gd name="T91" fmla="*/ 170 h 239"/>
                <a:gd name="T92" fmla="*/ 138 w 187"/>
                <a:gd name="T93" fmla="*/ 175 h 239"/>
                <a:gd name="T94" fmla="*/ 127 w 187"/>
                <a:gd name="T95" fmla="*/ 185 h 239"/>
                <a:gd name="T96" fmla="*/ 112 w 187"/>
                <a:gd name="T97" fmla="*/ 193 h 239"/>
                <a:gd name="T98" fmla="*/ 96 w 187"/>
                <a:gd name="T99" fmla="*/ 198 h 239"/>
                <a:gd name="T100" fmla="*/ 87 w 187"/>
                <a:gd name="T101" fmla="*/ 199 h 239"/>
                <a:gd name="T102" fmla="*/ 69 w 187"/>
                <a:gd name="T103" fmla="*/ 196 h 239"/>
                <a:gd name="T104" fmla="*/ 55 w 187"/>
                <a:gd name="T105" fmla="*/ 190 h 239"/>
                <a:gd name="T106" fmla="*/ 50 w 187"/>
                <a:gd name="T107" fmla="*/ 185 h 239"/>
                <a:gd name="T108" fmla="*/ 44 w 187"/>
                <a:gd name="T109" fmla="*/ 170 h 239"/>
                <a:gd name="T110" fmla="*/ 43 w 187"/>
                <a:gd name="T111" fmla="*/ 161 h 239"/>
                <a:gd name="T112" fmla="*/ 46 w 187"/>
                <a:gd name="T113" fmla="*/ 146 h 239"/>
                <a:gd name="T114" fmla="*/ 55 w 187"/>
                <a:gd name="T115" fmla="*/ 135 h 239"/>
                <a:gd name="T116" fmla="*/ 70 w 187"/>
                <a:gd name="T117" fmla="*/ 128 h 239"/>
                <a:gd name="T118" fmla="*/ 90 w 187"/>
                <a:gd name="T119" fmla="*/ 126 h 239"/>
                <a:gd name="T120" fmla="*/ 107 w 187"/>
                <a:gd name="T121" fmla="*/ 126 h 239"/>
                <a:gd name="T122" fmla="*/ 120 w 187"/>
                <a:gd name="T123" fmla="*/ 128 h 239"/>
                <a:gd name="T124" fmla="*/ 142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7"/>
                  </a:lnTo>
                  <a:lnTo>
                    <a:pt x="186" y="58"/>
                  </a:lnTo>
                  <a:lnTo>
                    <a:pt x="184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8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50" y="10"/>
                  </a:lnTo>
                  <a:lnTo>
                    <a:pt x="143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9" y="1"/>
                  </a:lnTo>
                  <a:lnTo>
                    <a:pt x="110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8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8" y="8"/>
                  </a:lnTo>
                  <a:lnTo>
                    <a:pt x="39" y="11"/>
                  </a:lnTo>
                  <a:lnTo>
                    <a:pt x="30" y="16"/>
                  </a:lnTo>
                  <a:lnTo>
                    <a:pt x="22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3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9" y="41"/>
                  </a:lnTo>
                  <a:lnTo>
                    <a:pt x="118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6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2" y="89"/>
                  </a:lnTo>
                  <a:lnTo>
                    <a:pt x="108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4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40" y="97"/>
                  </a:lnTo>
                  <a:lnTo>
                    <a:pt x="33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1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2" y="143"/>
                  </a:lnTo>
                  <a:lnTo>
                    <a:pt x="1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1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6" y="222"/>
                  </a:lnTo>
                  <a:lnTo>
                    <a:pt x="32" y="226"/>
                  </a:lnTo>
                  <a:lnTo>
                    <a:pt x="38" y="230"/>
                  </a:lnTo>
                  <a:lnTo>
                    <a:pt x="45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7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8" y="175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0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6" y="198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77" y="198"/>
                  </a:lnTo>
                  <a:lnTo>
                    <a:pt x="69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4" y="170"/>
                  </a:lnTo>
                  <a:lnTo>
                    <a:pt x="43" y="161"/>
                  </a:lnTo>
                  <a:lnTo>
                    <a:pt x="43" y="161"/>
                  </a:lnTo>
                  <a:lnTo>
                    <a:pt x="44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7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1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6" name="Freeform 135"/>
            <p:cNvSpPr>
              <a:spLocks/>
            </p:cNvSpPr>
            <p:nvPr userDrawn="1"/>
          </p:nvSpPr>
          <p:spPr bwMode="auto">
            <a:xfrm>
              <a:off x="2159000" y="6365876"/>
              <a:ext cx="69850" cy="90488"/>
            </a:xfrm>
            <a:custGeom>
              <a:avLst/>
              <a:gdLst>
                <a:gd name="T0" fmla="*/ 178 w 178"/>
                <a:gd name="T1" fmla="*/ 0 h 230"/>
                <a:gd name="T2" fmla="*/ 133 w 178"/>
                <a:gd name="T3" fmla="*/ 0 h 230"/>
                <a:gd name="T4" fmla="*/ 133 w 178"/>
                <a:gd name="T5" fmla="*/ 92 h 230"/>
                <a:gd name="T6" fmla="*/ 133 w 178"/>
                <a:gd name="T7" fmla="*/ 92 h 230"/>
                <a:gd name="T8" fmla="*/ 123 w 178"/>
                <a:gd name="T9" fmla="*/ 98 h 230"/>
                <a:gd name="T10" fmla="*/ 112 w 178"/>
                <a:gd name="T11" fmla="*/ 102 h 230"/>
                <a:gd name="T12" fmla="*/ 99 w 178"/>
                <a:gd name="T13" fmla="*/ 105 h 230"/>
                <a:gd name="T14" fmla="*/ 85 w 178"/>
                <a:gd name="T15" fmla="*/ 106 h 230"/>
                <a:gd name="T16" fmla="*/ 85 w 178"/>
                <a:gd name="T17" fmla="*/ 106 h 230"/>
                <a:gd name="T18" fmla="*/ 76 w 178"/>
                <a:gd name="T19" fmla="*/ 105 h 230"/>
                <a:gd name="T20" fmla="*/ 68 w 178"/>
                <a:gd name="T21" fmla="*/ 103 h 230"/>
                <a:gd name="T22" fmla="*/ 61 w 178"/>
                <a:gd name="T23" fmla="*/ 101 h 230"/>
                <a:gd name="T24" fmla="*/ 55 w 178"/>
                <a:gd name="T25" fmla="*/ 97 h 230"/>
                <a:gd name="T26" fmla="*/ 51 w 178"/>
                <a:gd name="T27" fmla="*/ 91 h 230"/>
                <a:gd name="T28" fmla="*/ 48 w 178"/>
                <a:gd name="T29" fmla="*/ 85 h 230"/>
                <a:gd name="T30" fmla="*/ 46 w 178"/>
                <a:gd name="T31" fmla="*/ 76 h 230"/>
                <a:gd name="T32" fmla="*/ 45 w 178"/>
                <a:gd name="T33" fmla="*/ 66 h 230"/>
                <a:gd name="T34" fmla="*/ 45 w 178"/>
                <a:gd name="T35" fmla="*/ 0 h 230"/>
                <a:gd name="T36" fmla="*/ 0 w 178"/>
                <a:gd name="T37" fmla="*/ 0 h 230"/>
                <a:gd name="T38" fmla="*/ 0 w 178"/>
                <a:gd name="T39" fmla="*/ 64 h 230"/>
                <a:gd name="T40" fmla="*/ 0 w 178"/>
                <a:gd name="T41" fmla="*/ 64 h 230"/>
                <a:gd name="T42" fmla="*/ 0 w 178"/>
                <a:gd name="T43" fmla="*/ 74 h 230"/>
                <a:gd name="T44" fmla="*/ 1 w 178"/>
                <a:gd name="T45" fmla="*/ 83 h 230"/>
                <a:gd name="T46" fmla="*/ 3 w 178"/>
                <a:gd name="T47" fmla="*/ 91 h 230"/>
                <a:gd name="T48" fmla="*/ 5 w 178"/>
                <a:gd name="T49" fmla="*/ 99 h 230"/>
                <a:gd name="T50" fmla="*/ 7 w 178"/>
                <a:gd name="T51" fmla="*/ 106 h 230"/>
                <a:gd name="T52" fmla="*/ 11 w 178"/>
                <a:gd name="T53" fmla="*/ 113 h 230"/>
                <a:gd name="T54" fmla="*/ 14 w 178"/>
                <a:gd name="T55" fmla="*/ 119 h 230"/>
                <a:gd name="T56" fmla="*/ 19 w 178"/>
                <a:gd name="T57" fmla="*/ 124 h 230"/>
                <a:gd name="T58" fmla="*/ 24 w 178"/>
                <a:gd name="T59" fmla="*/ 129 h 230"/>
                <a:gd name="T60" fmla="*/ 29 w 178"/>
                <a:gd name="T61" fmla="*/ 133 h 230"/>
                <a:gd name="T62" fmla="*/ 35 w 178"/>
                <a:gd name="T63" fmla="*/ 137 h 230"/>
                <a:gd name="T64" fmla="*/ 42 w 178"/>
                <a:gd name="T65" fmla="*/ 140 h 230"/>
                <a:gd name="T66" fmla="*/ 49 w 178"/>
                <a:gd name="T67" fmla="*/ 142 h 230"/>
                <a:gd name="T68" fmla="*/ 57 w 178"/>
                <a:gd name="T69" fmla="*/ 145 h 230"/>
                <a:gd name="T70" fmla="*/ 65 w 178"/>
                <a:gd name="T71" fmla="*/ 145 h 230"/>
                <a:gd name="T72" fmla="*/ 74 w 178"/>
                <a:gd name="T73" fmla="*/ 146 h 230"/>
                <a:gd name="T74" fmla="*/ 74 w 178"/>
                <a:gd name="T75" fmla="*/ 146 h 230"/>
                <a:gd name="T76" fmla="*/ 91 w 178"/>
                <a:gd name="T77" fmla="*/ 145 h 230"/>
                <a:gd name="T78" fmla="*/ 106 w 178"/>
                <a:gd name="T79" fmla="*/ 141 h 230"/>
                <a:gd name="T80" fmla="*/ 120 w 178"/>
                <a:gd name="T81" fmla="*/ 137 h 230"/>
                <a:gd name="T82" fmla="*/ 133 w 178"/>
                <a:gd name="T83" fmla="*/ 131 h 230"/>
                <a:gd name="T84" fmla="*/ 133 w 178"/>
                <a:gd name="T85" fmla="*/ 230 h 230"/>
                <a:gd name="T86" fmla="*/ 178 w 178"/>
                <a:gd name="T87" fmla="*/ 230 h 230"/>
                <a:gd name="T88" fmla="*/ 178 w 178"/>
                <a:gd name="T8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8" h="230">
                  <a:moveTo>
                    <a:pt x="178" y="0"/>
                  </a:moveTo>
                  <a:lnTo>
                    <a:pt x="133" y="0"/>
                  </a:lnTo>
                  <a:lnTo>
                    <a:pt x="133" y="92"/>
                  </a:lnTo>
                  <a:lnTo>
                    <a:pt x="133" y="92"/>
                  </a:lnTo>
                  <a:lnTo>
                    <a:pt x="123" y="98"/>
                  </a:lnTo>
                  <a:lnTo>
                    <a:pt x="112" y="102"/>
                  </a:lnTo>
                  <a:lnTo>
                    <a:pt x="99" y="105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76" y="105"/>
                  </a:lnTo>
                  <a:lnTo>
                    <a:pt x="68" y="103"/>
                  </a:lnTo>
                  <a:lnTo>
                    <a:pt x="61" y="101"/>
                  </a:lnTo>
                  <a:lnTo>
                    <a:pt x="55" y="97"/>
                  </a:lnTo>
                  <a:lnTo>
                    <a:pt x="51" y="91"/>
                  </a:lnTo>
                  <a:lnTo>
                    <a:pt x="48" y="85"/>
                  </a:lnTo>
                  <a:lnTo>
                    <a:pt x="46" y="76"/>
                  </a:lnTo>
                  <a:lnTo>
                    <a:pt x="45" y="66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4"/>
                  </a:lnTo>
                  <a:lnTo>
                    <a:pt x="1" y="83"/>
                  </a:lnTo>
                  <a:lnTo>
                    <a:pt x="3" y="91"/>
                  </a:lnTo>
                  <a:lnTo>
                    <a:pt x="5" y="99"/>
                  </a:lnTo>
                  <a:lnTo>
                    <a:pt x="7" y="106"/>
                  </a:lnTo>
                  <a:lnTo>
                    <a:pt x="11" y="113"/>
                  </a:lnTo>
                  <a:lnTo>
                    <a:pt x="14" y="119"/>
                  </a:lnTo>
                  <a:lnTo>
                    <a:pt x="19" y="124"/>
                  </a:lnTo>
                  <a:lnTo>
                    <a:pt x="24" y="129"/>
                  </a:lnTo>
                  <a:lnTo>
                    <a:pt x="29" y="133"/>
                  </a:lnTo>
                  <a:lnTo>
                    <a:pt x="35" y="137"/>
                  </a:lnTo>
                  <a:lnTo>
                    <a:pt x="42" y="140"/>
                  </a:lnTo>
                  <a:lnTo>
                    <a:pt x="49" y="142"/>
                  </a:lnTo>
                  <a:lnTo>
                    <a:pt x="57" y="145"/>
                  </a:lnTo>
                  <a:lnTo>
                    <a:pt x="65" y="145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91" y="145"/>
                  </a:lnTo>
                  <a:lnTo>
                    <a:pt x="106" y="141"/>
                  </a:lnTo>
                  <a:lnTo>
                    <a:pt x="120" y="137"/>
                  </a:lnTo>
                  <a:lnTo>
                    <a:pt x="133" y="131"/>
                  </a:lnTo>
                  <a:lnTo>
                    <a:pt x="133" y="230"/>
                  </a:lnTo>
                  <a:lnTo>
                    <a:pt x="178" y="230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7" name="Freeform 136"/>
            <p:cNvSpPr>
              <a:spLocks/>
            </p:cNvSpPr>
            <p:nvPr userDrawn="1"/>
          </p:nvSpPr>
          <p:spPr bwMode="auto">
            <a:xfrm>
              <a:off x="2252663" y="6365876"/>
              <a:ext cx="74613" cy="90488"/>
            </a:xfrm>
            <a:custGeom>
              <a:avLst/>
              <a:gdLst>
                <a:gd name="T0" fmla="*/ 0 w 186"/>
                <a:gd name="T1" fmla="*/ 0 h 230"/>
                <a:gd name="T2" fmla="*/ 0 w 186"/>
                <a:gd name="T3" fmla="*/ 230 h 230"/>
                <a:gd name="T4" fmla="*/ 45 w 186"/>
                <a:gd name="T5" fmla="*/ 230 h 230"/>
                <a:gd name="T6" fmla="*/ 125 w 186"/>
                <a:gd name="T7" fmla="*/ 101 h 230"/>
                <a:gd name="T8" fmla="*/ 125 w 186"/>
                <a:gd name="T9" fmla="*/ 101 h 230"/>
                <a:gd name="T10" fmla="*/ 142 w 186"/>
                <a:gd name="T11" fmla="*/ 72 h 230"/>
                <a:gd name="T12" fmla="*/ 142 w 186"/>
                <a:gd name="T13" fmla="*/ 72 h 230"/>
                <a:gd name="T14" fmla="*/ 142 w 186"/>
                <a:gd name="T15" fmla="*/ 120 h 230"/>
                <a:gd name="T16" fmla="*/ 142 w 186"/>
                <a:gd name="T17" fmla="*/ 230 h 230"/>
                <a:gd name="T18" fmla="*/ 186 w 186"/>
                <a:gd name="T19" fmla="*/ 230 h 230"/>
                <a:gd name="T20" fmla="*/ 186 w 186"/>
                <a:gd name="T21" fmla="*/ 0 h 230"/>
                <a:gd name="T22" fmla="*/ 142 w 186"/>
                <a:gd name="T23" fmla="*/ 0 h 230"/>
                <a:gd name="T24" fmla="*/ 62 w 186"/>
                <a:gd name="T25" fmla="*/ 127 h 230"/>
                <a:gd name="T26" fmla="*/ 62 w 186"/>
                <a:gd name="T27" fmla="*/ 127 h 230"/>
                <a:gd name="T28" fmla="*/ 52 w 186"/>
                <a:gd name="T29" fmla="*/ 143 h 230"/>
                <a:gd name="T30" fmla="*/ 44 w 186"/>
                <a:gd name="T31" fmla="*/ 158 h 230"/>
                <a:gd name="T32" fmla="*/ 44 w 186"/>
                <a:gd name="T33" fmla="*/ 158 h 230"/>
                <a:gd name="T34" fmla="*/ 45 w 186"/>
                <a:gd name="T35" fmla="*/ 108 h 230"/>
                <a:gd name="T36" fmla="*/ 45 w 186"/>
                <a:gd name="T37" fmla="*/ 0 h 230"/>
                <a:gd name="T38" fmla="*/ 0 w 186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6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2" y="120"/>
                  </a:lnTo>
                  <a:lnTo>
                    <a:pt x="142" y="230"/>
                  </a:lnTo>
                  <a:lnTo>
                    <a:pt x="186" y="230"/>
                  </a:lnTo>
                  <a:lnTo>
                    <a:pt x="186" y="0"/>
                  </a:lnTo>
                  <a:lnTo>
                    <a:pt x="142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8" name="Freeform 137"/>
            <p:cNvSpPr>
              <a:spLocks noEditPoints="1"/>
            </p:cNvSpPr>
            <p:nvPr userDrawn="1"/>
          </p:nvSpPr>
          <p:spPr bwMode="auto">
            <a:xfrm>
              <a:off x="2390775" y="6327776"/>
              <a:ext cx="79375" cy="130175"/>
            </a:xfrm>
            <a:custGeom>
              <a:avLst/>
              <a:gdLst>
                <a:gd name="T0" fmla="*/ 159 w 198"/>
                <a:gd name="T1" fmla="*/ 4 h 328"/>
                <a:gd name="T2" fmla="*/ 124 w 198"/>
                <a:gd name="T3" fmla="*/ 5 h 328"/>
                <a:gd name="T4" fmla="*/ 83 w 198"/>
                <a:gd name="T5" fmla="*/ 13 h 328"/>
                <a:gd name="T6" fmla="*/ 48 w 198"/>
                <a:gd name="T7" fmla="*/ 31 h 328"/>
                <a:gd name="T8" fmla="*/ 22 w 198"/>
                <a:gd name="T9" fmla="*/ 59 h 328"/>
                <a:gd name="T10" fmla="*/ 6 w 198"/>
                <a:gd name="T11" fmla="*/ 96 h 328"/>
                <a:gd name="T12" fmla="*/ 0 w 198"/>
                <a:gd name="T13" fmla="*/ 143 h 328"/>
                <a:gd name="T14" fmla="*/ 1 w 198"/>
                <a:gd name="T15" fmla="*/ 223 h 328"/>
                <a:gd name="T16" fmla="*/ 8 w 198"/>
                <a:gd name="T17" fmla="*/ 259 h 328"/>
                <a:gd name="T18" fmla="*/ 22 w 198"/>
                <a:gd name="T19" fmla="*/ 288 h 328"/>
                <a:gd name="T20" fmla="*/ 42 w 198"/>
                <a:gd name="T21" fmla="*/ 310 h 328"/>
                <a:gd name="T22" fmla="*/ 68 w 198"/>
                <a:gd name="T23" fmla="*/ 324 h 328"/>
                <a:gd name="T24" fmla="*/ 98 w 198"/>
                <a:gd name="T25" fmla="*/ 328 h 328"/>
                <a:gd name="T26" fmla="*/ 118 w 198"/>
                <a:gd name="T27" fmla="*/ 326 h 328"/>
                <a:gd name="T28" fmla="*/ 146 w 198"/>
                <a:gd name="T29" fmla="*/ 316 h 328"/>
                <a:gd name="T30" fmla="*/ 169 w 198"/>
                <a:gd name="T31" fmla="*/ 297 h 328"/>
                <a:gd name="T32" fmla="*/ 186 w 198"/>
                <a:gd name="T33" fmla="*/ 271 h 328"/>
                <a:gd name="T34" fmla="*/ 196 w 198"/>
                <a:gd name="T35" fmla="*/ 236 h 328"/>
                <a:gd name="T36" fmla="*/ 198 w 198"/>
                <a:gd name="T37" fmla="*/ 210 h 328"/>
                <a:gd name="T38" fmla="*/ 194 w 198"/>
                <a:gd name="T39" fmla="*/ 173 h 328"/>
                <a:gd name="T40" fmla="*/ 184 w 198"/>
                <a:gd name="T41" fmla="*/ 142 h 328"/>
                <a:gd name="T42" fmla="*/ 167 w 198"/>
                <a:gd name="T43" fmla="*/ 118 h 328"/>
                <a:gd name="T44" fmla="*/ 144 w 198"/>
                <a:gd name="T45" fmla="*/ 102 h 328"/>
                <a:gd name="T46" fmla="*/ 117 w 198"/>
                <a:gd name="T47" fmla="*/ 94 h 328"/>
                <a:gd name="T48" fmla="*/ 96 w 198"/>
                <a:gd name="T49" fmla="*/ 94 h 328"/>
                <a:gd name="T50" fmla="*/ 69 w 198"/>
                <a:gd name="T51" fmla="*/ 103 h 328"/>
                <a:gd name="T52" fmla="*/ 48 w 198"/>
                <a:gd name="T53" fmla="*/ 123 h 328"/>
                <a:gd name="T54" fmla="*/ 42 w 198"/>
                <a:gd name="T55" fmla="*/ 123 h 328"/>
                <a:gd name="T56" fmla="*/ 47 w 198"/>
                <a:gd name="T57" fmla="*/ 97 h 328"/>
                <a:gd name="T58" fmla="*/ 59 w 198"/>
                <a:gd name="T59" fmla="*/ 76 h 328"/>
                <a:gd name="T60" fmla="*/ 78 w 198"/>
                <a:gd name="T61" fmla="*/ 59 h 328"/>
                <a:gd name="T62" fmla="*/ 105 w 198"/>
                <a:gd name="T63" fmla="*/ 48 h 328"/>
                <a:gd name="T64" fmla="*/ 139 w 198"/>
                <a:gd name="T65" fmla="*/ 44 h 328"/>
                <a:gd name="T66" fmla="*/ 162 w 198"/>
                <a:gd name="T67" fmla="*/ 43 h 328"/>
                <a:gd name="T68" fmla="*/ 153 w 198"/>
                <a:gd name="T69" fmla="*/ 211 h 328"/>
                <a:gd name="T70" fmla="*/ 149 w 198"/>
                <a:gd name="T71" fmla="*/ 241 h 328"/>
                <a:gd name="T72" fmla="*/ 135 w 198"/>
                <a:gd name="T73" fmla="*/ 270 h 328"/>
                <a:gd name="T74" fmla="*/ 121 w 198"/>
                <a:gd name="T75" fmla="*/ 281 h 328"/>
                <a:gd name="T76" fmla="*/ 105 w 198"/>
                <a:gd name="T77" fmla="*/ 286 h 328"/>
                <a:gd name="T78" fmla="*/ 93 w 198"/>
                <a:gd name="T79" fmla="*/ 287 h 328"/>
                <a:gd name="T80" fmla="*/ 77 w 198"/>
                <a:gd name="T81" fmla="*/ 282 h 328"/>
                <a:gd name="T82" fmla="*/ 63 w 198"/>
                <a:gd name="T83" fmla="*/ 272 h 328"/>
                <a:gd name="T84" fmla="*/ 53 w 198"/>
                <a:gd name="T85" fmla="*/ 256 h 328"/>
                <a:gd name="T86" fmla="*/ 45 w 198"/>
                <a:gd name="T87" fmla="*/ 227 h 328"/>
                <a:gd name="T88" fmla="*/ 45 w 198"/>
                <a:gd name="T89" fmla="*/ 193 h 328"/>
                <a:gd name="T90" fmla="*/ 55 w 198"/>
                <a:gd name="T91" fmla="*/ 161 h 328"/>
                <a:gd name="T92" fmla="*/ 66 w 198"/>
                <a:gd name="T93" fmla="*/ 147 h 328"/>
                <a:gd name="T94" fmla="*/ 82 w 198"/>
                <a:gd name="T95" fmla="*/ 138 h 328"/>
                <a:gd name="T96" fmla="*/ 101 w 198"/>
                <a:gd name="T97" fmla="*/ 135 h 328"/>
                <a:gd name="T98" fmla="*/ 113 w 198"/>
                <a:gd name="T99" fmla="*/ 136 h 328"/>
                <a:gd name="T100" fmla="*/ 128 w 198"/>
                <a:gd name="T101" fmla="*/ 143 h 328"/>
                <a:gd name="T102" fmla="*/ 139 w 198"/>
                <a:gd name="T103" fmla="*/ 156 h 328"/>
                <a:gd name="T104" fmla="*/ 152 w 198"/>
                <a:gd name="T105" fmla="*/ 194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" h="328">
                  <a:moveTo>
                    <a:pt x="182" y="0"/>
                  </a:moveTo>
                  <a:lnTo>
                    <a:pt x="182" y="0"/>
                  </a:lnTo>
                  <a:lnTo>
                    <a:pt x="159" y="4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24" y="5"/>
                  </a:lnTo>
                  <a:lnTo>
                    <a:pt x="109" y="7"/>
                  </a:lnTo>
                  <a:lnTo>
                    <a:pt x="96" y="10"/>
                  </a:lnTo>
                  <a:lnTo>
                    <a:pt x="83" y="13"/>
                  </a:lnTo>
                  <a:lnTo>
                    <a:pt x="70" y="18"/>
                  </a:lnTo>
                  <a:lnTo>
                    <a:pt x="59" y="24"/>
                  </a:lnTo>
                  <a:lnTo>
                    <a:pt x="48" y="31"/>
                  </a:lnTo>
                  <a:lnTo>
                    <a:pt x="39" y="39"/>
                  </a:lnTo>
                  <a:lnTo>
                    <a:pt x="30" y="48"/>
                  </a:lnTo>
                  <a:lnTo>
                    <a:pt x="22" y="59"/>
                  </a:lnTo>
                  <a:lnTo>
                    <a:pt x="16" y="70"/>
                  </a:lnTo>
                  <a:lnTo>
                    <a:pt x="10" y="82"/>
                  </a:lnTo>
                  <a:lnTo>
                    <a:pt x="6" y="96"/>
                  </a:lnTo>
                  <a:lnTo>
                    <a:pt x="3" y="111"/>
                  </a:lnTo>
                  <a:lnTo>
                    <a:pt x="1" y="126"/>
                  </a:lnTo>
                  <a:lnTo>
                    <a:pt x="0" y="143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" y="223"/>
                  </a:lnTo>
                  <a:lnTo>
                    <a:pt x="2" y="236"/>
                  </a:lnTo>
                  <a:lnTo>
                    <a:pt x="4" y="248"/>
                  </a:lnTo>
                  <a:lnTo>
                    <a:pt x="8" y="259"/>
                  </a:lnTo>
                  <a:lnTo>
                    <a:pt x="12" y="270"/>
                  </a:lnTo>
                  <a:lnTo>
                    <a:pt x="16" y="279"/>
                  </a:lnTo>
                  <a:lnTo>
                    <a:pt x="22" y="288"/>
                  </a:lnTo>
                  <a:lnTo>
                    <a:pt x="28" y="296"/>
                  </a:lnTo>
                  <a:lnTo>
                    <a:pt x="35" y="303"/>
                  </a:lnTo>
                  <a:lnTo>
                    <a:pt x="42" y="310"/>
                  </a:lnTo>
                  <a:lnTo>
                    <a:pt x="50" y="315"/>
                  </a:lnTo>
                  <a:lnTo>
                    <a:pt x="59" y="320"/>
                  </a:lnTo>
                  <a:lnTo>
                    <a:pt x="68" y="324"/>
                  </a:lnTo>
                  <a:lnTo>
                    <a:pt x="78" y="326"/>
                  </a:lnTo>
                  <a:lnTo>
                    <a:pt x="87" y="328"/>
                  </a:lnTo>
                  <a:lnTo>
                    <a:pt x="98" y="328"/>
                  </a:lnTo>
                  <a:lnTo>
                    <a:pt x="98" y="328"/>
                  </a:lnTo>
                  <a:lnTo>
                    <a:pt x="108" y="328"/>
                  </a:lnTo>
                  <a:lnTo>
                    <a:pt x="118" y="326"/>
                  </a:lnTo>
                  <a:lnTo>
                    <a:pt x="128" y="324"/>
                  </a:lnTo>
                  <a:lnTo>
                    <a:pt x="138" y="320"/>
                  </a:lnTo>
                  <a:lnTo>
                    <a:pt x="146" y="316"/>
                  </a:lnTo>
                  <a:lnTo>
                    <a:pt x="155" y="311"/>
                  </a:lnTo>
                  <a:lnTo>
                    <a:pt x="162" y="304"/>
                  </a:lnTo>
                  <a:lnTo>
                    <a:pt x="169" y="297"/>
                  </a:lnTo>
                  <a:lnTo>
                    <a:pt x="176" y="289"/>
                  </a:lnTo>
                  <a:lnTo>
                    <a:pt x="181" y="280"/>
                  </a:lnTo>
                  <a:lnTo>
                    <a:pt x="186" y="271"/>
                  </a:lnTo>
                  <a:lnTo>
                    <a:pt x="190" y="260"/>
                  </a:lnTo>
                  <a:lnTo>
                    <a:pt x="194" y="249"/>
                  </a:lnTo>
                  <a:lnTo>
                    <a:pt x="196" y="236"/>
                  </a:lnTo>
                  <a:lnTo>
                    <a:pt x="198" y="223"/>
                  </a:lnTo>
                  <a:lnTo>
                    <a:pt x="198" y="210"/>
                  </a:lnTo>
                  <a:lnTo>
                    <a:pt x="198" y="210"/>
                  </a:lnTo>
                  <a:lnTo>
                    <a:pt x="198" y="197"/>
                  </a:lnTo>
                  <a:lnTo>
                    <a:pt x="196" y="184"/>
                  </a:lnTo>
                  <a:lnTo>
                    <a:pt x="194" y="173"/>
                  </a:lnTo>
                  <a:lnTo>
                    <a:pt x="191" y="162"/>
                  </a:lnTo>
                  <a:lnTo>
                    <a:pt x="188" y="152"/>
                  </a:lnTo>
                  <a:lnTo>
                    <a:pt x="184" y="142"/>
                  </a:lnTo>
                  <a:lnTo>
                    <a:pt x="179" y="133"/>
                  </a:lnTo>
                  <a:lnTo>
                    <a:pt x="173" y="125"/>
                  </a:lnTo>
                  <a:lnTo>
                    <a:pt x="167" y="118"/>
                  </a:lnTo>
                  <a:lnTo>
                    <a:pt x="160" y="112"/>
                  </a:lnTo>
                  <a:lnTo>
                    <a:pt x="152" y="106"/>
                  </a:lnTo>
                  <a:lnTo>
                    <a:pt x="144" y="102"/>
                  </a:lnTo>
                  <a:lnTo>
                    <a:pt x="135" y="98"/>
                  </a:lnTo>
                  <a:lnTo>
                    <a:pt x="126" y="96"/>
                  </a:lnTo>
                  <a:lnTo>
                    <a:pt x="117" y="94"/>
                  </a:lnTo>
                  <a:lnTo>
                    <a:pt x="106" y="94"/>
                  </a:lnTo>
                  <a:lnTo>
                    <a:pt x="106" y="94"/>
                  </a:lnTo>
                  <a:lnTo>
                    <a:pt x="96" y="94"/>
                  </a:lnTo>
                  <a:lnTo>
                    <a:pt x="87" y="96"/>
                  </a:lnTo>
                  <a:lnTo>
                    <a:pt x="78" y="99"/>
                  </a:lnTo>
                  <a:lnTo>
                    <a:pt x="69" y="103"/>
                  </a:lnTo>
                  <a:lnTo>
                    <a:pt x="62" y="108"/>
                  </a:lnTo>
                  <a:lnTo>
                    <a:pt x="54" y="115"/>
                  </a:lnTo>
                  <a:lnTo>
                    <a:pt x="48" y="123"/>
                  </a:lnTo>
                  <a:lnTo>
                    <a:pt x="42" y="133"/>
                  </a:lnTo>
                  <a:lnTo>
                    <a:pt x="42" y="133"/>
                  </a:lnTo>
                  <a:lnTo>
                    <a:pt x="42" y="123"/>
                  </a:lnTo>
                  <a:lnTo>
                    <a:pt x="43" y="114"/>
                  </a:lnTo>
                  <a:lnTo>
                    <a:pt x="45" y="106"/>
                  </a:lnTo>
                  <a:lnTo>
                    <a:pt x="47" y="97"/>
                  </a:lnTo>
                  <a:lnTo>
                    <a:pt x="50" y="90"/>
                  </a:lnTo>
                  <a:lnTo>
                    <a:pt x="54" y="82"/>
                  </a:lnTo>
                  <a:lnTo>
                    <a:pt x="59" y="76"/>
                  </a:lnTo>
                  <a:lnTo>
                    <a:pt x="65" y="69"/>
                  </a:lnTo>
                  <a:lnTo>
                    <a:pt x="71" y="64"/>
                  </a:lnTo>
                  <a:lnTo>
                    <a:pt x="78" y="59"/>
                  </a:lnTo>
                  <a:lnTo>
                    <a:pt x="86" y="54"/>
                  </a:lnTo>
                  <a:lnTo>
                    <a:pt x="95" y="51"/>
                  </a:lnTo>
                  <a:lnTo>
                    <a:pt x="105" y="48"/>
                  </a:lnTo>
                  <a:lnTo>
                    <a:pt x="115" y="46"/>
                  </a:lnTo>
                  <a:lnTo>
                    <a:pt x="127" y="44"/>
                  </a:lnTo>
                  <a:lnTo>
                    <a:pt x="139" y="44"/>
                  </a:lnTo>
                  <a:lnTo>
                    <a:pt x="139" y="44"/>
                  </a:lnTo>
                  <a:lnTo>
                    <a:pt x="151" y="44"/>
                  </a:lnTo>
                  <a:lnTo>
                    <a:pt x="162" y="43"/>
                  </a:lnTo>
                  <a:lnTo>
                    <a:pt x="182" y="40"/>
                  </a:lnTo>
                  <a:lnTo>
                    <a:pt x="182" y="0"/>
                  </a:lnTo>
                  <a:close/>
                  <a:moveTo>
                    <a:pt x="153" y="211"/>
                  </a:moveTo>
                  <a:lnTo>
                    <a:pt x="153" y="211"/>
                  </a:lnTo>
                  <a:lnTo>
                    <a:pt x="152" y="226"/>
                  </a:lnTo>
                  <a:lnTo>
                    <a:pt x="149" y="241"/>
                  </a:lnTo>
                  <a:lnTo>
                    <a:pt x="145" y="254"/>
                  </a:lnTo>
                  <a:lnTo>
                    <a:pt x="138" y="265"/>
                  </a:lnTo>
                  <a:lnTo>
                    <a:pt x="135" y="270"/>
                  </a:lnTo>
                  <a:lnTo>
                    <a:pt x="131" y="274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16" y="283"/>
                  </a:lnTo>
                  <a:lnTo>
                    <a:pt x="111" y="285"/>
                  </a:lnTo>
                  <a:lnTo>
                    <a:pt x="105" y="286"/>
                  </a:lnTo>
                  <a:lnTo>
                    <a:pt x="99" y="287"/>
                  </a:lnTo>
                  <a:lnTo>
                    <a:pt x="99" y="287"/>
                  </a:lnTo>
                  <a:lnTo>
                    <a:pt x="93" y="287"/>
                  </a:lnTo>
                  <a:lnTo>
                    <a:pt x="87" y="286"/>
                  </a:lnTo>
                  <a:lnTo>
                    <a:pt x="82" y="284"/>
                  </a:lnTo>
                  <a:lnTo>
                    <a:pt x="77" y="282"/>
                  </a:lnTo>
                  <a:lnTo>
                    <a:pt x="72" y="279"/>
                  </a:lnTo>
                  <a:lnTo>
                    <a:pt x="67" y="276"/>
                  </a:lnTo>
                  <a:lnTo>
                    <a:pt x="63" y="272"/>
                  </a:lnTo>
                  <a:lnTo>
                    <a:pt x="59" y="267"/>
                  </a:lnTo>
                  <a:lnTo>
                    <a:pt x="56" y="262"/>
                  </a:lnTo>
                  <a:lnTo>
                    <a:pt x="53" y="256"/>
                  </a:lnTo>
                  <a:lnTo>
                    <a:pt x="50" y="250"/>
                  </a:lnTo>
                  <a:lnTo>
                    <a:pt x="48" y="243"/>
                  </a:lnTo>
                  <a:lnTo>
                    <a:pt x="45" y="227"/>
                  </a:lnTo>
                  <a:lnTo>
                    <a:pt x="44" y="209"/>
                  </a:lnTo>
                  <a:lnTo>
                    <a:pt x="44" y="209"/>
                  </a:lnTo>
                  <a:lnTo>
                    <a:pt x="45" y="193"/>
                  </a:lnTo>
                  <a:lnTo>
                    <a:pt x="48" y="179"/>
                  </a:lnTo>
                  <a:lnTo>
                    <a:pt x="52" y="166"/>
                  </a:lnTo>
                  <a:lnTo>
                    <a:pt x="55" y="161"/>
                  </a:lnTo>
                  <a:lnTo>
                    <a:pt x="58" y="155"/>
                  </a:lnTo>
                  <a:lnTo>
                    <a:pt x="62" y="151"/>
                  </a:lnTo>
                  <a:lnTo>
                    <a:pt x="66" y="147"/>
                  </a:lnTo>
                  <a:lnTo>
                    <a:pt x="71" y="143"/>
                  </a:lnTo>
                  <a:lnTo>
                    <a:pt x="76" y="140"/>
                  </a:lnTo>
                  <a:lnTo>
                    <a:pt x="82" y="138"/>
                  </a:lnTo>
                  <a:lnTo>
                    <a:pt x="88" y="136"/>
                  </a:lnTo>
                  <a:lnTo>
                    <a:pt x="94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7" y="135"/>
                  </a:lnTo>
                  <a:lnTo>
                    <a:pt x="113" y="136"/>
                  </a:lnTo>
                  <a:lnTo>
                    <a:pt x="118" y="138"/>
                  </a:lnTo>
                  <a:lnTo>
                    <a:pt x="123" y="140"/>
                  </a:lnTo>
                  <a:lnTo>
                    <a:pt x="128" y="143"/>
                  </a:lnTo>
                  <a:lnTo>
                    <a:pt x="132" y="147"/>
                  </a:lnTo>
                  <a:lnTo>
                    <a:pt x="136" y="151"/>
                  </a:lnTo>
                  <a:lnTo>
                    <a:pt x="139" y="156"/>
                  </a:lnTo>
                  <a:lnTo>
                    <a:pt x="145" y="167"/>
                  </a:lnTo>
                  <a:lnTo>
                    <a:pt x="150" y="180"/>
                  </a:lnTo>
                  <a:lnTo>
                    <a:pt x="152" y="194"/>
                  </a:lnTo>
                  <a:lnTo>
                    <a:pt x="153" y="211"/>
                  </a:lnTo>
                  <a:lnTo>
                    <a:pt x="153" y="2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39" name="Freeform 138"/>
            <p:cNvSpPr>
              <a:spLocks/>
            </p:cNvSpPr>
            <p:nvPr userDrawn="1"/>
          </p:nvSpPr>
          <p:spPr bwMode="auto">
            <a:xfrm>
              <a:off x="2489200" y="6365876"/>
              <a:ext cx="74613" cy="90488"/>
            </a:xfrm>
            <a:custGeom>
              <a:avLst/>
              <a:gdLst>
                <a:gd name="T0" fmla="*/ 0 w 188"/>
                <a:gd name="T1" fmla="*/ 0 h 230"/>
                <a:gd name="T2" fmla="*/ 0 w 188"/>
                <a:gd name="T3" fmla="*/ 230 h 230"/>
                <a:gd name="T4" fmla="*/ 45 w 188"/>
                <a:gd name="T5" fmla="*/ 230 h 230"/>
                <a:gd name="T6" fmla="*/ 126 w 188"/>
                <a:gd name="T7" fmla="*/ 101 h 230"/>
                <a:gd name="T8" fmla="*/ 126 w 188"/>
                <a:gd name="T9" fmla="*/ 101 h 230"/>
                <a:gd name="T10" fmla="*/ 143 w 188"/>
                <a:gd name="T11" fmla="*/ 72 h 230"/>
                <a:gd name="T12" fmla="*/ 143 w 188"/>
                <a:gd name="T13" fmla="*/ 72 h 230"/>
                <a:gd name="T14" fmla="*/ 143 w 188"/>
                <a:gd name="T15" fmla="*/ 120 h 230"/>
                <a:gd name="T16" fmla="*/ 143 w 188"/>
                <a:gd name="T17" fmla="*/ 230 h 230"/>
                <a:gd name="T18" fmla="*/ 188 w 188"/>
                <a:gd name="T19" fmla="*/ 230 h 230"/>
                <a:gd name="T20" fmla="*/ 188 w 188"/>
                <a:gd name="T21" fmla="*/ 0 h 230"/>
                <a:gd name="T22" fmla="*/ 143 w 188"/>
                <a:gd name="T23" fmla="*/ 0 h 230"/>
                <a:gd name="T24" fmla="*/ 62 w 188"/>
                <a:gd name="T25" fmla="*/ 127 h 230"/>
                <a:gd name="T26" fmla="*/ 62 w 188"/>
                <a:gd name="T27" fmla="*/ 127 h 230"/>
                <a:gd name="T28" fmla="*/ 52 w 188"/>
                <a:gd name="T29" fmla="*/ 143 h 230"/>
                <a:gd name="T30" fmla="*/ 45 w 188"/>
                <a:gd name="T31" fmla="*/ 158 h 230"/>
                <a:gd name="T32" fmla="*/ 45 w 188"/>
                <a:gd name="T33" fmla="*/ 158 h 230"/>
                <a:gd name="T34" fmla="*/ 45 w 188"/>
                <a:gd name="T35" fmla="*/ 108 h 230"/>
                <a:gd name="T36" fmla="*/ 45 w 188"/>
                <a:gd name="T37" fmla="*/ 0 h 230"/>
                <a:gd name="T38" fmla="*/ 0 w 188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8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3" y="120"/>
                  </a:lnTo>
                  <a:lnTo>
                    <a:pt x="143" y="230"/>
                  </a:lnTo>
                  <a:lnTo>
                    <a:pt x="188" y="230"/>
                  </a:lnTo>
                  <a:lnTo>
                    <a:pt x="188" y="0"/>
                  </a:lnTo>
                  <a:lnTo>
                    <a:pt x="143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5" y="158"/>
                  </a:lnTo>
                  <a:lnTo>
                    <a:pt x="45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0" name="Freeform 139"/>
            <p:cNvSpPr>
              <a:spLocks/>
            </p:cNvSpPr>
            <p:nvPr userDrawn="1"/>
          </p:nvSpPr>
          <p:spPr bwMode="auto">
            <a:xfrm>
              <a:off x="2578100" y="6362701"/>
              <a:ext cx="69850" cy="95250"/>
            </a:xfrm>
            <a:custGeom>
              <a:avLst/>
              <a:gdLst>
                <a:gd name="T0" fmla="*/ 93 w 177"/>
                <a:gd name="T1" fmla="*/ 131 h 239"/>
                <a:gd name="T2" fmla="*/ 117 w 177"/>
                <a:gd name="T3" fmla="*/ 137 h 239"/>
                <a:gd name="T4" fmla="*/ 130 w 177"/>
                <a:gd name="T5" fmla="*/ 153 h 239"/>
                <a:gd name="T6" fmla="*/ 132 w 177"/>
                <a:gd name="T7" fmla="*/ 166 h 239"/>
                <a:gd name="T8" fmla="*/ 126 w 177"/>
                <a:gd name="T9" fmla="*/ 185 h 239"/>
                <a:gd name="T10" fmla="*/ 106 w 177"/>
                <a:gd name="T11" fmla="*/ 198 h 239"/>
                <a:gd name="T12" fmla="*/ 85 w 177"/>
                <a:gd name="T13" fmla="*/ 201 h 239"/>
                <a:gd name="T14" fmla="*/ 61 w 177"/>
                <a:gd name="T15" fmla="*/ 197 h 239"/>
                <a:gd name="T16" fmla="*/ 36 w 177"/>
                <a:gd name="T17" fmla="*/ 187 h 239"/>
                <a:gd name="T18" fmla="*/ 0 w 177"/>
                <a:gd name="T19" fmla="*/ 210 h 239"/>
                <a:gd name="T20" fmla="*/ 18 w 177"/>
                <a:gd name="T21" fmla="*/ 222 h 239"/>
                <a:gd name="T22" fmla="*/ 50 w 177"/>
                <a:gd name="T23" fmla="*/ 235 h 239"/>
                <a:gd name="T24" fmla="*/ 83 w 177"/>
                <a:gd name="T25" fmla="*/ 239 h 239"/>
                <a:gd name="T26" fmla="*/ 106 w 177"/>
                <a:gd name="T27" fmla="*/ 238 h 239"/>
                <a:gd name="T28" fmla="*/ 134 w 177"/>
                <a:gd name="T29" fmla="*/ 231 h 239"/>
                <a:gd name="T30" fmla="*/ 154 w 177"/>
                <a:gd name="T31" fmla="*/ 218 h 239"/>
                <a:gd name="T32" fmla="*/ 168 w 177"/>
                <a:gd name="T33" fmla="*/ 202 h 239"/>
                <a:gd name="T34" fmla="*/ 176 w 177"/>
                <a:gd name="T35" fmla="*/ 182 h 239"/>
                <a:gd name="T36" fmla="*/ 177 w 177"/>
                <a:gd name="T37" fmla="*/ 168 h 239"/>
                <a:gd name="T38" fmla="*/ 168 w 177"/>
                <a:gd name="T39" fmla="*/ 137 h 239"/>
                <a:gd name="T40" fmla="*/ 149 w 177"/>
                <a:gd name="T41" fmla="*/ 118 h 239"/>
                <a:gd name="T42" fmla="*/ 133 w 177"/>
                <a:gd name="T43" fmla="*/ 112 h 239"/>
                <a:gd name="T44" fmla="*/ 154 w 177"/>
                <a:gd name="T45" fmla="*/ 99 h 239"/>
                <a:gd name="T46" fmla="*/ 167 w 177"/>
                <a:gd name="T47" fmla="*/ 80 h 239"/>
                <a:gd name="T48" fmla="*/ 170 w 177"/>
                <a:gd name="T49" fmla="*/ 64 h 239"/>
                <a:gd name="T50" fmla="*/ 167 w 177"/>
                <a:gd name="T51" fmla="*/ 45 h 239"/>
                <a:gd name="T52" fmla="*/ 159 w 177"/>
                <a:gd name="T53" fmla="*/ 28 h 239"/>
                <a:gd name="T54" fmla="*/ 144 w 177"/>
                <a:gd name="T55" fmla="*/ 15 h 239"/>
                <a:gd name="T56" fmla="*/ 123 w 177"/>
                <a:gd name="T57" fmla="*/ 5 h 239"/>
                <a:gd name="T58" fmla="*/ 96 w 177"/>
                <a:gd name="T59" fmla="*/ 0 h 239"/>
                <a:gd name="T60" fmla="*/ 74 w 177"/>
                <a:gd name="T61" fmla="*/ 0 h 239"/>
                <a:gd name="T62" fmla="*/ 43 w 177"/>
                <a:gd name="T63" fmla="*/ 7 h 239"/>
                <a:gd name="T64" fmla="*/ 15 w 177"/>
                <a:gd name="T65" fmla="*/ 20 h 239"/>
                <a:gd name="T66" fmla="*/ 27 w 177"/>
                <a:gd name="T67" fmla="*/ 60 h 239"/>
                <a:gd name="T68" fmla="*/ 56 w 177"/>
                <a:gd name="T69" fmla="*/ 44 h 239"/>
                <a:gd name="T70" fmla="*/ 79 w 177"/>
                <a:gd name="T71" fmla="*/ 39 h 239"/>
                <a:gd name="T72" fmla="*/ 97 w 177"/>
                <a:gd name="T73" fmla="*/ 39 h 239"/>
                <a:gd name="T74" fmla="*/ 117 w 177"/>
                <a:gd name="T75" fmla="*/ 47 h 239"/>
                <a:gd name="T76" fmla="*/ 125 w 177"/>
                <a:gd name="T77" fmla="*/ 62 h 239"/>
                <a:gd name="T78" fmla="*/ 125 w 177"/>
                <a:gd name="T79" fmla="*/ 72 h 239"/>
                <a:gd name="T80" fmla="*/ 118 w 177"/>
                <a:gd name="T81" fmla="*/ 86 h 239"/>
                <a:gd name="T82" fmla="*/ 99 w 177"/>
                <a:gd name="T83" fmla="*/ 94 h 239"/>
                <a:gd name="T84" fmla="*/ 61 w 177"/>
                <a:gd name="T85" fmla="*/ 13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7" h="239">
                  <a:moveTo>
                    <a:pt x="61" y="131"/>
                  </a:moveTo>
                  <a:lnTo>
                    <a:pt x="93" y="131"/>
                  </a:lnTo>
                  <a:lnTo>
                    <a:pt x="93" y="131"/>
                  </a:lnTo>
                  <a:lnTo>
                    <a:pt x="102" y="132"/>
                  </a:lnTo>
                  <a:lnTo>
                    <a:pt x="111" y="134"/>
                  </a:lnTo>
                  <a:lnTo>
                    <a:pt x="117" y="137"/>
                  </a:lnTo>
                  <a:lnTo>
                    <a:pt x="123" y="142"/>
                  </a:lnTo>
                  <a:lnTo>
                    <a:pt x="127" y="147"/>
                  </a:lnTo>
                  <a:lnTo>
                    <a:pt x="130" y="153"/>
                  </a:lnTo>
                  <a:lnTo>
                    <a:pt x="131" y="159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1" y="173"/>
                  </a:lnTo>
                  <a:lnTo>
                    <a:pt x="129" y="179"/>
                  </a:lnTo>
                  <a:lnTo>
                    <a:pt x="126" y="185"/>
                  </a:lnTo>
                  <a:lnTo>
                    <a:pt x="121" y="190"/>
                  </a:lnTo>
                  <a:lnTo>
                    <a:pt x="115" y="194"/>
                  </a:lnTo>
                  <a:lnTo>
                    <a:pt x="106" y="198"/>
                  </a:lnTo>
                  <a:lnTo>
                    <a:pt x="97" y="200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77" y="200"/>
                  </a:lnTo>
                  <a:lnTo>
                    <a:pt x="69" y="199"/>
                  </a:lnTo>
                  <a:lnTo>
                    <a:pt x="61" y="197"/>
                  </a:lnTo>
                  <a:lnTo>
                    <a:pt x="53" y="194"/>
                  </a:lnTo>
                  <a:lnTo>
                    <a:pt x="44" y="191"/>
                  </a:lnTo>
                  <a:lnTo>
                    <a:pt x="36" y="187"/>
                  </a:lnTo>
                  <a:lnTo>
                    <a:pt x="28" y="182"/>
                  </a:lnTo>
                  <a:lnTo>
                    <a:pt x="20" y="17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9" y="216"/>
                  </a:lnTo>
                  <a:lnTo>
                    <a:pt x="18" y="222"/>
                  </a:lnTo>
                  <a:lnTo>
                    <a:pt x="28" y="227"/>
                  </a:lnTo>
                  <a:lnTo>
                    <a:pt x="39" y="231"/>
                  </a:lnTo>
                  <a:lnTo>
                    <a:pt x="50" y="235"/>
                  </a:lnTo>
                  <a:lnTo>
                    <a:pt x="61" y="237"/>
                  </a:lnTo>
                  <a:lnTo>
                    <a:pt x="72" y="239"/>
                  </a:lnTo>
                  <a:lnTo>
                    <a:pt x="83" y="239"/>
                  </a:lnTo>
                  <a:lnTo>
                    <a:pt x="83" y="239"/>
                  </a:lnTo>
                  <a:lnTo>
                    <a:pt x="95" y="239"/>
                  </a:lnTo>
                  <a:lnTo>
                    <a:pt x="106" y="238"/>
                  </a:lnTo>
                  <a:lnTo>
                    <a:pt x="116" y="236"/>
                  </a:lnTo>
                  <a:lnTo>
                    <a:pt x="125" y="234"/>
                  </a:lnTo>
                  <a:lnTo>
                    <a:pt x="134" y="231"/>
                  </a:lnTo>
                  <a:lnTo>
                    <a:pt x="141" y="227"/>
                  </a:lnTo>
                  <a:lnTo>
                    <a:pt x="148" y="223"/>
                  </a:lnTo>
                  <a:lnTo>
                    <a:pt x="154" y="218"/>
                  </a:lnTo>
                  <a:lnTo>
                    <a:pt x="160" y="213"/>
                  </a:lnTo>
                  <a:lnTo>
                    <a:pt x="164" y="208"/>
                  </a:lnTo>
                  <a:lnTo>
                    <a:pt x="168" y="202"/>
                  </a:lnTo>
                  <a:lnTo>
                    <a:pt x="171" y="196"/>
                  </a:lnTo>
                  <a:lnTo>
                    <a:pt x="174" y="189"/>
                  </a:lnTo>
                  <a:lnTo>
                    <a:pt x="176" y="182"/>
                  </a:lnTo>
                  <a:lnTo>
                    <a:pt x="177" y="175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76" y="157"/>
                  </a:lnTo>
                  <a:lnTo>
                    <a:pt x="173" y="145"/>
                  </a:lnTo>
                  <a:lnTo>
                    <a:pt x="168" y="137"/>
                  </a:lnTo>
                  <a:lnTo>
                    <a:pt x="163" y="129"/>
                  </a:lnTo>
                  <a:lnTo>
                    <a:pt x="156" y="123"/>
                  </a:lnTo>
                  <a:lnTo>
                    <a:pt x="149" y="118"/>
                  </a:lnTo>
                  <a:lnTo>
                    <a:pt x="141" y="114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41" y="108"/>
                  </a:lnTo>
                  <a:lnTo>
                    <a:pt x="148" y="104"/>
                  </a:lnTo>
                  <a:lnTo>
                    <a:pt x="154" y="99"/>
                  </a:lnTo>
                  <a:lnTo>
                    <a:pt x="159" y="94"/>
                  </a:lnTo>
                  <a:lnTo>
                    <a:pt x="164" y="88"/>
                  </a:lnTo>
                  <a:lnTo>
                    <a:pt x="167" y="80"/>
                  </a:lnTo>
                  <a:lnTo>
                    <a:pt x="169" y="73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70" y="57"/>
                  </a:lnTo>
                  <a:lnTo>
                    <a:pt x="169" y="51"/>
                  </a:lnTo>
                  <a:lnTo>
                    <a:pt x="167" y="45"/>
                  </a:lnTo>
                  <a:lnTo>
                    <a:pt x="165" y="39"/>
                  </a:lnTo>
                  <a:lnTo>
                    <a:pt x="162" y="34"/>
                  </a:lnTo>
                  <a:lnTo>
                    <a:pt x="159" y="28"/>
                  </a:lnTo>
                  <a:lnTo>
                    <a:pt x="155" y="23"/>
                  </a:lnTo>
                  <a:lnTo>
                    <a:pt x="150" y="19"/>
                  </a:lnTo>
                  <a:lnTo>
                    <a:pt x="144" y="15"/>
                  </a:lnTo>
                  <a:lnTo>
                    <a:pt x="138" y="11"/>
                  </a:lnTo>
                  <a:lnTo>
                    <a:pt x="131" y="8"/>
                  </a:lnTo>
                  <a:lnTo>
                    <a:pt x="123" y="5"/>
                  </a:lnTo>
                  <a:lnTo>
                    <a:pt x="115" y="3"/>
                  </a:lnTo>
                  <a:lnTo>
                    <a:pt x="106" y="1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74" y="0"/>
                  </a:lnTo>
                  <a:lnTo>
                    <a:pt x="64" y="2"/>
                  </a:lnTo>
                  <a:lnTo>
                    <a:pt x="53" y="4"/>
                  </a:lnTo>
                  <a:lnTo>
                    <a:pt x="43" y="7"/>
                  </a:lnTo>
                  <a:lnTo>
                    <a:pt x="33" y="11"/>
                  </a:lnTo>
                  <a:lnTo>
                    <a:pt x="24" y="15"/>
                  </a:lnTo>
                  <a:lnTo>
                    <a:pt x="15" y="20"/>
                  </a:lnTo>
                  <a:lnTo>
                    <a:pt x="7" y="25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41" y="50"/>
                  </a:lnTo>
                  <a:lnTo>
                    <a:pt x="49" y="47"/>
                  </a:lnTo>
                  <a:lnTo>
                    <a:pt x="56" y="44"/>
                  </a:lnTo>
                  <a:lnTo>
                    <a:pt x="63" y="42"/>
                  </a:lnTo>
                  <a:lnTo>
                    <a:pt x="71" y="40"/>
                  </a:lnTo>
                  <a:lnTo>
                    <a:pt x="79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5" y="41"/>
                  </a:lnTo>
                  <a:lnTo>
                    <a:pt x="111" y="44"/>
                  </a:lnTo>
                  <a:lnTo>
                    <a:pt x="117" y="47"/>
                  </a:lnTo>
                  <a:lnTo>
                    <a:pt x="121" y="52"/>
                  </a:lnTo>
                  <a:lnTo>
                    <a:pt x="124" y="56"/>
                  </a:lnTo>
                  <a:lnTo>
                    <a:pt x="125" y="62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5" y="72"/>
                  </a:lnTo>
                  <a:lnTo>
                    <a:pt x="124" y="77"/>
                  </a:lnTo>
                  <a:lnTo>
                    <a:pt x="121" y="82"/>
                  </a:lnTo>
                  <a:lnTo>
                    <a:pt x="118" y="86"/>
                  </a:lnTo>
                  <a:lnTo>
                    <a:pt x="113" y="89"/>
                  </a:lnTo>
                  <a:lnTo>
                    <a:pt x="107" y="92"/>
                  </a:lnTo>
                  <a:lnTo>
                    <a:pt x="99" y="94"/>
                  </a:lnTo>
                  <a:lnTo>
                    <a:pt x="91" y="94"/>
                  </a:lnTo>
                  <a:lnTo>
                    <a:pt x="61" y="94"/>
                  </a:lnTo>
                  <a:lnTo>
                    <a:pt x="61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1" name="Freeform 140"/>
            <p:cNvSpPr>
              <a:spLocks/>
            </p:cNvSpPr>
            <p:nvPr userDrawn="1"/>
          </p:nvSpPr>
          <p:spPr bwMode="auto">
            <a:xfrm>
              <a:off x="2665413" y="6365876"/>
              <a:ext cx="73025" cy="90488"/>
            </a:xfrm>
            <a:custGeom>
              <a:avLst/>
              <a:gdLst>
                <a:gd name="T0" fmla="*/ 139 w 185"/>
                <a:gd name="T1" fmla="*/ 0 h 230"/>
                <a:gd name="T2" fmla="*/ 139 w 185"/>
                <a:gd name="T3" fmla="*/ 87 h 230"/>
                <a:gd name="T4" fmla="*/ 45 w 185"/>
                <a:gd name="T5" fmla="*/ 87 h 230"/>
                <a:gd name="T6" fmla="*/ 45 w 185"/>
                <a:gd name="T7" fmla="*/ 0 h 230"/>
                <a:gd name="T8" fmla="*/ 0 w 185"/>
                <a:gd name="T9" fmla="*/ 0 h 230"/>
                <a:gd name="T10" fmla="*/ 0 w 185"/>
                <a:gd name="T11" fmla="*/ 230 h 230"/>
                <a:gd name="T12" fmla="*/ 45 w 185"/>
                <a:gd name="T13" fmla="*/ 230 h 230"/>
                <a:gd name="T14" fmla="*/ 45 w 185"/>
                <a:gd name="T15" fmla="*/ 126 h 230"/>
                <a:gd name="T16" fmla="*/ 139 w 185"/>
                <a:gd name="T17" fmla="*/ 126 h 230"/>
                <a:gd name="T18" fmla="*/ 139 w 185"/>
                <a:gd name="T19" fmla="*/ 230 h 230"/>
                <a:gd name="T20" fmla="*/ 185 w 185"/>
                <a:gd name="T21" fmla="*/ 230 h 230"/>
                <a:gd name="T22" fmla="*/ 185 w 185"/>
                <a:gd name="T23" fmla="*/ 0 h 230"/>
                <a:gd name="T24" fmla="*/ 139 w 185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5" h="230">
                  <a:moveTo>
                    <a:pt x="139" y="0"/>
                  </a:moveTo>
                  <a:lnTo>
                    <a:pt x="139" y="87"/>
                  </a:lnTo>
                  <a:lnTo>
                    <a:pt x="45" y="87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5" y="230"/>
                  </a:lnTo>
                  <a:lnTo>
                    <a:pt x="45" y="126"/>
                  </a:lnTo>
                  <a:lnTo>
                    <a:pt x="139" y="126"/>
                  </a:lnTo>
                  <a:lnTo>
                    <a:pt x="139" y="230"/>
                  </a:lnTo>
                  <a:lnTo>
                    <a:pt x="185" y="230"/>
                  </a:lnTo>
                  <a:lnTo>
                    <a:pt x="185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2" name="Freeform 141"/>
            <p:cNvSpPr>
              <a:spLocks noEditPoints="1"/>
            </p:cNvSpPr>
            <p:nvPr userDrawn="1"/>
          </p:nvSpPr>
          <p:spPr bwMode="auto">
            <a:xfrm>
              <a:off x="2757488" y="6362701"/>
              <a:ext cx="77788" cy="95250"/>
            </a:xfrm>
            <a:custGeom>
              <a:avLst/>
              <a:gdLst>
                <a:gd name="T0" fmla="*/ 197 w 197"/>
                <a:gd name="T1" fmla="*/ 114 h 239"/>
                <a:gd name="T2" fmla="*/ 195 w 197"/>
                <a:gd name="T3" fmla="*/ 92 h 239"/>
                <a:gd name="T4" fmla="*/ 191 w 197"/>
                <a:gd name="T5" fmla="*/ 70 h 239"/>
                <a:gd name="T6" fmla="*/ 183 w 197"/>
                <a:gd name="T7" fmla="*/ 51 h 239"/>
                <a:gd name="T8" fmla="*/ 173 w 197"/>
                <a:gd name="T9" fmla="*/ 34 h 239"/>
                <a:gd name="T10" fmla="*/ 159 w 197"/>
                <a:gd name="T11" fmla="*/ 20 h 239"/>
                <a:gd name="T12" fmla="*/ 143 w 197"/>
                <a:gd name="T13" fmla="*/ 9 h 239"/>
                <a:gd name="T14" fmla="*/ 123 w 197"/>
                <a:gd name="T15" fmla="*/ 2 h 239"/>
                <a:gd name="T16" fmla="*/ 100 w 197"/>
                <a:gd name="T17" fmla="*/ 0 h 239"/>
                <a:gd name="T18" fmla="*/ 89 w 197"/>
                <a:gd name="T19" fmla="*/ 0 h 239"/>
                <a:gd name="T20" fmla="*/ 69 w 197"/>
                <a:gd name="T21" fmla="*/ 4 h 239"/>
                <a:gd name="T22" fmla="*/ 51 w 197"/>
                <a:gd name="T23" fmla="*/ 12 h 239"/>
                <a:gd name="T24" fmla="*/ 35 w 197"/>
                <a:gd name="T25" fmla="*/ 23 h 239"/>
                <a:gd name="T26" fmla="*/ 22 w 197"/>
                <a:gd name="T27" fmla="*/ 38 h 239"/>
                <a:gd name="T28" fmla="*/ 11 w 197"/>
                <a:gd name="T29" fmla="*/ 57 h 239"/>
                <a:gd name="T30" fmla="*/ 4 w 197"/>
                <a:gd name="T31" fmla="*/ 79 h 239"/>
                <a:gd name="T32" fmla="*/ 1 w 197"/>
                <a:gd name="T33" fmla="*/ 105 h 239"/>
                <a:gd name="T34" fmla="*/ 0 w 197"/>
                <a:gd name="T35" fmla="*/ 119 h 239"/>
                <a:gd name="T36" fmla="*/ 2 w 197"/>
                <a:gd name="T37" fmla="*/ 147 h 239"/>
                <a:gd name="T38" fmla="*/ 9 w 197"/>
                <a:gd name="T39" fmla="*/ 173 h 239"/>
                <a:gd name="T40" fmla="*/ 19 w 197"/>
                <a:gd name="T41" fmla="*/ 193 h 239"/>
                <a:gd name="T42" fmla="*/ 30 w 197"/>
                <a:gd name="T43" fmla="*/ 209 h 239"/>
                <a:gd name="T44" fmla="*/ 36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9 h 239"/>
                <a:gd name="T52" fmla="*/ 99 w 197"/>
                <a:gd name="T53" fmla="*/ 239 h 239"/>
                <a:gd name="T54" fmla="*/ 124 w 197"/>
                <a:gd name="T55" fmla="*/ 237 h 239"/>
                <a:gd name="T56" fmla="*/ 145 w 197"/>
                <a:gd name="T57" fmla="*/ 231 h 239"/>
                <a:gd name="T58" fmla="*/ 154 w 197"/>
                <a:gd name="T59" fmla="*/ 227 h 239"/>
                <a:gd name="T60" fmla="*/ 170 w 197"/>
                <a:gd name="T61" fmla="*/ 217 h 239"/>
                <a:gd name="T62" fmla="*/ 151 w 197"/>
                <a:gd name="T63" fmla="*/ 180 h 239"/>
                <a:gd name="T64" fmla="*/ 139 w 197"/>
                <a:gd name="T65" fmla="*/ 188 h 239"/>
                <a:gd name="T66" fmla="*/ 128 w 197"/>
                <a:gd name="T67" fmla="*/ 194 h 239"/>
                <a:gd name="T68" fmla="*/ 116 w 197"/>
                <a:gd name="T69" fmla="*/ 197 h 239"/>
                <a:gd name="T70" fmla="*/ 102 w 197"/>
                <a:gd name="T71" fmla="*/ 199 h 239"/>
                <a:gd name="T72" fmla="*/ 91 w 197"/>
                <a:gd name="T73" fmla="*/ 198 h 239"/>
                <a:gd name="T74" fmla="*/ 73 w 197"/>
                <a:gd name="T75" fmla="*/ 191 h 239"/>
                <a:gd name="T76" fmla="*/ 57 w 197"/>
                <a:gd name="T77" fmla="*/ 175 h 239"/>
                <a:gd name="T78" fmla="*/ 47 w 197"/>
                <a:gd name="T79" fmla="*/ 151 h 239"/>
                <a:gd name="T80" fmla="*/ 195 w 197"/>
                <a:gd name="T81" fmla="*/ 135 h 239"/>
                <a:gd name="T82" fmla="*/ 196 w 197"/>
                <a:gd name="T83" fmla="*/ 126 h 239"/>
                <a:gd name="T84" fmla="*/ 197 w 197"/>
                <a:gd name="T85" fmla="*/ 114 h 239"/>
                <a:gd name="T86" fmla="*/ 45 w 197"/>
                <a:gd name="T87" fmla="*/ 98 h 239"/>
                <a:gd name="T88" fmla="*/ 50 w 197"/>
                <a:gd name="T89" fmla="*/ 73 h 239"/>
                <a:gd name="T90" fmla="*/ 61 w 197"/>
                <a:gd name="T91" fmla="*/ 55 h 239"/>
                <a:gd name="T92" fmla="*/ 77 w 197"/>
                <a:gd name="T93" fmla="*/ 44 h 239"/>
                <a:gd name="T94" fmla="*/ 97 w 197"/>
                <a:gd name="T95" fmla="*/ 40 h 239"/>
                <a:gd name="T96" fmla="*/ 104 w 197"/>
                <a:gd name="T97" fmla="*/ 41 h 239"/>
                <a:gd name="T98" fmla="*/ 116 w 197"/>
                <a:gd name="T99" fmla="*/ 43 h 239"/>
                <a:gd name="T100" fmla="*/ 126 w 197"/>
                <a:gd name="T101" fmla="*/ 47 h 239"/>
                <a:gd name="T102" fmla="*/ 137 w 197"/>
                <a:gd name="T103" fmla="*/ 57 h 239"/>
                <a:gd name="T104" fmla="*/ 147 w 197"/>
                <a:gd name="T105" fmla="*/ 76 h 239"/>
                <a:gd name="T106" fmla="*/ 151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4"/>
                  </a:moveTo>
                  <a:lnTo>
                    <a:pt x="197" y="114"/>
                  </a:lnTo>
                  <a:lnTo>
                    <a:pt x="196" y="103"/>
                  </a:lnTo>
                  <a:lnTo>
                    <a:pt x="195" y="92"/>
                  </a:lnTo>
                  <a:lnTo>
                    <a:pt x="193" y="81"/>
                  </a:lnTo>
                  <a:lnTo>
                    <a:pt x="191" y="70"/>
                  </a:lnTo>
                  <a:lnTo>
                    <a:pt x="187" y="60"/>
                  </a:lnTo>
                  <a:lnTo>
                    <a:pt x="183" y="51"/>
                  </a:lnTo>
                  <a:lnTo>
                    <a:pt x="178" y="42"/>
                  </a:lnTo>
                  <a:lnTo>
                    <a:pt x="173" y="34"/>
                  </a:lnTo>
                  <a:lnTo>
                    <a:pt x="166" y="26"/>
                  </a:lnTo>
                  <a:lnTo>
                    <a:pt x="159" y="20"/>
                  </a:lnTo>
                  <a:lnTo>
                    <a:pt x="151" y="14"/>
                  </a:lnTo>
                  <a:lnTo>
                    <a:pt x="143" y="9"/>
                  </a:lnTo>
                  <a:lnTo>
                    <a:pt x="133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2" y="38"/>
                  </a:lnTo>
                  <a:lnTo>
                    <a:pt x="16" y="47"/>
                  </a:lnTo>
                  <a:lnTo>
                    <a:pt x="11" y="57"/>
                  </a:lnTo>
                  <a:lnTo>
                    <a:pt x="7" y="68"/>
                  </a:lnTo>
                  <a:lnTo>
                    <a:pt x="4" y="79"/>
                  </a:lnTo>
                  <a:lnTo>
                    <a:pt x="2" y="92"/>
                  </a:lnTo>
                  <a:lnTo>
                    <a:pt x="1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3" y="184"/>
                  </a:lnTo>
                  <a:lnTo>
                    <a:pt x="19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6" y="215"/>
                  </a:lnTo>
                  <a:lnTo>
                    <a:pt x="43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4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7"/>
                  </a:lnTo>
                  <a:lnTo>
                    <a:pt x="178" y="209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39" y="188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91" y="198"/>
                  </a:lnTo>
                  <a:lnTo>
                    <a:pt x="82" y="195"/>
                  </a:lnTo>
                  <a:lnTo>
                    <a:pt x="73" y="191"/>
                  </a:lnTo>
                  <a:lnTo>
                    <a:pt x="64" y="184"/>
                  </a:lnTo>
                  <a:lnTo>
                    <a:pt x="57" y="175"/>
                  </a:lnTo>
                  <a:lnTo>
                    <a:pt x="51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6" y="126"/>
                  </a:lnTo>
                  <a:lnTo>
                    <a:pt x="197" y="114"/>
                  </a:lnTo>
                  <a:lnTo>
                    <a:pt x="197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0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7" y="44"/>
                  </a:lnTo>
                  <a:lnTo>
                    <a:pt x="86" y="41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7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1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3" name="Freeform 142"/>
            <p:cNvSpPr>
              <a:spLocks/>
            </p:cNvSpPr>
            <p:nvPr userDrawn="1"/>
          </p:nvSpPr>
          <p:spPr bwMode="auto">
            <a:xfrm>
              <a:off x="2849563" y="6362701"/>
              <a:ext cx="73025" cy="95250"/>
            </a:xfrm>
            <a:custGeom>
              <a:avLst/>
              <a:gdLst>
                <a:gd name="T0" fmla="*/ 182 w 182"/>
                <a:gd name="T1" fmla="*/ 39 h 239"/>
                <a:gd name="T2" fmla="*/ 165 w 182"/>
                <a:gd name="T3" fmla="*/ 22 h 239"/>
                <a:gd name="T4" fmla="*/ 146 w 182"/>
                <a:gd name="T5" fmla="*/ 10 h 239"/>
                <a:gd name="T6" fmla="*/ 124 w 182"/>
                <a:gd name="T7" fmla="*/ 2 h 239"/>
                <a:gd name="T8" fmla="*/ 101 w 182"/>
                <a:gd name="T9" fmla="*/ 0 h 239"/>
                <a:gd name="T10" fmla="*/ 90 w 182"/>
                <a:gd name="T11" fmla="*/ 0 h 239"/>
                <a:gd name="T12" fmla="*/ 71 w 182"/>
                <a:gd name="T13" fmla="*/ 4 h 239"/>
                <a:gd name="T14" fmla="*/ 53 w 182"/>
                <a:gd name="T15" fmla="*/ 12 h 239"/>
                <a:gd name="T16" fmla="*/ 37 w 182"/>
                <a:gd name="T17" fmla="*/ 24 h 239"/>
                <a:gd name="T18" fmla="*/ 23 w 182"/>
                <a:gd name="T19" fmla="*/ 39 h 239"/>
                <a:gd name="T20" fmla="*/ 12 w 182"/>
                <a:gd name="T21" fmla="*/ 58 h 239"/>
                <a:gd name="T22" fmla="*/ 5 w 182"/>
                <a:gd name="T23" fmla="*/ 80 h 239"/>
                <a:gd name="T24" fmla="*/ 1 w 182"/>
                <a:gd name="T25" fmla="*/ 106 h 239"/>
                <a:gd name="T26" fmla="*/ 0 w 182"/>
                <a:gd name="T27" fmla="*/ 120 h 239"/>
                <a:gd name="T28" fmla="*/ 2 w 182"/>
                <a:gd name="T29" fmla="*/ 145 h 239"/>
                <a:gd name="T30" fmla="*/ 8 w 182"/>
                <a:gd name="T31" fmla="*/ 169 h 239"/>
                <a:gd name="T32" fmla="*/ 17 w 182"/>
                <a:gd name="T33" fmla="*/ 190 h 239"/>
                <a:gd name="T34" fmla="*/ 29 w 182"/>
                <a:gd name="T35" fmla="*/ 207 h 239"/>
                <a:gd name="T36" fmla="*/ 43 w 182"/>
                <a:gd name="T37" fmla="*/ 221 h 239"/>
                <a:gd name="T38" fmla="*/ 60 w 182"/>
                <a:gd name="T39" fmla="*/ 231 h 239"/>
                <a:gd name="T40" fmla="*/ 79 w 182"/>
                <a:gd name="T41" fmla="*/ 237 h 239"/>
                <a:gd name="T42" fmla="*/ 99 w 182"/>
                <a:gd name="T43" fmla="*/ 239 h 239"/>
                <a:gd name="T44" fmla="*/ 114 w 182"/>
                <a:gd name="T45" fmla="*/ 238 h 239"/>
                <a:gd name="T46" fmla="*/ 139 w 182"/>
                <a:gd name="T47" fmla="*/ 232 h 239"/>
                <a:gd name="T48" fmla="*/ 158 w 182"/>
                <a:gd name="T49" fmla="*/ 220 h 239"/>
                <a:gd name="T50" fmla="*/ 174 w 182"/>
                <a:gd name="T51" fmla="*/ 205 h 239"/>
                <a:gd name="T52" fmla="*/ 152 w 182"/>
                <a:gd name="T53" fmla="*/ 168 h 239"/>
                <a:gd name="T54" fmla="*/ 140 w 182"/>
                <a:gd name="T55" fmla="*/ 181 h 239"/>
                <a:gd name="T56" fmla="*/ 128 w 182"/>
                <a:gd name="T57" fmla="*/ 189 h 239"/>
                <a:gd name="T58" fmla="*/ 115 w 182"/>
                <a:gd name="T59" fmla="*/ 195 h 239"/>
                <a:gd name="T60" fmla="*/ 101 w 182"/>
                <a:gd name="T61" fmla="*/ 197 h 239"/>
                <a:gd name="T62" fmla="*/ 94 w 182"/>
                <a:gd name="T63" fmla="*/ 196 h 239"/>
                <a:gd name="T64" fmla="*/ 82 w 182"/>
                <a:gd name="T65" fmla="*/ 193 h 239"/>
                <a:gd name="T66" fmla="*/ 72 w 182"/>
                <a:gd name="T67" fmla="*/ 188 h 239"/>
                <a:gd name="T68" fmla="*/ 63 w 182"/>
                <a:gd name="T69" fmla="*/ 180 h 239"/>
                <a:gd name="T70" fmla="*/ 56 w 182"/>
                <a:gd name="T71" fmla="*/ 169 h 239"/>
                <a:gd name="T72" fmla="*/ 49 w 182"/>
                <a:gd name="T73" fmla="*/ 150 h 239"/>
                <a:gd name="T74" fmla="*/ 46 w 182"/>
                <a:gd name="T75" fmla="*/ 118 h 239"/>
                <a:gd name="T76" fmla="*/ 47 w 182"/>
                <a:gd name="T77" fmla="*/ 102 h 239"/>
                <a:gd name="T78" fmla="*/ 54 w 182"/>
                <a:gd name="T79" fmla="*/ 74 h 239"/>
                <a:gd name="T80" fmla="*/ 60 w 182"/>
                <a:gd name="T81" fmla="*/ 63 h 239"/>
                <a:gd name="T82" fmla="*/ 68 w 182"/>
                <a:gd name="T83" fmla="*/ 54 h 239"/>
                <a:gd name="T84" fmla="*/ 77 w 182"/>
                <a:gd name="T85" fmla="*/ 48 h 239"/>
                <a:gd name="T86" fmla="*/ 88 w 182"/>
                <a:gd name="T87" fmla="*/ 44 h 239"/>
                <a:gd name="T88" fmla="*/ 99 w 182"/>
                <a:gd name="T89" fmla="*/ 43 h 239"/>
                <a:gd name="T90" fmla="*/ 107 w 182"/>
                <a:gd name="T91" fmla="*/ 43 h 239"/>
                <a:gd name="T92" fmla="*/ 121 w 182"/>
                <a:gd name="T93" fmla="*/ 46 h 239"/>
                <a:gd name="T94" fmla="*/ 135 w 182"/>
                <a:gd name="T95" fmla="*/ 53 h 239"/>
                <a:gd name="T96" fmla="*/ 148 w 182"/>
                <a:gd name="T97" fmla="*/ 64 h 239"/>
                <a:gd name="T98" fmla="*/ 182 w 182"/>
                <a:gd name="T99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2" h="239">
                  <a:moveTo>
                    <a:pt x="182" y="39"/>
                  </a:moveTo>
                  <a:lnTo>
                    <a:pt x="182" y="39"/>
                  </a:lnTo>
                  <a:lnTo>
                    <a:pt x="173" y="30"/>
                  </a:lnTo>
                  <a:lnTo>
                    <a:pt x="165" y="22"/>
                  </a:lnTo>
                  <a:lnTo>
                    <a:pt x="155" y="15"/>
                  </a:lnTo>
                  <a:lnTo>
                    <a:pt x="146" y="10"/>
                  </a:lnTo>
                  <a:lnTo>
                    <a:pt x="135" y="5"/>
                  </a:lnTo>
                  <a:lnTo>
                    <a:pt x="124" y="2"/>
                  </a:lnTo>
                  <a:lnTo>
                    <a:pt x="113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0"/>
                  </a:lnTo>
                  <a:lnTo>
                    <a:pt x="80" y="2"/>
                  </a:lnTo>
                  <a:lnTo>
                    <a:pt x="71" y="4"/>
                  </a:lnTo>
                  <a:lnTo>
                    <a:pt x="61" y="8"/>
                  </a:lnTo>
                  <a:lnTo>
                    <a:pt x="53" y="12"/>
                  </a:lnTo>
                  <a:lnTo>
                    <a:pt x="44" y="18"/>
                  </a:lnTo>
                  <a:lnTo>
                    <a:pt x="37" y="24"/>
                  </a:lnTo>
                  <a:lnTo>
                    <a:pt x="30" y="31"/>
                  </a:lnTo>
                  <a:lnTo>
                    <a:pt x="23" y="39"/>
                  </a:lnTo>
                  <a:lnTo>
                    <a:pt x="17" y="48"/>
                  </a:lnTo>
                  <a:lnTo>
                    <a:pt x="12" y="58"/>
                  </a:lnTo>
                  <a:lnTo>
                    <a:pt x="8" y="69"/>
                  </a:lnTo>
                  <a:lnTo>
                    <a:pt x="5" y="80"/>
                  </a:lnTo>
                  <a:lnTo>
                    <a:pt x="2" y="93"/>
                  </a:lnTo>
                  <a:lnTo>
                    <a:pt x="1" y="10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8"/>
                  </a:lnTo>
                  <a:lnTo>
                    <a:pt x="8" y="169"/>
                  </a:lnTo>
                  <a:lnTo>
                    <a:pt x="12" y="180"/>
                  </a:lnTo>
                  <a:lnTo>
                    <a:pt x="17" y="190"/>
                  </a:lnTo>
                  <a:lnTo>
                    <a:pt x="23" y="199"/>
                  </a:lnTo>
                  <a:lnTo>
                    <a:pt x="29" y="207"/>
                  </a:lnTo>
                  <a:lnTo>
                    <a:pt x="36" y="214"/>
                  </a:lnTo>
                  <a:lnTo>
                    <a:pt x="43" y="221"/>
                  </a:lnTo>
                  <a:lnTo>
                    <a:pt x="52" y="226"/>
                  </a:lnTo>
                  <a:lnTo>
                    <a:pt x="60" y="231"/>
                  </a:lnTo>
                  <a:lnTo>
                    <a:pt x="69" y="234"/>
                  </a:lnTo>
                  <a:lnTo>
                    <a:pt x="79" y="237"/>
                  </a:lnTo>
                  <a:lnTo>
                    <a:pt x="8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4" y="238"/>
                  </a:lnTo>
                  <a:lnTo>
                    <a:pt x="127" y="236"/>
                  </a:lnTo>
                  <a:lnTo>
                    <a:pt x="139" y="232"/>
                  </a:lnTo>
                  <a:lnTo>
                    <a:pt x="149" y="226"/>
                  </a:lnTo>
                  <a:lnTo>
                    <a:pt x="158" y="220"/>
                  </a:lnTo>
                  <a:lnTo>
                    <a:pt x="167" y="213"/>
                  </a:lnTo>
                  <a:lnTo>
                    <a:pt x="174" y="205"/>
                  </a:lnTo>
                  <a:lnTo>
                    <a:pt x="181" y="197"/>
                  </a:lnTo>
                  <a:lnTo>
                    <a:pt x="152" y="168"/>
                  </a:lnTo>
                  <a:lnTo>
                    <a:pt x="152" y="168"/>
                  </a:lnTo>
                  <a:lnTo>
                    <a:pt x="140" y="181"/>
                  </a:lnTo>
                  <a:lnTo>
                    <a:pt x="134" y="185"/>
                  </a:lnTo>
                  <a:lnTo>
                    <a:pt x="128" y="189"/>
                  </a:lnTo>
                  <a:lnTo>
                    <a:pt x="122" y="193"/>
                  </a:lnTo>
                  <a:lnTo>
                    <a:pt x="115" y="195"/>
                  </a:lnTo>
                  <a:lnTo>
                    <a:pt x="108" y="196"/>
                  </a:lnTo>
                  <a:lnTo>
                    <a:pt x="101" y="197"/>
                  </a:lnTo>
                  <a:lnTo>
                    <a:pt x="101" y="197"/>
                  </a:lnTo>
                  <a:lnTo>
                    <a:pt x="94" y="196"/>
                  </a:lnTo>
                  <a:lnTo>
                    <a:pt x="88" y="195"/>
                  </a:lnTo>
                  <a:lnTo>
                    <a:pt x="82" y="193"/>
                  </a:lnTo>
                  <a:lnTo>
                    <a:pt x="77" y="191"/>
                  </a:lnTo>
                  <a:lnTo>
                    <a:pt x="72" y="188"/>
                  </a:lnTo>
                  <a:lnTo>
                    <a:pt x="67" y="184"/>
                  </a:lnTo>
                  <a:lnTo>
                    <a:pt x="63" y="180"/>
                  </a:lnTo>
                  <a:lnTo>
                    <a:pt x="60" y="175"/>
                  </a:lnTo>
                  <a:lnTo>
                    <a:pt x="56" y="169"/>
                  </a:lnTo>
                  <a:lnTo>
                    <a:pt x="54" y="164"/>
                  </a:lnTo>
                  <a:lnTo>
                    <a:pt x="49" y="150"/>
                  </a:lnTo>
                  <a:lnTo>
                    <a:pt x="47" y="135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7" y="102"/>
                  </a:lnTo>
                  <a:lnTo>
                    <a:pt x="49" y="87"/>
                  </a:lnTo>
                  <a:lnTo>
                    <a:pt x="54" y="74"/>
                  </a:lnTo>
                  <a:lnTo>
                    <a:pt x="57" y="68"/>
                  </a:lnTo>
                  <a:lnTo>
                    <a:pt x="60" y="63"/>
                  </a:lnTo>
                  <a:lnTo>
                    <a:pt x="64" y="58"/>
                  </a:lnTo>
                  <a:lnTo>
                    <a:pt x="68" y="54"/>
                  </a:lnTo>
                  <a:lnTo>
                    <a:pt x="72" y="51"/>
                  </a:lnTo>
                  <a:lnTo>
                    <a:pt x="77" y="48"/>
                  </a:lnTo>
                  <a:lnTo>
                    <a:pt x="82" y="46"/>
                  </a:lnTo>
                  <a:lnTo>
                    <a:pt x="88" y="44"/>
                  </a:lnTo>
                  <a:lnTo>
                    <a:pt x="93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7" y="43"/>
                  </a:lnTo>
                  <a:lnTo>
                    <a:pt x="114" y="44"/>
                  </a:lnTo>
                  <a:lnTo>
                    <a:pt x="121" y="46"/>
                  </a:lnTo>
                  <a:lnTo>
                    <a:pt x="128" y="49"/>
                  </a:lnTo>
                  <a:lnTo>
                    <a:pt x="135" y="53"/>
                  </a:lnTo>
                  <a:lnTo>
                    <a:pt x="141" y="58"/>
                  </a:lnTo>
                  <a:lnTo>
                    <a:pt x="148" y="64"/>
                  </a:lnTo>
                  <a:lnTo>
                    <a:pt x="155" y="70"/>
                  </a:lnTo>
                  <a:lnTo>
                    <a:pt x="182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4" name="Freeform 143"/>
            <p:cNvSpPr>
              <a:spLocks noEditPoints="1"/>
            </p:cNvSpPr>
            <p:nvPr userDrawn="1"/>
          </p:nvSpPr>
          <p:spPr bwMode="auto">
            <a:xfrm>
              <a:off x="2936875" y="6362701"/>
              <a:ext cx="74613" cy="95250"/>
            </a:xfrm>
            <a:custGeom>
              <a:avLst/>
              <a:gdLst>
                <a:gd name="T0" fmla="*/ 186 w 186"/>
                <a:gd name="T1" fmla="*/ 77 h 239"/>
                <a:gd name="T2" fmla="*/ 185 w 186"/>
                <a:gd name="T3" fmla="*/ 67 h 239"/>
                <a:gd name="T4" fmla="*/ 182 w 186"/>
                <a:gd name="T5" fmla="*/ 50 h 239"/>
                <a:gd name="T6" fmla="*/ 176 w 186"/>
                <a:gd name="T7" fmla="*/ 36 h 239"/>
                <a:gd name="T8" fmla="*/ 167 w 186"/>
                <a:gd name="T9" fmla="*/ 24 h 239"/>
                <a:gd name="T10" fmla="*/ 156 w 186"/>
                <a:gd name="T11" fmla="*/ 14 h 239"/>
                <a:gd name="T12" fmla="*/ 142 w 186"/>
                <a:gd name="T13" fmla="*/ 7 h 239"/>
                <a:gd name="T14" fmla="*/ 127 w 186"/>
                <a:gd name="T15" fmla="*/ 2 h 239"/>
                <a:gd name="T16" fmla="*/ 109 w 186"/>
                <a:gd name="T17" fmla="*/ 0 h 239"/>
                <a:gd name="T18" fmla="*/ 100 w 186"/>
                <a:gd name="T19" fmla="*/ 0 h 239"/>
                <a:gd name="T20" fmla="*/ 77 w 186"/>
                <a:gd name="T21" fmla="*/ 1 h 239"/>
                <a:gd name="T22" fmla="*/ 57 w 186"/>
                <a:gd name="T23" fmla="*/ 5 h 239"/>
                <a:gd name="T24" fmla="*/ 38 w 186"/>
                <a:gd name="T25" fmla="*/ 11 h 239"/>
                <a:gd name="T26" fmla="*/ 21 w 186"/>
                <a:gd name="T27" fmla="*/ 20 h 239"/>
                <a:gd name="T28" fmla="*/ 39 w 186"/>
                <a:gd name="T29" fmla="*/ 54 h 239"/>
                <a:gd name="T30" fmla="*/ 67 w 186"/>
                <a:gd name="T31" fmla="*/ 43 h 239"/>
                <a:gd name="T32" fmla="*/ 99 w 186"/>
                <a:gd name="T33" fmla="*/ 40 h 239"/>
                <a:gd name="T34" fmla="*/ 108 w 186"/>
                <a:gd name="T35" fmla="*/ 41 h 239"/>
                <a:gd name="T36" fmla="*/ 125 w 186"/>
                <a:gd name="T37" fmla="*/ 46 h 239"/>
                <a:gd name="T38" fmla="*/ 135 w 186"/>
                <a:gd name="T39" fmla="*/ 56 h 239"/>
                <a:gd name="T40" fmla="*/ 141 w 186"/>
                <a:gd name="T41" fmla="*/ 70 h 239"/>
                <a:gd name="T42" fmla="*/ 142 w 186"/>
                <a:gd name="T43" fmla="*/ 96 h 239"/>
                <a:gd name="T44" fmla="*/ 133 w 186"/>
                <a:gd name="T45" fmla="*/ 92 h 239"/>
                <a:gd name="T46" fmla="*/ 107 w 186"/>
                <a:gd name="T47" fmla="*/ 88 h 239"/>
                <a:gd name="T48" fmla="*/ 91 w 186"/>
                <a:gd name="T49" fmla="*/ 87 h 239"/>
                <a:gd name="T50" fmla="*/ 63 w 186"/>
                <a:gd name="T51" fmla="*/ 89 h 239"/>
                <a:gd name="T52" fmla="*/ 47 w 186"/>
                <a:gd name="T53" fmla="*/ 94 h 239"/>
                <a:gd name="T54" fmla="*/ 32 w 186"/>
                <a:gd name="T55" fmla="*/ 101 h 239"/>
                <a:gd name="T56" fmla="*/ 20 w 186"/>
                <a:gd name="T57" fmla="*/ 110 h 239"/>
                <a:gd name="T58" fmla="*/ 10 w 186"/>
                <a:gd name="T59" fmla="*/ 121 h 239"/>
                <a:gd name="T60" fmla="*/ 4 w 186"/>
                <a:gd name="T61" fmla="*/ 135 h 239"/>
                <a:gd name="T62" fmla="*/ 0 w 186"/>
                <a:gd name="T63" fmla="*/ 153 h 239"/>
                <a:gd name="T64" fmla="*/ 0 w 186"/>
                <a:gd name="T65" fmla="*/ 162 h 239"/>
                <a:gd name="T66" fmla="*/ 2 w 186"/>
                <a:gd name="T67" fmla="*/ 182 h 239"/>
                <a:gd name="T68" fmla="*/ 7 w 186"/>
                <a:gd name="T69" fmla="*/ 198 h 239"/>
                <a:gd name="T70" fmla="*/ 15 w 186"/>
                <a:gd name="T71" fmla="*/ 211 h 239"/>
                <a:gd name="T72" fmla="*/ 25 w 186"/>
                <a:gd name="T73" fmla="*/ 222 h 239"/>
                <a:gd name="T74" fmla="*/ 38 w 186"/>
                <a:gd name="T75" fmla="*/ 230 h 239"/>
                <a:gd name="T76" fmla="*/ 51 w 186"/>
                <a:gd name="T77" fmla="*/ 235 h 239"/>
                <a:gd name="T78" fmla="*/ 79 w 186"/>
                <a:gd name="T79" fmla="*/ 239 h 239"/>
                <a:gd name="T80" fmla="*/ 90 w 186"/>
                <a:gd name="T81" fmla="*/ 239 h 239"/>
                <a:gd name="T82" fmla="*/ 108 w 186"/>
                <a:gd name="T83" fmla="*/ 234 h 239"/>
                <a:gd name="T84" fmla="*/ 115 w 186"/>
                <a:gd name="T85" fmla="*/ 231 h 239"/>
                <a:gd name="T86" fmla="*/ 134 w 186"/>
                <a:gd name="T87" fmla="*/ 219 h 239"/>
                <a:gd name="T88" fmla="*/ 142 w 186"/>
                <a:gd name="T89" fmla="*/ 235 h 239"/>
                <a:gd name="T90" fmla="*/ 142 w 186"/>
                <a:gd name="T91" fmla="*/ 170 h 239"/>
                <a:gd name="T92" fmla="*/ 137 w 186"/>
                <a:gd name="T93" fmla="*/ 175 h 239"/>
                <a:gd name="T94" fmla="*/ 126 w 186"/>
                <a:gd name="T95" fmla="*/ 185 h 239"/>
                <a:gd name="T96" fmla="*/ 112 w 186"/>
                <a:gd name="T97" fmla="*/ 193 h 239"/>
                <a:gd name="T98" fmla="*/ 95 w 186"/>
                <a:gd name="T99" fmla="*/ 198 h 239"/>
                <a:gd name="T100" fmla="*/ 86 w 186"/>
                <a:gd name="T101" fmla="*/ 199 h 239"/>
                <a:gd name="T102" fmla="*/ 68 w 186"/>
                <a:gd name="T103" fmla="*/ 196 h 239"/>
                <a:gd name="T104" fmla="*/ 55 w 186"/>
                <a:gd name="T105" fmla="*/ 190 h 239"/>
                <a:gd name="T106" fmla="*/ 50 w 186"/>
                <a:gd name="T107" fmla="*/ 185 h 239"/>
                <a:gd name="T108" fmla="*/ 43 w 186"/>
                <a:gd name="T109" fmla="*/ 170 h 239"/>
                <a:gd name="T110" fmla="*/ 42 w 186"/>
                <a:gd name="T111" fmla="*/ 161 h 239"/>
                <a:gd name="T112" fmla="*/ 46 w 186"/>
                <a:gd name="T113" fmla="*/ 146 h 239"/>
                <a:gd name="T114" fmla="*/ 55 w 186"/>
                <a:gd name="T115" fmla="*/ 135 h 239"/>
                <a:gd name="T116" fmla="*/ 70 w 186"/>
                <a:gd name="T117" fmla="*/ 128 h 239"/>
                <a:gd name="T118" fmla="*/ 89 w 186"/>
                <a:gd name="T119" fmla="*/ 126 h 239"/>
                <a:gd name="T120" fmla="*/ 106 w 186"/>
                <a:gd name="T121" fmla="*/ 126 h 239"/>
                <a:gd name="T122" fmla="*/ 120 w 186"/>
                <a:gd name="T123" fmla="*/ 128 h 239"/>
                <a:gd name="T124" fmla="*/ 142 w 186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239">
                  <a:moveTo>
                    <a:pt x="186" y="235"/>
                  </a:moveTo>
                  <a:lnTo>
                    <a:pt x="186" y="77"/>
                  </a:lnTo>
                  <a:lnTo>
                    <a:pt x="186" y="77"/>
                  </a:lnTo>
                  <a:lnTo>
                    <a:pt x="185" y="67"/>
                  </a:lnTo>
                  <a:lnTo>
                    <a:pt x="184" y="58"/>
                  </a:lnTo>
                  <a:lnTo>
                    <a:pt x="182" y="50"/>
                  </a:lnTo>
                  <a:lnTo>
                    <a:pt x="180" y="43"/>
                  </a:lnTo>
                  <a:lnTo>
                    <a:pt x="176" y="36"/>
                  </a:lnTo>
                  <a:lnTo>
                    <a:pt x="172" y="29"/>
                  </a:lnTo>
                  <a:lnTo>
                    <a:pt x="167" y="24"/>
                  </a:lnTo>
                  <a:lnTo>
                    <a:pt x="162" y="19"/>
                  </a:lnTo>
                  <a:lnTo>
                    <a:pt x="156" y="14"/>
                  </a:lnTo>
                  <a:lnTo>
                    <a:pt x="149" y="10"/>
                  </a:lnTo>
                  <a:lnTo>
                    <a:pt x="142" y="7"/>
                  </a:lnTo>
                  <a:lnTo>
                    <a:pt x="135" y="5"/>
                  </a:lnTo>
                  <a:lnTo>
                    <a:pt x="127" y="2"/>
                  </a:lnTo>
                  <a:lnTo>
                    <a:pt x="118" y="1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8" y="0"/>
                  </a:lnTo>
                  <a:lnTo>
                    <a:pt x="77" y="1"/>
                  </a:lnTo>
                  <a:lnTo>
                    <a:pt x="67" y="3"/>
                  </a:lnTo>
                  <a:lnTo>
                    <a:pt x="57" y="5"/>
                  </a:lnTo>
                  <a:lnTo>
                    <a:pt x="47" y="8"/>
                  </a:lnTo>
                  <a:lnTo>
                    <a:pt x="38" y="11"/>
                  </a:lnTo>
                  <a:lnTo>
                    <a:pt x="30" y="16"/>
                  </a:lnTo>
                  <a:lnTo>
                    <a:pt x="21" y="20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52" y="48"/>
                  </a:lnTo>
                  <a:lnTo>
                    <a:pt x="67" y="43"/>
                  </a:lnTo>
                  <a:lnTo>
                    <a:pt x="82" y="41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8" y="41"/>
                  </a:lnTo>
                  <a:lnTo>
                    <a:pt x="117" y="43"/>
                  </a:lnTo>
                  <a:lnTo>
                    <a:pt x="125" y="46"/>
                  </a:lnTo>
                  <a:lnTo>
                    <a:pt x="131" y="50"/>
                  </a:lnTo>
                  <a:lnTo>
                    <a:pt x="135" y="56"/>
                  </a:lnTo>
                  <a:lnTo>
                    <a:pt x="139" y="62"/>
                  </a:lnTo>
                  <a:lnTo>
                    <a:pt x="141" y="70"/>
                  </a:lnTo>
                  <a:lnTo>
                    <a:pt x="142" y="79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33" y="92"/>
                  </a:lnTo>
                  <a:lnTo>
                    <a:pt x="121" y="89"/>
                  </a:lnTo>
                  <a:lnTo>
                    <a:pt x="107" y="88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72" y="88"/>
                  </a:lnTo>
                  <a:lnTo>
                    <a:pt x="63" y="89"/>
                  </a:lnTo>
                  <a:lnTo>
                    <a:pt x="55" y="91"/>
                  </a:lnTo>
                  <a:lnTo>
                    <a:pt x="47" y="94"/>
                  </a:lnTo>
                  <a:lnTo>
                    <a:pt x="39" y="97"/>
                  </a:lnTo>
                  <a:lnTo>
                    <a:pt x="32" y="101"/>
                  </a:lnTo>
                  <a:lnTo>
                    <a:pt x="26" y="105"/>
                  </a:lnTo>
                  <a:lnTo>
                    <a:pt x="20" y="110"/>
                  </a:lnTo>
                  <a:lnTo>
                    <a:pt x="15" y="115"/>
                  </a:lnTo>
                  <a:lnTo>
                    <a:pt x="10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1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0" y="217"/>
                  </a:lnTo>
                  <a:lnTo>
                    <a:pt x="25" y="222"/>
                  </a:lnTo>
                  <a:lnTo>
                    <a:pt x="31" y="226"/>
                  </a:lnTo>
                  <a:lnTo>
                    <a:pt x="38" y="230"/>
                  </a:lnTo>
                  <a:lnTo>
                    <a:pt x="44" y="233"/>
                  </a:lnTo>
                  <a:lnTo>
                    <a:pt x="51" y="235"/>
                  </a:lnTo>
                  <a:lnTo>
                    <a:pt x="65" y="238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90" y="239"/>
                  </a:lnTo>
                  <a:lnTo>
                    <a:pt x="100" y="237"/>
                  </a:lnTo>
                  <a:lnTo>
                    <a:pt x="108" y="234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7" y="224"/>
                  </a:lnTo>
                  <a:lnTo>
                    <a:pt x="134" y="219"/>
                  </a:lnTo>
                  <a:lnTo>
                    <a:pt x="142" y="212"/>
                  </a:lnTo>
                  <a:lnTo>
                    <a:pt x="142" y="235"/>
                  </a:lnTo>
                  <a:lnTo>
                    <a:pt x="186" y="235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37" y="175"/>
                  </a:lnTo>
                  <a:lnTo>
                    <a:pt x="132" y="180"/>
                  </a:lnTo>
                  <a:lnTo>
                    <a:pt x="126" y="185"/>
                  </a:lnTo>
                  <a:lnTo>
                    <a:pt x="119" y="190"/>
                  </a:lnTo>
                  <a:lnTo>
                    <a:pt x="112" y="193"/>
                  </a:lnTo>
                  <a:lnTo>
                    <a:pt x="104" y="196"/>
                  </a:lnTo>
                  <a:lnTo>
                    <a:pt x="95" y="198"/>
                  </a:lnTo>
                  <a:lnTo>
                    <a:pt x="86" y="199"/>
                  </a:lnTo>
                  <a:lnTo>
                    <a:pt x="86" y="199"/>
                  </a:lnTo>
                  <a:lnTo>
                    <a:pt x="76" y="198"/>
                  </a:lnTo>
                  <a:lnTo>
                    <a:pt x="68" y="196"/>
                  </a:lnTo>
                  <a:lnTo>
                    <a:pt x="61" y="194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0" y="185"/>
                  </a:lnTo>
                  <a:lnTo>
                    <a:pt x="46" y="178"/>
                  </a:lnTo>
                  <a:lnTo>
                    <a:pt x="43" y="170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43" y="153"/>
                  </a:lnTo>
                  <a:lnTo>
                    <a:pt x="46" y="146"/>
                  </a:lnTo>
                  <a:lnTo>
                    <a:pt x="50" y="140"/>
                  </a:lnTo>
                  <a:lnTo>
                    <a:pt x="55" y="135"/>
                  </a:lnTo>
                  <a:lnTo>
                    <a:pt x="62" y="131"/>
                  </a:lnTo>
                  <a:lnTo>
                    <a:pt x="70" y="128"/>
                  </a:lnTo>
                  <a:lnTo>
                    <a:pt x="7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106" y="126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30" y="131"/>
                  </a:lnTo>
                  <a:lnTo>
                    <a:pt x="142" y="136"/>
                  </a:lnTo>
                  <a:lnTo>
                    <a:pt x="142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5" name="Freeform 144"/>
            <p:cNvSpPr>
              <a:spLocks/>
            </p:cNvSpPr>
            <p:nvPr userDrawn="1"/>
          </p:nvSpPr>
          <p:spPr bwMode="auto">
            <a:xfrm>
              <a:off x="3033713" y="6432551"/>
              <a:ext cx="25400" cy="44450"/>
            </a:xfrm>
            <a:custGeom>
              <a:avLst/>
              <a:gdLst>
                <a:gd name="T0" fmla="*/ 64 w 64"/>
                <a:gd name="T1" fmla="*/ 0 h 115"/>
                <a:gd name="T2" fmla="*/ 6 w 64"/>
                <a:gd name="T3" fmla="*/ 0 h 115"/>
                <a:gd name="T4" fmla="*/ 0 w 64"/>
                <a:gd name="T5" fmla="*/ 115 h 115"/>
                <a:gd name="T6" fmla="*/ 31 w 64"/>
                <a:gd name="T7" fmla="*/ 115 h 115"/>
                <a:gd name="T8" fmla="*/ 64 w 64"/>
                <a:gd name="T9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15">
                  <a:moveTo>
                    <a:pt x="64" y="0"/>
                  </a:moveTo>
                  <a:lnTo>
                    <a:pt x="6" y="0"/>
                  </a:lnTo>
                  <a:lnTo>
                    <a:pt x="0" y="115"/>
                  </a:lnTo>
                  <a:lnTo>
                    <a:pt x="31" y="115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6" name="Freeform 145"/>
            <p:cNvSpPr>
              <a:spLocks/>
            </p:cNvSpPr>
            <p:nvPr userDrawn="1"/>
          </p:nvSpPr>
          <p:spPr bwMode="auto">
            <a:xfrm>
              <a:off x="3127375" y="6365876"/>
              <a:ext cx="90488" cy="92075"/>
            </a:xfrm>
            <a:custGeom>
              <a:avLst/>
              <a:gdLst>
                <a:gd name="T0" fmla="*/ 226 w 226"/>
                <a:gd name="T1" fmla="*/ 230 h 233"/>
                <a:gd name="T2" fmla="*/ 226 w 226"/>
                <a:gd name="T3" fmla="*/ 0 h 233"/>
                <a:gd name="T4" fmla="*/ 177 w 226"/>
                <a:gd name="T5" fmla="*/ 0 h 233"/>
                <a:gd name="T6" fmla="*/ 128 w 226"/>
                <a:gd name="T7" fmla="*/ 111 h 233"/>
                <a:gd name="T8" fmla="*/ 128 w 226"/>
                <a:gd name="T9" fmla="*/ 111 h 233"/>
                <a:gd name="T10" fmla="*/ 113 w 226"/>
                <a:gd name="T11" fmla="*/ 151 h 233"/>
                <a:gd name="T12" fmla="*/ 113 w 226"/>
                <a:gd name="T13" fmla="*/ 151 h 233"/>
                <a:gd name="T14" fmla="*/ 106 w 226"/>
                <a:gd name="T15" fmla="*/ 132 h 233"/>
                <a:gd name="T16" fmla="*/ 98 w 226"/>
                <a:gd name="T17" fmla="*/ 111 h 233"/>
                <a:gd name="T18" fmla="*/ 49 w 226"/>
                <a:gd name="T19" fmla="*/ 0 h 233"/>
                <a:gd name="T20" fmla="*/ 0 w 226"/>
                <a:gd name="T21" fmla="*/ 0 h 233"/>
                <a:gd name="T22" fmla="*/ 0 w 226"/>
                <a:gd name="T23" fmla="*/ 230 h 233"/>
                <a:gd name="T24" fmla="*/ 43 w 226"/>
                <a:gd name="T25" fmla="*/ 230 h 233"/>
                <a:gd name="T26" fmla="*/ 43 w 226"/>
                <a:gd name="T27" fmla="*/ 110 h 233"/>
                <a:gd name="T28" fmla="*/ 43 w 226"/>
                <a:gd name="T29" fmla="*/ 110 h 233"/>
                <a:gd name="T30" fmla="*/ 42 w 226"/>
                <a:gd name="T31" fmla="*/ 69 h 233"/>
                <a:gd name="T32" fmla="*/ 42 w 226"/>
                <a:gd name="T33" fmla="*/ 69 h 233"/>
                <a:gd name="T34" fmla="*/ 48 w 226"/>
                <a:gd name="T35" fmla="*/ 85 h 233"/>
                <a:gd name="T36" fmla="*/ 57 w 226"/>
                <a:gd name="T37" fmla="*/ 106 h 233"/>
                <a:gd name="T38" fmla="*/ 112 w 226"/>
                <a:gd name="T39" fmla="*/ 233 h 233"/>
                <a:gd name="T40" fmla="*/ 166 w 226"/>
                <a:gd name="T41" fmla="*/ 106 h 233"/>
                <a:gd name="T42" fmla="*/ 166 w 226"/>
                <a:gd name="T43" fmla="*/ 106 h 233"/>
                <a:gd name="T44" fmla="*/ 176 w 226"/>
                <a:gd name="T45" fmla="*/ 85 h 233"/>
                <a:gd name="T46" fmla="*/ 182 w 226"/>
                <a:gd name="T47" fmla="*/ 69 h 233"/>
                <a:gd name="T48" fmla="*/ 182 w 226"/>
                <a:gd name="T49" fmla="*/ 69 h 233"/>
                <a:gd name="T50" fmla="*/ 181 w 226"/>
                <a:gd name="T51" fmla="*/ 110 h 233"/>
                <a:gd name="T52" fmla="*/ 181 w 226"/>
                <a:gd name="T53" fmla="*/ 230 h 233"/>
                <a:gd name="T54" fmla="*/ 226 w 226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6" h="233">
                  <a:moveTo>
                    <a:pt x="226" y="230"/>
                  </a:moveTo>
                  <a:lnTo>
                    <a:pt x="226" y="0"/>
                  </a:lnTo>
                  <a:lnTo>
                    <a:pt x="177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6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6" y="106"/>
                  </a:lnTo>
                  <a:lnTo>
                    <a:pt x="166" y="106"/>
                  </a:lnTo>
                  <a:lnTo>
                    <a:pt x="176" y="85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1" y="110"/>
                  </a:lnTo>
                  <a:lnTo>
                    <a:pt x="181" y="230"/>
                  </a:lnTo>
                  <a:lnTo>
                    <a:pt x="226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7" name="Freeform 146"/>
            <p:cNvSpPr>
              <a:spLocks noEditPoints="1"/>
            </p:cNvSpPr>
            <p:nvPr userDrawn="1"/>
          </p:nvSpPr>
          <p:spPr bwMode="auto">
            <a:xfrm>
              <a:off x="3240088" y="6365876"/>
              <a:ext cx="98425" cy="90488"/>
            </a:xfrm>
            <a:custGeom>
              <a:avLst/>
              <a:gdLst>
                <a:gd name="T0" fmla="*/ 0 w 248"/>
                <a:gd name="T1" fmla="*/ 0 h 230"/>
                <a:gd name="T2" fmla="*/ 90 w 248"/>
                <a:gd name="T3" fmla="*/ 230 h 230"/>
                <a:gd name="T4" fmla="*/ 99 w 248"/>
                <a:gd name="T5" fmla="*/ 229 h 230"/>
                <a:gd name="T6" fmla="*/ 115 w 248"/>
                <a:gd name="T7" fmla="*/ 227 h 230"/>
                <a:gd name="T8" fmla="*/ 129 w 248"/>
                <a:gd name="T9" fmla="*/ 222 h 230"/>
                <a:gd name="T10" fmla="*/ 142 w 248"/>
                <a:gd name="T11" fmla="*/ 215 h 230"/>
                <a:gd name="T12" fmla="*/ 152 w 248"/>
                <a:gd name="T13" fmla="*/ 206 h 230"/>
                <a:gd name="T14" fmla="*/ 160 w 248"/>
                <a:gd name="T15" fmla="*/ 194 h 230"/>
                <a:gd name="T16" fmla="*/ 166 w 248"/>
                <a:gd name="T17" fmla="*/ 180 h 230"/>
                <a:gd name="T18" fmla="*/ 169 w 248"/>
                <a:gd name="T19" fmla="*/ 164 h 230"/>
                <a:gd name="T20" fmla="*/ 169 w 248"/>
                <a:gd name="T21" fmla="*/ 155 h 230"/>
                <a:gd name="T22" fmla="*/ 167 w 248"/>
                <a:gd name="T23" fmla="*/ 137 h 230"/>
                <a:gd name="T24" fmla="*/ 163 w 248"/>
                <a:gd name="T25" fmla="*/ 122 h 230"/>
                <a:gd name="T26" fmla="*/ 156 w 248"/>
                <a:gd name="T27" fmla="*/ 109 h 230"/>
                <a:gd name="T28" fmla="*/ 147 w 248"/>
                <a:gd name="T29" fmla="*/ 99 h 230"/>
                <a:gd name="T30" fmla="*/ 136 w 248"/>
                <a:gd name="T31" fmla="*/ 91 h 230"/>
                <a:gd name="T32" fmla="*/ 123 w 248"/>
                <a:gd name="T33" fmla="*/ 85 h 230"/>
                <a:gd name="T34" fmla="*/ 109 w 248"/>
                <a:gd name="T35" fmla="*/ 81 h 230"/>
                <a:gd name="T36" fmla="*/ 93 w 248"/>
                <a:gd name="T37" fmla="*/ 80 h 230"/>
                <a:gd name="T38" fmla="*/ 45 w 248"/>
                <a:gd name="T39" fmla="*/ 0 h 230"/>
                <a:gd name="T40" fmla="*/ 45 w 248"/>
                <a:gd name="T41" fmla="*/ 117 h 230"/>
                <a:gd name="T42" fmla="*/ 89 w 248"/>
                <a:gd name="T43" fmla="*/ 117 h 230"/>
                <a:gd name="T44" fmla="*/ 104 w 248"/>
                <a:gd name="T45" fmla="*/ 120 h 230"/>
                <a:gd name="T46" fmla="*/ 116 w 248"/>
                <a:gd name="T47" fmla="*/ 127 h 230"/>
                <a:gd name="T48" fmla="*/ 124 w 248"/>
                <a:gd name="T49" fmla="*/ 138 h 230"/>
                <a:gd name="T50" fmla="*/ 126 w 248"/>
                <a:gd name="T51" fmla="*/ 155 h 230"/>
                <a:gd name="T52" fmla="*/ 126 w 248"/>
                <a:gd name="T53" fmla="*/ 163 h 230"/>
                <a:gd name="T54" fmla="*/ 121 w 248"/>
                <a:gd name="T55" fmla="*/ 177 h 230"/>
                <a:gd name="T56" fmla="*/ 112 w 248"/>
                <a:gd name="T57" fmla="*/ 187 h 230"/>
                <a:gd name="T58" fmla="*/ 98 w 248"/>
                <a:gd name="T59" fmla="*/ 192 h 230"/>
                <a:gd name="T60" fmla="*/ 45 w 248"/>
                <a:gd name="T61" fmla="*/ 192 h 230"/>
                <a:gd name="T62" fmla="*/ 248 w 248"/>
                <a:gd name="T63" fmla="*/ 0 h 230"/>
                <a:gd name="T64" fmla="*/ 202 w 248"/>
                <a:gd name="T6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8" h="230">
                  <a:moveTo>
                    <a:pt x="45" y="0"/>
                  </a:moveTo>
                  <a:lnTo>
                    <a:pt x="0" y="0"/>
                  </a:lnTo>
                  <a:lnTo>
                    <a:pt x="0" y="230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9" y="229"/>
                  </a:lnTo>
                  <a:lnTo>
                    <a:pt x="107" y="228"/>
                  </a:lnTo>
                  <a:lnTo>
                    <a:pt x="115" y="227"/>
                  </a:lnTo>
                  <a:lnTo>
                    <a:pt x="122" y="225"/>
                  </a:lnTo>
                  <a:lnTo>
                    <a:pt x="129" y="222"/>
                  </a:lnTo>
                  <a:lnTo>
                    <a:pt x="136" y="219"/>
                  </a:lnTo>
                  <a:lnTo>
                    <a:pt x="142" y="215"/>
                  </a:lnTo>
                  <a:lnTo>
                    <a:pt x="147" y="211"/>
                  </a:lnTo>
                  <a:lnTo>
                    <a:pt x="152" y="206"/>
                  </a:lnTo>
                  <a:lnTo>
                    <a:pt x="156" y="200"/>
                  </a:lnTo>
                  <a:lnTo>
                    <a:pt x="160" y="194"/>
                  </a:lnTo>
                  <a:lnTo>
                    <a:pt x="163" y="187"/>
                  </a:lnTo>
                  <a:lnTo>
                    <a:pt x="166" y="180"/>
                  </a:lnTo>
                  <a:lnTo>
                    <a:pt x="167" y="172"/>
                  </a:lnTo>
                  <a:lnTo>
                    <a:pt x="169" y="164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46"/>
                  </a:lnTo>
                  <a:lnTo>
                    <a:pt x="167" y="137"/>
                  </a:lnTo>
                  <a:lnTo>
                    <a:pt x="166" y="129"/>
                  </a:lnTo>
                  <a:lnTo>
                    <a:pt x="163" y="122"/>
                  </a:lnTo>
                  <a:lnTo>
                    <a:pt x="160" y="115"/>
                  </a:lnTo>
                  <a:lnTo>
                    <a:pt x="156" y="109"/>
                  </a:lnTo>
                  <a:lnTo>
                    <a:pt x="152" y="104"/>
                  </a:lnTo>
                  <a:lnTo>
                    <a:pt x="147" y="99"/>
                  </a:lnTo>
                  <a:lnTo>
                    <a:pt x="142" y="94"/>
                  </a:lnTo>
                  <a:lnTo>
                    <a:pt x="136" y="91"/>
                  </a:lnTo>
                  <a:lnTo>
                    <a:pt x="130" y="88"/>
                  </a:lnTo>
                  <a:lnTo>
                    <a:pt x="123" y="85"/>
                  </a:lnTo>
                  <a:lnTo>
                    <a:pt x="116" y="83"/>
                  </a:lnTo>
                  <a:lnTo>
                    <a:pt x="109" y="81"/>
                  </a:lnTo>
                  <a:lnTo>
                    <a:pt x="101" y="81"/>
                  </a:lnTo>
                  <a:lnTo>
                    <a:pt x="93" y="80"/>
                  </a:lnTo>
                  <a:lnTo>
                    <a:pt x="45" y="80"/>
                  </a:lnTo>
                  <a:lnTo>
                    <a:pt x="45" y="0"/>
                  </a:lnTo>
                  <a:close/>
                  <a:moveTo>
                    <a:pt x="45" y="192"/>
                  </a:moveTo>
                  <a:lnTo>
                    <a:pt x="45" y="117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97" y="118"/>
                  </a:lnTo>
                  <a:lnTo>
                    <a:pt x="104" y="120"/>
                  </a:lnTo>
                  <a:lnTo>
                    <a:pt x="111" y="123"/>
                  </a:lnTo>
                  <a:lnTo>
                    <a:pt x="116" y="127"/>
                  </a:lnTo>
                  <a:lnTo>
                    <a:pt x="120" y="132"/>
                  </a:lnTo>
                  <a:lnTo>
                    <a:pt x="124" y="138"/>
                  </a:lnTo>
                  <a:lnTo>
                    <a:pt x="125" y="14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63"/>
                  </a:lnTo>
                  <a:lnTo>
                    <a:pt x="124" y="171"/>
                  </a:lnTo>
                  <a:lnTo>
                    <a:pt x="121" y="177"/>
                  </a:lnTo>
                  <a:lnTo>
                    <a:pt x="117" y="182"/>
                  </a:lnTo>
                  <a:lnTo>
                    <a:pt x="112" y="187"/>
                  </a:lnTo>
                  <a:lnTo>
                    <a:pt x="105" y="190"/>
                  </a:lnTo>
                  <a:lnTo>
                    <a:pt x="98" y="192"/>
                  </a:lnTo>
                  <a:lnTo>
                    <a:pt x="89" y="192"/>
                  </a:lnTo>
                  <a:lnTo>
                    <a:pt x="45" y="192"/>
                  </a:lnTo>
                  <a:close/>
                  <a:moveTo>
                    <a:pt x="248" y="230"/>
                  </a:moveTo>
                  <a:lnTo>
                    <a:pt x="248" y="0"/>
                  </a:lnTo>
                  <a:lnTo>
                    <a:pt x="202" y="0"/>
                  </a:lnTo>
                  <a:lnTo>
                    <a:pt x="202" y="230"/>
                  </a:lnTo>
                  <a:lnTo>
                    <a:pt x="248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8" name="Freeform 147"/>
            <p:cNvSpPr>
              <a:spLocks/>
            </p:cNvSpPr>
            <p:nvPr userDrawn="1"/>
          </p:nvSpPr>
          <p:spPr bwMode="auto">
            <a:xfrm>
              <a:off x="3397250" y="6365876"/>
              <a:ext cx="85725" cy="122238"/>
            </a:xfrm>
            <a:custGeom>
              <a:avLst/>
              <a:gdLst>
                <a:gd name="T0" fmla="*/ 214 w 214"/>
                <a:gd name="T1" fmla="*/ 0 h 310"/>
                <a:gd name="T2" fmla="*/ 166 w 214"/>
                <a:gd name="T3" fmla="*/ 0 h 310"/>
                <a:gd name="T4" fmla="*/ 107 w 214"/>
                <a:gd name="T5" fmla="*/ 173 h 310"/>
                <a:gd name="T6" fmla="*/ 49 w 214"/>
                <a:gd name="T7" fmla="*/ 0 h 310"/>
                <a:gd name="T8" fmla="*/ 0 w 214"/>
                <a:gd name="T9" fmla="*/ 0 h 310"/>
                <a:gd name="T10" fmla="*/ 84 w 214"/>
                <a:gd name="T11" fmla="*/ 225 h 310"/>
                <a:gd name="T12" fmla="*/ 51 w 214"/>
                <a:gd name="T13" fmla="*/ 310 h 310"/>
                <a:gd name="T14" fmla="*/ 99 w 214"/>
                <a:gd name="T15" fmla="*/ 310 h 310"/>
                <a:gd name="T16" fmla="*/ 214 w 214"/>
                <a:gd name="T1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310">
                  <a:moveTo>
                    <a:pt x="214" y="0"/>
                  </a:moveTo>
                  <a:lnTo>
                    <a:pt x="166" y="0"/>
                  </a:lnTo>
                  <a:lnTo>
                    <a:pt x="107" y="173"/>
                  </a:lnTo>
                  <a:lnTo>
                    <a:pt x="49" y="0"/>
                  </a:lnTo>
                  <a:lnTo>
                    <a:pt x="0" y="0"/>
                  </a:lnTo>
                  <a:lnTo>
                    <a:pt x="84" y="225"/>
                  </a:lnTo>
                  <a:lnTo>
                    <a:pt x="51" y="310"/>
                  </a:lnTo>
                  <a:lnTo>
                    <a:pt x="99" y="31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49" name="Freeform 148"/>
            <p:cNvSpPr>
              <a:spLocks/>
            </p:cNvSpPr>
            <p:nvPr userDrawn="1"/>
          </p:nvSpPr>
          <p:spPr bwMode="auto">
            <a:xfrm>
              <a:off x="3486150" y="6365876"/>
              <a:ext cx="82550" cy="92075"/>
            </a:xfrm>
            <a:custGeom>
              <a:avLst/>
              <a:gdLst>
                <a:gd name="T0" fmla="*/ 94 w 209"/>
                <a:gd name="T1" fmla="*/ 39 h 234"/>
                <a:gd name="T2" fmla="*/ 164 w 209"/>
                <a:gd name="T3" fmla="*/ 39 h 234"/>
                <a:gd name="T4" fmla="*/ 164 w 209"/>
                <a:gd name="T5" fmla="*/ 230 h 234"/>
                <a:gd name="T6" fmla="*/ 209 w 209"/>
                <a:gd name="T7" fmla="*/ 230 h 234"/>
                <a:gd name="T8" fmla="*/ 209 w 209"/>
                <a:gd name="T9" fmla="*/ 0 h 234"/>
                <a:gd name="T10" fmla="*/ 52 w 209"/>
                <a:gd name="T11" fmla="*/ 0 h 234"/>
                <a:gd name="T12" fmla="*/ 47 w 209"/>
                <a:gd name="T13" fmla="*/ 116 h 234"/>
                <a:gd name="T14" fmla="*/ 47 w 209"/>
                <a:gd name="T15" fmla="*/ 116 h 234"/>
                <a:gd name="T16" fmla="*/ 45 w 209"/>
                <a:gd name="T17" fmla="*/ 135 h 234"/>
                <a:gd name="T18" fmla="*/ 42 w 209"/>
                <a:gd name="T19" fmla="*/ 152 h 234"/>
                <a:gd name="T20" fmla="*/ 38 w 209"/>
                <a:gd name="T21" fmla="*/ 165 h 234"/>
                <a:gd name="T22" fmla="*/ 32 w 209"/>
                <a:gd name="T23" fmla="*/ 175 h 234"/>
                <a:gd name="T24" fmla="*/ 26 w 209"/>
                <a:gd name="T25" fmla="*/ 183 h 234"/>
                <a:gd name="T26" fmla="*/ 18 w 209"/>
                <a:gd name="T27" fmla="*/ 189 h 234"/>
                <a:gd name="T28" fmla="*/ 9 w 209"/>
                <a:gd name="T29" fmla="*/ 193 h 234"/>
                <a:gd name="T30" fmla="*/ 0 w 209"/>
                <a:gd name="T31" fmla="*/ 195 h 234"/>
                <a:gd name="T32" fmla="*/ 12 w 209"/>
                <a:gd name="T33" fmla="*/ 234 h 234"/>
                <a:gd name="T34" fmla="*/ 12 w 209"/>
                <a:gd name="T35" fmla="*/ 234 h 234"/>
                <a:gd name="T36" fmla="*/ 19 w 209"/>
                <a:gd name="T37" fmla="*/ 233 h 234"/>
                <a:gd name="T38" fmla="*/ 27 w 209"/>
                <a:gd name="T39" fmla="*/ 230 h 234"/>
                <a:gd name="T40" fmla="*/ 34 w 209"/>
                <a:gd name="T41" fmla="*/ 228 h 234"/>
                <a:gd name="T42" fmla="*/ 41 w 209"/>
                <a:gd name="T43" fmla="*/ 224 h 234"/>
                <a:gd name="T44" fmla="*/ 48 w 209"/>
                <a:gd name="T45" fmla="*/ 220 h 234"/>
                <a:gd name="T46" fmla="*/ 54 w 209"/>
                <a:gd name="T47" fmla="*/ 215 h 234"/>
                <a:gd name="T48" fmla="*/ 60 w 209"/>
                <a:gd name="T49" fmla="*/ 209 h 234"/>
                <a:gd name="T50" fmla="*/ 66 w 209"/>
                <a:gd name="T51" fmla="*/ 203 h 234"/>
                <a:gd name="T52" fmla="*/ 71 w 209"/>
                <a:gd name="T53" fmla="*/ 195 h 234"/>
                <a:gd name="T54" fmla="*/ 75 w 209"/>
                <a:gd name="T55" fmla="*/ 187 h 234"/>
                <a:gd name="T56" fmla="*/ 79 w 209"/>
                <a:gd name="T57" fmla="*/ 178 h 234"/>
                <a:gd name="T58" fmla="*/ 83 w 209"/>
                <a:gd name="T59" fmla="*/ 168 h 234"/>
                <a:gd name="T60" fmla="*/ 86 w 209"/>
                <a:gd name="T61" fmla="*/ 156 h 234"/>
                <a:gd name="T62" fmla="*/ 88 w 209"/>
                <a:gd name="T63" fmla="*/ 143 h 234"/>
                <a:gd name="T64" fmla="*/ 89 w 209"/>
                <a:gd name="T65" fmla="*/ 130 h 234"/>
                <a:gd name="T66" fmla="*/ 91 w 209"/>
                <a:gd name="T67" fmla="*/ 116 h 234"/>
                <a:gd name="T68" fmla="*/ 94 w 209"/>
                <a:gd name="T69" fmla="*/ 3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9" h="234">
                  <a:moveTo>
                    <a:pt x="94" y="39"/>
                  </a:moveTo>
                  <a:lnTo>
                    <a:pt x="164" y="39"/>
                  </a:lnTo>
                  <a:lnTo>
                    <a:pt x="164" y="230"/>
                  </a:lnTo>
                  <a:lnTo>
                    <a:pt x="209" y="230"/>
                  </a:lnTo>
                  <a:lnTo>
                    <a:pt x="209" y="0"/>
                  </a:lnTo>
                  <a:lnTo>
                    <a:pt x="52" y="0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5" y="135"/>
                  </a:lnTo>
                  <a:lnTo>
                    <a:pt x="42" y="152"/>
                  </a:lnTo>
                  <a:lnTo>
                    <a:pt x="38" y="165"/>
                  </a:lnTo>
                  <a:lnTo>
                    <a:pt x="32" y="175"/>
                  </a:lnTo>
                  <a:lnTo>
                    <a:pt x="26" y="183"/>
                  </a:lnTo>
                  <a:lnTo>
                    <a:pt x="18" y="189"/>
                  </a:lnTo>
                  <a:lnTo>
                    <a:pt x="9" y="193"/>
                  </a:lnTo>
                  <a:lnTo>
                    <a:pt x="0" y="195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19" y="233"/>
                  </a:lnTo>
                  <a:lnTo>
                    <a:pt x="27" y="230"/>
                  </a:lnTo>
                  <a:lnTo>
                    <a:pt x="34" y="228"/>
                  </a:lnTo>
                  <a:lnTo>
                    <a:pt x="41" y="224"/>
                  </a:lnTo>
                  <a:lnTo>
                    <a:pt x="48" y="220"/>
                  </a:lnTo>
                  <a:lnTo>
                    <a:pt x="54" y="215"/>
                  </a:lnTo>
                  <a:lnTo>
                    <a:pt x="60" y="209"/>
                  </a:lnTo>
                  <a:lnTo>
                    <a:pt x="66" y="203"/>
                  </a:lnTo>
                  <a:lnTo>
                    <a:pt x="71" y="195"/>
                  </a:lnTo>
                  <a:lnTo>
                    <a:pt x="75" y="187"/>
                  </a:lnTo>
                  <a:lnTo>
                    <a:pt x="79" y="178"/>
                  </a:lnTo>
                  <a:lnTo>
                    <a:pt x="83" y="168"/>
                  </a:lnTo>
                  <a:lnTo>
                    <a:pt x="86" y="156"/>
                  </a:lnTo>
                  <a:lnTo>
                    <a:pt x="88" y="143"/>
                  </a:lnTo>
                  <a:lnTo>
                    <a:pt x="89" y="130"/>
                  </a:lnTo>
                  <a:lnTo>
                    <a:pt x="91" y="116"/>
                  </a:lnTo>
                  <a:lnTo>
                    <a:pt x="94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0" name="Freeform 149"/>
            <p:cNvSpPr>
              <a:spLocks/>
            </p:cNvSpPr>
            <p:nvPr userDrawn="1"/>
          </p:nvSpPr>
          <p:spPr bwMode="auto">
            <a:xfrm>
              <a:off x="3584575" y="6365876"/>
              <a:ext cx="85725" cy="122238"/>
            </a:xfrm>
            <a:custGeom>
              <a:avLst/>
              <a:gdLst>
                <a:gd name="T0" fmla="*/ 214 w 214"/>
                <a:gd name="T1" fmla="*/ 0 h 310"/>
                <a:gd name="T2" fmla="*/ 166 w 214"/>
                <a:gd name="T3" fmla="*/ 0 h 310"/>
                <a:gd name="T4" fmla="*/ 107 w 214"/>
                <a:gd name="T5" fmla="*/ 173 h 310"/>
                <a:gd name="T6" fmla="*/ 49 w 214"/>
                <a:gd name="T7" fmla="*/ 0 h 310"/>
                <a:gd name="T8" fmla="*/ 0 w 214"/>
                <a:gd name="T9" fmla="*/ 0 h 310"/>
                <a:gd name="T10" fmla="*/ 84 w 214"/>
                <a:gd name="T11" fmla="*/ 225 h 310"/>
                <a:gd name="T12" fmla="*/ 51 w 214"/>
                <a:gd name="T13" fmla="*/ 310 h 310"/>
                <a:gd name="T14" fmla="*/ 99 w 214"/>
                <a:gd name="T15" fmla="*/ 310 h 310"/>
                <a:gd name="T16" fmla="*/ 214 w 214"/>
                <a:gd name="T1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310">
                  <a:moveTo>
                    <a:pt x="214" y="0"/>
                  </a:moveTo>
                  <a:lnTo>
                    <a:pt x="166" y="0"/>
                  </a:lnTo>
                  <a:lnTo>
                    <a:pt x="107" y="173"/>
                  </a:lnTo>
                  <a:lnTo>
                    <a:pt x="49" y="0"/>
                  </a:lnTo>
                  <a:lnTo>
                    <a:pt x="0" y="0"/>
                  </a:lnTo>
                  <a:lnTo>
                    <a:pt x="84" y="225"/>
                  </a:lnTo>
                  <a:lnTo>
                    <a:pt x="51" y="310"/>
                  </a:lnTo>
                  <a:lnTo>
                    <a:pt x="99" y="31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1" name="Freeform 150"/>
            <p:cNvSpPr>
              <a:spLocks/>
            </p:cNvSpPr>
            <p:nvPr userDrawn="1"/>
          </p:nvSpPr>
          <p:spPr bwMode="auto">
            <a:xfrm>
              <a:off x="3681413" y="6365876"/>
              <a:ext cx="69850" cy="90488"/>
            </a:xfrm>
            <a:custGeom>
              <a:avLst/>
              <a:gdLst>
                <a:gd name="T0" fmla="*/ 179 w 179"/>
                <a:gd name="T1" fmla="*/ 0 h 230"/>
                <a:gd name="T2" fmla="*/ 134 w 179"/>
                <a:gd name="T3" fmla="*/ 0 h 230"/>
                <a:gd name="T4" fmla="*/ 134 w 179"/>
                <a:gd name="T5" fmla="*/ 92 h 230"/>
                <a:gd name="T6" fmla="*/ 134 w 179"/>
                <a:gd name="T7" fmla="*/ 92 h 230"/>
                <a:gd name="T8" fmla="*/ 125 w 179"/>
                <a:gd name="T9" fmla="*/ 98 h 230"/>
                <a:gd name="T10" fmla="*/ 113 w 179"/>
                <a:gd name="T11" fmla="*/ 102 h 230"/>
                <a:gd name="T12" fmla="*/ 100 w 179"/>
                <a:gd name="T13" fmla="*/ 105 h 230"/>
                <a:gd name="T14" fmla="*/ 85 w 179"/>
                <a:gd name="T15" fmla="*/ 106 h 230"/>
                <a:gd name="T16" fmla="*/ 85 w 179"/>
                <a:gd name="T17" fmla="*/ 106 h 230"/>
                <a:gd name="T18" fmla="*/ 76 w 179"/>
                <a:gd name="T19" fmla="*/ 105 h 230"/>
                <a:gd name="T20" fmla="*/ 68 w 179"/>
                <a:gd name="T21" fmla="*/ 103 h 230"/>
                <a:gd name="T22" fmla="*/ 61 w 179"/>
                <a:gd name="T23" fmla="*/ 101 h 230"/>
                <a:gd name="T24" fmla="*/ 56 w 179"/>
                <a:gd name="T25" fmla="*/ 97 h 230"/>
                <a:gd name="T26" fmla="*/ 51 w 179"/>
                <a:gd name="T27" fmla="*/ 91 h 230"/>
                <a:gd name="T28" fmla="*/ 48 w 179"/>
                <a:gd name="T29" fmla="*/ 85 h 230"/>
                <a:gd name="T30" fmla="*/ 46 w 179"/>
                <a:gd name="T31" fmla="*/ 76 h 230"/>
                <a:gd name="T32" fmla="*/ 45 w 179"/>
                <a:gd name="T33" fmla="*/ 66 h 230"/>
                <a:gd name="T34" fmla="*/ 45 w 179"/>
                <a:gd name="T35" fmla="*/ 0 h 230"/>
                <a:gd name="T36" fmla="*/ 0 w 179"/>
                <a:gd name="T37" fmla="*/ 0 h 230"/>
                <a:gd name="T38" fmla="*/ 0 w 179"/>
                <a:gd name="T39" fmla="*/ 64 h 230"/>
                <a:gd name="T40" fmla="*/ 0 w 179"/>
                <a:gd name="T41" fmla="*/ 64 h 230"/>
                <a:gd name="T42" fmla="*/ 1 w 179"/>
                <a:gd name="T43" fmla="*/ 74 h 230"/>
                <a:gd name="T44" fmla="*/ 2 w 179"/>
                <a:gd name="T45" fmla="*/ 83 h 230"/>
                <a:gd name="T46" fmla="*/ 3 w 179"/>
                <a:gd name="T47" fmla="*/ 91 h 230"/>
                <a:gd name="T48" fmla="*/ 5 w 179"/>
                <a:gd name="T49" fmla="*/ 99 h 230"/>
                <a:gd name="T50" fmla="*/ 8 w 179"/>
                <a:gd name="T51" fmla="*/ 106 h 230"/>
                <a:gd name="T52" fmla="*/ 11 w 179"/>
                <a:gd name="T53" fmla="*/ 113 h 230"/>
                <a:gd name="T54" fmla="*/ 15 w 179"/>
                <a:gd name="T55" fmla="*/ 119 h 230"/>
                <a:gd name="T56" fmla="*/ 19 w 179"/>
                <a:gd name="T57" fmla="*/ 124 h 230"/>
                <a:gd name="T58" fmla="*/ 24 w 179"/>
                <a:gd name="T59" fmla="*/ 129 h 230"/>
                <a:gd name="T60" fmla="*/ 30 w 179"/>
                <a:gd name="T61" fmla="*/ 133 h 230"/>
                <a:gd name="T62" fmla="*/ 36 w 179"/>
                <a:gd name="T63" fmla="*/ 137 h 230"/>
                <a:gd name="T64" fmla="*/ 42 w 179"/>
                <a:gd name="T65" fmla="*/ 140 h 230"/>
                <a:gd name="T66" fmla="*/ 50 w 179"/>
                <a:gd name="T67" fmla="*/ 142 h 230"/>
                <a:gd name="T68" fmla="*/ 57 w 179"/>
                <a:gd name="T69" fmla="*/ 145 h 230"/>
                <a:gd name="T70" fmla="*/ 65 w 179"/>
                <a:gd name="T71" fmla="*/ 145 h 230"/>
                <a:gd name="T72" fmla="*/ 74 w 179"/>
                <a:gd name="T73" fmla="*/ 146 h 230"/>
                <a:gd name="T74" fmla="*/ 74 w 179"/>
                <a:gd name="T75" fmla="*/ 146 h 230"/>
                <a:gd name="T76" fmla="*/ 91 w 179"/>
                <a:gd name="T77" fmla="*/ 145 h 230"/>
                <a:gd name="T78" fmla="*/ 108 w 179"/>
                <a:gd name="T79" fmla="*/ 141 h 230"/>
                <a:gd name="T80" fmla="*/ 122 w 179"/>
                <a:gd name="T81" fmla="*/ 137 h 230"/>
                <a:gd name="T82" fmla="*/ 134 w 179"/>
                <a:gd name="T83" fmla="*/ 131 h 230"/>
                <a:gd name="T84" fmla="*/ 134 w 179"/>
                <a:gd name="T85" fmla="*/ 230 h 230"/>
                <a:gd name="T86" fmla="*/ 179 w 179"/>
                <a:gd name="T87" fmla="*/ 230 h 230"/>
                <a:gd name="T88" fmla="*/ 179 w 179"/>
                <a:gd name="T8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lnTo>
                    <a:pt x="134" y="0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25" y="98"/>
                  </a:lnTo>
                  <a:lnTo>
                    <a:pt x="113" y="102"/>
                  </a:lnTo>
                  <a:lnTo>
                    <a:pt x="100" y="105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76" y="105"/>
                  </a:lnTo>
                  <a:lnTo>
                    <a:pt x="68" y="103"/>
                  </a:lnTo>
                  <a:lnTo>
                    <a:pt x="61" y="101"/>
                  </a:lnTo>
                  <a:lnTo>
                    <a:pt x="56" y="97"/>
                  </a:lnTo>
                  <a:lnTo>
                    <a:pt x="51" y="91"/>
                  </a:lnTo>
                  <a:lnTo>
                    <a:pt x="48" y="85"/>
                  </a:lnTo>
                  <a:lnTo>
                    <a:pt x="46" y="76"/>
                  </a:lnTo>
                  <a:lnTo>
                    <a:pt x="45" y="66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1" y="74"/>
                  </a:lnTo>
                  <a:lnTo>
                    <a:pt x="2" y="83"/>
                  </a:lnTo>
                  <a:lnTo>
                    <a:pt x="3" y="91"/>
                  </a:lnTo>
                  <a:lnTo>
                    <a:pt x="5" y="99"/>
                  </a:lnTo>
                  <a:lnTo>
                    <a:pt x="8" y="106"/>
                  </a:lnTo>
                  <a:lnTo>
                    <a:pt x="11" y="113"/>
                  </a:lnTo>
                  <a:lnTo>
                    <a:pt x="15" y="119"/>
                  </a:lnTo>
                  <a:lnTo>
                    <a:pt x="19" y="124"/>
                  </a:lnTo>
                  <a:lnTo>
                    <a:pt x="24" y="129"/>
                  </a:lnTo>
                  <a:lnTo>
                    <a:pt x="30" y="133"/>
                  </a:lnTo>
                  <a:lnTo>
                    <a:pt x="36" y="137"/>
                  </a:lnTo>
                  <a:lnTo>
                    <a:pt x="42" y="140"/>
                  </a:lnTo>
                  <a:lnTo>
                    <a:pt x="50" y="142"/>
                  </a:lnTo>
                  <a:lnTo>
                    <a:pt x="57" y="145"/>
                  </a:lnTo>
                  <a:lnTo>
                    <a:pt x="65" y="145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91" y="145"/>
                  </a:lnTo>
                  <a:lnTo>
                    <a:pt x="108" y="141"/>
                  </a:lnTo>
                  <a:lnTo>
                    <a:pt x="122" y="137"/>
                  </a:lnTo>
                  <a:lnTo>
                    <a:pt x="134" y="131"/>
                  </a:lnTo>
                  <a:lnTo>
                    <a:pt x="134" y="230"/>
                  </a:lnTo>
                  <a:lnTo>
                    <a:pt x="179" y="230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2" name="Freeform 151"/>
            <p:cNvSpPr>
              <a:spLocks/>
            </p:cNvSpPr>
            <p:nvPr userDrawn="1"/>
          </p:nvSpPr>
          <p:spPr bwMode="auto">
            <a:xfrm>
              <a:off x="3775075" y="6365876"/>
              <a:ext cx="117475" cy="90488"/>
            </a:xfrm>
            <a:custGeom>
              <a:avLst/>
              <a:gdLst>
                <a:gd name="T0" fmla="*/ 294 w 294"/>
                <a:gd name="T1" fmla="*/ 0 h 230"/>
                <a:gd name="T2" fmla="*/ 249 w 294"/>
                <a:gd name="T3" fmla="*/ 0 h 230"/>
                <a:gd name="T4" fmla="*/ 249 w 294"/>
                <a:gd name="T5" fmla="*/ 190 h 230"/>
                <a:gd name="T6" fmla="*/ 169 w 294"/>
                <a:gd name="T7" fmla="*/ 190 h 230"/>
                <a:gd name="T8" fmla="*/ 169 w 294"/>
                <a:gd name="T9" fmla="*/ 0 h 230"/>
                <a:gd name="T10" fmla="*/ 125 w 294"/>
                <a:gd name="T11" fmla="*/ 0 h 230"/>
                <a:gd name="T12" fmla="*/ 125 w 294"/>
                <a:gd name="T13" fmla="*/ 190 h 230"/>
                <a:gd name="T14" fmla="*/ 45 w 294"/>
                <a:gd name="T15" fmla="*/ 190 h 230"/>
                <a:gd name="T16" fmla="*/ 45 w 294"/>
                <a:gd name="T17" fmla="*/ 0 h 230"/>
                <a:gd name="T18" fmla="*/ 0 w 294"/>
                <a:gd name="T19" fmla="*/ 0 h 230"/>
                <a:gd name="T20" fmla="*/ 0 w 294"/>
                <a:gd name="T21" fmla="*/ 230 h 230"/>
                <a:gd name="T22" fmla="*/ 294 w 294"/>
                <a:gd name="T23" fmla="*/ 230 h 230"/>
                <a:gd name="T24" fmla="*/ 294 w 294"/>
                <a:gd name="T2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230">
                  <a:moveTo>
                    <a:pt x="294" y="0"/>
                  </a:moveTo>
                  <a:lnTo>
                    <a:pt x="249" y="0"/>
                  </a:lnTo>
                  <a:lnTo>
                    <a:pt x="249" y="190"/>
                  </a:lnTo>
                  <a:lnTo>
                    <a:pt x="169" y="190"/>
                  </a:lnTo>
                  <a:lnTo>
                    <a:pt x="169" y="0"/>
                  </a:lnTo>
                  <a:lnTo>
                    <a:pt x="125" y="0"/>
                  </a:lnTo>
                  <a:lnTo>
                    <a:pt x="125" y="190"/>
                  </a:lnTo>
                  <a:lnTo>
                    <a:pt x="45" y="19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294" y="230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3" name="Freeform 152"/>
            <p:cNvSpPr>
              <a:spLocks noEditPoints="1"/>
            </p:cNvSpPr>
            <p:nvPr userDrawn="1"/>
          </p:nvSpPr>
          <p:spPr bwMode="auto">
            <a:xfrm>
              <a:off x="3910013" y="6362701"/>
              <a:ext cx="74613" cy="95250"/>
            </a:xfrm>
            <a:custGeom>
              <a:avLst/>
              <a:gdLst>
                <a:gd name="T0" fmla="*/ 187 w 187"/>
                <a:gd name="T1" fmla="*/ 77 h 239"/>
                <a:gd name="T2" fmla="*/ 187 w 187"/>
                <a:gd name="T3" fmla="*/ 67 h 239"/>
                <a:gd name="T4" fmla="*/ 183 w 187"/>
                <a:gd name="T5" fmla="*/ 50 h 239"/>
                <a:gd name="T6" fmla="*/ 177 w 187"/>
                <a:gd name="T7" fmla="*/ 36 h 239"/>
                <a:gd name="T8" fmla="*/ 169 w 187"/>
                <a:gd name="T9" fmla="*/ 24 h 239"/>
                <a:gd name="T10" fmla="*/ 157 w 187"/>
                <a:gd name="T11" fmla="*/ 14 h 239"/>
                <a:gd name="T12" fmla="*/ 144 w 187"/>
                <a:gd name="T13" fmla="*/ 7 h 239"/>
                <a:gd name="T14" fmla="*/ 128 w 187"/>
                <a:gd name="T15" fmla="*/ 2 h 239"/>
                <a:gd name="T16" fmla="*/ 110 w 187"/>
                <a:gd name="T17" fmla="*/ 0 h 239"/>
                <a:gd name="T18" fmla="*/ 101 w 187"/>
                <a:gd name="T19" fmla="*/ 0 h 239"/>
                <a:gd name="T20" fmla="*/ 78 w 187"/>
                <a:gd name="T21" fmla="*/ 1 h 239"/>
                <a:gd name="T22" fmla="*/ 58 w 187"/>
                <a:gd name="T23" fmla="*/ 5 h 239"/>
                <a:gd name="T24" fmla="*/ 40 w 187"/>
                <a:gd name="T25" fmla="*/ 11 h 239"/>
                <a:gd name="T26" fmla="*/ 23 w 187"/>
                <a:gd name="T27" fmla="*/ 20 h 239"/>
                <a:gd name="T28" fmla="*/ 40 w 187"/>
                <a:gd name="T29" fmla="*/ 54 h 239"/>
                <a:gd name="T30" fmla="*/ 68 w 187"/>
                <a:gd name="T31" fmla="*/ 43 h 239"/>
                <a:gd name="T32" fmla="*/ 100 w 187"/>
                <a:gd name="T33" fmla="*/ 40 h 239"/>
                <a:gd name="T34" fmla="*/ 110 w 187"/>
                <a:gd name="T35" fmla="*/ 41 h 239"/>
                <a:gd name="T36" fmla="*/ 126 w 187"/>
                <a:gd name="T37" fmla="*/ 46 h 239"/>
                <a:gd name="T38" fmla="*/ 137 w 187"/>
                <a:gd name="T39" fmla="*/ 56 h 239"/>
                <a:gd name="T40" fmla="*/ 142 w 187"/>
                <a:gd name="T41" fmla="*/ 70 h 239"/>
                <a:gd name="T42" fmla="*/ 143 w 187"/>
                <a:gd name="T43" fmla="*/ 96 h 239"/>
                <a:gd name="T44" fmla="*/ 134 w 187"/>
                <a:gd name="T45" fmla="*/ 92 h 239"/>
                <a:gd name="T46" fmla="*/ 109 w 187"/>
                <a:gd name="T47" fmla="*/ 88 h 239"/>
                <a:gd name="T48" fmla="*/ 92 w 187"/>
                <a:gd name="T49" fmla="*/ 87 h 239"/>
                <a:gd name="T50" fmla="*/ 64 w 187"/>
                <a:gd name="T51" fmla="*/ 89 h 239"/>
                <a:gd name="T52" fmla="*/ 48 w 187"/>
                <a:gd name="T53" fmla="*/ 94 h 239"/>
                <a:gd name="T54" fmla="*/ 33 w 187"/>
                <a:gd name="T55" fmla="*/ 101 h 239"/>
                <a:gd name="T56" fmla="*/ 21 w 187"/>
                <a:gd name="T57" fmla="*/ 110 h 239"/>
                <a:gd name="T58" fmla="*/ 11 w 187"/>
                <a:gd name="T59" fmla="*/ 121 h 239"/>
                <a:gd name="T60" fmla="*/ 4 w 187"/>
                <a:gd name="T61" fmla="*/ 135 h 239"/>
                <a:gd name="T62" fmla="*/ 0 w 187"/>
                <a:gd name="T63" fmla="*/ 153 h 239"/>
                <a:gd name="T64" fmla="*/ 0 w 187"/>
                <a:gd name="T65" fmla="*/ 162 h 239"/>
                <a:gd name="T66" fmla="*/ 2 w 187"/>
                <a:gd name="T67" fmla="*/ 182 h 239"/>
                <a:gd name="T68" fmla="*/ 7 w 187"/>
                <a:gd name="T69" fmla="*/ 198 h 239"/>
                <a:gd name="T70" fmla="*/ 15 w 187"/>
                <a:gd name="T71" fmla="*/ 211 h 239"/>
                <a:gd name="T72" fmla="*/ 27 w 187"/>
                <a:gd name="T73" fmla="*/ 222 h 239"/>
                <a:gd name="T74" fmla="*/ 39 w 187"/>
                <a:gd name="T75" fmla="*/ 230 h 239"/>
                <a:gd name="T76" fmla="*/ 52 w 187"/>
                <a:gd name="T77" fmla="*/ 235 h 239"/>
                <a:gd name="T78" fmla="*/ 80 w 187"/>
                <a:gd name="T79" fmla="*/ 239 h 239"/>
                <a:gd name="T80" fmla="*/ 91 w 187"/>
                <a:gd name="T81" fmla="*/ 239 h 239"/>
                <a:gd name="T82" fmla="*/ 109 w 187"/>
                <a:gd name="T83" fmla="*/ 234 h 239"/>
                <a:gd name="T84" fmla="*/ 116 w 187"/>
                <a:gd name="T85" fmla="*/ 231 h 239"/>
                <a:gd name="T86" fmla="*/ 135 w 187"/>
                <a:gd name="T87" fmla="*/ 219 h 239"/>
                <a:gd name="T88" fmla="*/ 143 w 187"/>
                <a:gd name="T89" fmla="*/ 235 h 239"/>
                <a:gd name="T90" fmla="*/ 143 w 187"/>
                <a:gd name="T91" fmla="*/ 170 h 239"/>
                <a:gd name="T92" fmla="*/ 139 w 187"/>
                <a:gd name="T93" fmla="*/ 175 h 239"/>
                <a:gd name="T94" fmla="*/ 127 w 187"/>
                <a:gd name="T95" fmla="*/ 185 h 239"/>
                <a:gd name="T96" fmla="*/ 113 w 187"/>
                <a:gd name="T97" fmla="*/ 193 h 239"/>
                <a:gd name="T98" fmla="*/ 96 w 187"/>
                <a:gd name="T99" fmla="*/ 198 h 239"/>
                <a:gd name="T100" fmla="*/ 88 w 187"/>
                <a:gd name="T101" fmla="*/ 199 h 239"/>
                <a:gd name="T102" fmla="*/ 69 w 187"/>
                <a:gd name="T103" fmla="*/ 196 h 239"/>
                <a:gd name="T104" fmla="*/ 56 w 187"/>
                <a:gd name="T105" fmla="*/ 190 h 239"/>
                <a:gd name="T106" fmla="*/ 51 w 187"/>
                <a:gd name="T107" fmla="*/ 185 h 239"/>
                <a:gd name="T108" fmla="*/ 45 w 187"/>
                <a:gd name="T109" fmla="*/ 170 h 239"/>
                <a:gd name="T110" fmla="*/ 44 w 187"/>
                <a:gd name="T111" fmla="*/ 161 h 239"/>
                <a:gd name="T112" fmla="*/ 47 w 187"/>
                <a:gd name="T113" fmla="*/ 146 h 239"/>
                <a:gd name="T114" fmla="*/ 56 w 187"/>
                <a:gd name="T115" fmla="*/ 135 h 239"/>
                <a:gd name="T116" fmla="*/ 71 w 187"/>
                <a:gd name="T117" fmla="*/ 128 h 239"/>
                <a:gd name="T118" fmla="*/ 91 w 187"/>
                <a:gd name="T119" fmla="*/ 126 h 239"/>
                <a:gd name="T120" fmla="*/ 108 w 187"/>
                <a:gd name="T121" fmla="*/ 126 h 239"/>
                <a:gd name="T122" fmla="*/ 121 w 187"/>
                <a:gd name="T123" fmla="*/ 128 h 239"/>
                <a:gd name="T124" fmla="*/ 143 w 187"/>
                <a:gd name="T125" fmla="*/ 13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239">
                  <a:moveTo>
                    <a:pt x="187" y="235"/>
                  </a:moveTo>
                  <a:lnTo>
                    <a:pt x="187" y="77"/>
                  </a:lnTo>
                  <a:lnTo>
                    <a:pt x="187" y="77"/>
                  </a:lnTo>
                  <a:lnTo>
                    <a:pt x="187" y="67"/>
                  </a:lnTo>
                  <a:lnTo>
                    <a:pt x="185" y="58"/>
                  </a:lnTo>
                  <a:lnTo>
                    <a:pt x="183" y="50"/>
                  </a:lnTo>
                  <a:lnTo>
                    <a:pt x="181" y="43"/>
                  </a:lnTo>
                  <a:lnTo>
                    <a:pt x="177" y="36"/>
                  </a:lnTo>
                  <a:lnTo>
                    <a:pt x="173" y="29"/>
                  </a:lnTo>
                  <a:lnTo>
                    <a:pt x="169" y="24"/>
                  </a:lnTo>
                  <a:lnTo>
                    <a:pt x="163" y="19"/>
                  </a:lnTo>
                  <a:lnTo>
                    <a:pt x="157" y="14"/>
                  </a:lnTo>
                  <a:lnTo>
                    <a:pt x="151" y="10"/>
                  </a:lnTo>
                  <a:lnTo>
                    <a:pt x="144" y="7"/>
                  </a:lnTo>
                  <a:lnTo>
                    <a:pt x="136" y="5"/>
                  </a:lnTo>
                  <a:lnTo>
                    <a:pt x="128" y="2"/>
                  </a:lnTo>
                  <a:lnTo>
                    <a:pt x="119" y="1"/>
                  </a:lnTo>
                  <a:lnTo>
                    <a:pt x="110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89" y="0"/>
                  </a:lnTo>
                  <a:lnTo>
                    <a:pt x="78" y="1"/>
                  </a:lnTo>
                  <a:lnTo>
                    <a:pt x="68" y="3"/>
                  </a:lnTo>
                  <a:lnTo>
                    <a:pt x="58" y="5"/>
                  </a:lnTo>
                  <a:lnTo>
                    <a:pt x="49" y="8"/>
                  </a:lnTo>
                  <a:lnTo>
                    <a:pt x="40" y="11"/>
                  </a:lnTo>
                  <a:lnTo>
                    <a:pt x="31" y="16"/>
                  </a:lnTo>
                  <a:lnTo>
                    <a:pt x="23" y="20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54" y="48"/>
                  </a:lnTo>
                  <a:lnTo>
                    <a:pt x="68" y="43"/>
                  </a:lnTo>
                  <a:lnTo>
                    <a:pt x="83" y="41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10" y="41"/>
                  </a:lnTo>
                  <a:lnTo>
                    <a:pt x="118" y="43"/>
                  </a:lnTo>
                  <a:lnTo>
                    <a:pt x="126" y="46"/>
                  </a:lnTo>
                  <a:lnTo>
                    <a:pt x="132" y="50"/>
                  </a:lnTo>
                  <a:lnTo>
                    <a:pt x="137" y="56"/>
                  </a:lnTo>
                  <a:lnTo>
                    <a:pt x="140" y="62"/>
                  </a:lnTo>
                  <a:lnTo>
                    <a:pt x="142" y="70"/>
                  </a:lnTo>
                  <a:lnTo>
                    <a:pt x="143" y="79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34" y="92"/>
                  </a:lnTo>
                  <a:lnTo>
                    <a:pt x="122" y="89"/>
                  </a:lnTo>
                  <a:lnTo>
                    <a:pt x="109" y="88"/>
                  </a:lnTo>
                  <a:lnTo>
                    <a:pt x="92" y="87"/>
                  </a:lnTo>
                  <a:lnTo>
                    <a:pt x="92" y="87"/>
                  </a:lnTo>
                  <a:lnTo>
                    <a:pt x="73" y="88"/>
                  </a:lnTo>
                  <a:lnTo>
                    <a:pt x="64" y="89"/>
                  </a:lnTo>
                  <a:lnTo>
                    <a:pt x="56" y="91"/>
                  </a:lnTo>
                  <a:lnTo>
                    <a:pt x="48" y="94"/>
                  </a:lnTo>
                  <a:lnTo>
                    <a:pt x="40" y="97"/>
                  </a:lnTo>
                  <a:lnTo>
                    <a:pt x="33" y="101"/>
                  </a:lnTo>
                  <a:lnTo>
                    <a:pt x="27" y="105"/>
                  </a:lnTo>
                  <a:lnTo>
                    <a:pt x="21" y="110"/>
                  </a:lnTo>
                  <a:lnTo>
                    <a:pt x="15" y="115"/>
                  </a:lnTo>
                  <a:lnTo>
                    <a:pt x="11" y="121"/>
                  </a:lnTo>
                  <a:lnTo>
                    <a:pt x="7" y="128"/>
                  </a:lnTo>
                  <a:lnTo>
                    <a:pt x="4" y="135"/>
                  </a:lnTo>
                  <a:lnTo>
                    <a:pt x="2" y="143"/>
                  </a:lnTo>
                  <a:lnTo>
                    <a:pt x="0" y="153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" y="182"/>
                  </a:lnTo>
                  <a:lnTo>
                    <a:pt x="4" y="190"/>
                  </a:lnTo>
                  <a:lnTo>
                    <a:pt x="7" y="198"/>
                  </a:lnTo>
                  <a:lnTo>
                    <a:pt x="11" y="205"/>
                  </a:lnTo>
                  <a:lnTo>
                    <a:pt x="15" y="211"/>
                  </a:lnTo>
                  <a:lnTo>
                    <a:pt x="21" y="217"/>
                  </a:lnTo>
                  <a:lnTo>
                    <a:pt x="27" y="222"/>
                  </a:lnTo>
                  <a:lnTo>
                    <a:pt x="33" y="226"/>
                  </a:lnTo>
                  <a:lnTo>
                    <a:pt x="39" y="230"/>
                  </a:lnTo>
                  <a:lnTo>
                    <a:pt x="45" y="233"/>
                  </a:lnTo>
                  <a:lnTo>
                    <a:pt x="52" y="235"/>
                  </a:lnTo>
                  <a:lnTo>
                    <a:pt x="66" y="238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91" y="239"/>
                  </a:lnTo>
                  <a:lnTo>
                    <a:pt x="101" y="237"/>
                  </a:lnTo>
                  <a:lnTo>
                    <a:pt x="109" y="234"/>
                  </a:lnTo>
                  <a:lnTo>
                    <a:pt x="116" y="231"/>
                  </a:lnTo>
                  <a:lnTo>
                    <a:pt x="116" y="231"/>
                  </a:lnTo>
                  <a:lnTo>
                    <a:pt x="128" y="224"/>
                  </a:lnTo>
                  <a:lnTo>
                    <a:pt x="135" y="219"/>
                  </a:lnTo>
                  <a:lnTo>
                    <a:pt x="143" y="212"/>
                  </a:lnTo>
                  <a:lnTo>
                    <a:pt x="143" y="235"/>
                  </a:lnTo>
                  <a:lnTo>
                    <a:pt x="187" y="235"/>
                  </a:lnTo>
                  <a:close/>
                  <a:moveTo>
                    <a:pt x="143" y="170"/>
                  </a:moveTo>
                  <a:lnTo>
                    <a:pt x="143" y="170"/>
                  </a:lnTo>
                  <a:lnTo>
                    <a:pt x="139" y="175"/>
                  </a:lnTo>
                  <a:lnTo>
                    <a:pt x="133" y="180"/>
                  </a:lnTo>
                  <a:lnTo>
                    <a:pt x="127" y="185"/>
                  </a:lnTo>
                  <a:lnTo>
                    <a:pt x="121" y="190"/>
                  </a:lnTo>
                  <a:lnTo>
                    <a:pt x="113" y="193"/>
                  </a:lnTo>
                  <a:lnTo>
                    <a:pt x="105" y="196"/>
                  </a:lnTo>
                  <a:lnTo>
                    <a:pt x="96" y="198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78" y="198"/>
                  </a:lnTo>
                  <a:lnTo>
                    <a:pt x="69" y="196"/>
                  </a:lnTo>
                  <a:lnTo>
                    <a:pt x="62" y="194"/>
                  </a:lnTo>
                  <a:lnTo>
                    <a:pt x="56" y="190"/>
                  </a:lnTo>
                  <a:lnTo>
                    <a:pt x="56" y="190"/>
                  </a:lnTo>
                  <a:lnTo>
                    <a:pt x="51" y="185"/>
                  </a:lnTo>
                  <a:lnTo>
                    <a:pt x="47" y="178"/>
                  </a:lnTo>
                  <a:lnTo>
                    <a:pt x="45" y="170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53"/>
                  </a:lnTo>
                  <a:lnTo>
                    <a:pt x="47" y="146"/>
                  </a:lnTo>
                  <a:lnTo>
                    <a:pt x="51" y="140"/>
                  </a:lnTo>
                  <a:lnTo>
                    <a:pt x="56" y="135"/>
                  </a:lnTo>
                  <a:lnTo>
                    <a:pt x="63" y="131"/>
                  </a:lnTo>
                  <a:lnTo>
                    <a:pt x="71" y="128"/>
                  </a:lnTo>
                  <a:lnTo>
                    <a:pt x="80" y="126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108" y="126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31" y="131"/>
                  </a:lnTo>
                  <a:lnTo>
                    <a:pt x="143" y="136"/>
                  </a:lnTo>
                  <a:lnTo>
                    <a:pt x="143" y="1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4" name="Freeform 153"/>
            <p:cNvSpPr>
              <a:spLocks noEditPoints="1"/>
            </p:cNvSpPr>
            <p:nvPr userDrawn="1"/>
          </p:nvSpPr>
          <p:spPr bwMode="auto">
            <a:xfrm>
              <a:off x="4002088" y="6362701"/>
              <a:ext cx="79375" cy="95250"/>
            </a:xfrm>
            <a:custGeom>
              <a:avLst/>
              <a:gdLst>
                <a:gd name="T0" fmla="*/ 197 w 197"/>
                <a:gd name="T1" fmla="*/ 114 h 239"/>
                <a:gd name="T2" fmla="*/ 196 w 197"/>
                <a:gd name="T3" fmla="*/ 92 h 239"/>
                <a:gd name="T4" fmla="*/ 191 w 197"/>
                <a:gd name="T5" fmla="*/ 70 h 239"/>
                <a:gd name="T6" fmla="*/ 184 w 197"/>
                <a:gd name="T7" fmla="*/ 51 h 239"/>
                <a:gd name="T8" fmla="*/ 173 w 197"/>
                <a:gd name="T9" fmla="*/ 34 h 239"/>
                <a:gd name="T10" fmla="*/ 160 w 197"/>
                <a:gd name="T11" fmla="*/ 20 h 239"/>
                <a:gd name="T12" fmla="*/ 143 w 197"/>
                <a:gd name="T13" fmla="*/ 9 h 239"/>
                <a:gd name="T14" fmla="*/ 123 w 197"/>
                <a:gd name="T15" fmla="*/ 2 h 239"/>
                <a:gd name="T16" fmla="*/ 101 w 197"/>
                <a:gd name="T17" fmla="*/ 0 h 239"/>
                <a:gd name="T18" fmla="*/ 90 w 197"/>
                <a:gd name="T19" fmla="*/ 0 h 239"/>
                <a:gd name="T20" fmla="*/ 69 w 197"/>
                <a:gd name="T21" fmla="*/ 4 h 239"/>
                <a:gd name="T22" fmla="*/ 51 w 197"/>
                <a:gd name="T23" fmla="*/ 12 h 239"/>
                <a:gd name="T24" fmla="*/ 35 w 197"/>
                <a:gd name="T25" fmla="*/ 23 h 239"/>
                <a:gd name="T26" fmla="*/ 22 w 197"/>
                <a:gd name="T27" fmla="*/ 38 h 239"/>
                <a:gd name="T28" fmla="*/ 12 w 197"/>
                <a:gd name="T29" fmla="*/ 57 h 239"/>
                <a:gd name="T30" fmla="*/ 5 w 197"/>
                <a:gd name="T31" fmla="*/ 79 h 239"/>
                <a:gd name="T32" fmla="*/ 1 w 197"/>
                <a:gd name="T33" fmla="*/ 105 h 239"/>
                <a:gd name="T34" fmla="*/ 0 w 197"/>
                <a:gd name="T35" fmla="*/ 119 h 239"/>
                <a:gd name="T36" fmla="*/ 2 w 197"/>
                <a:gd name="T37" fmla="*/ 147 h 239"/>
                <a:gd name="T38" fmla="*/ 9 w 197"/>
                <a:gd name="T39" fmla="*/ 173 h 239"/>
                <a:gd name="T40" fmla="*/ 19 w 197"/>
                <a:gd name="T41" fmla="*/ 193 h 239"/>
                <a:gd name="T42" fmla="*/ 30 w 197"/>
                <a:gd name="T43" fmla="*/ 209 h 239"/>
                <a:gd name="T44" fmla="*/ 37 w 197"/>
                <a:gd name="T45" fmla="*/ 215 h 239"/>
                <a:gd name="T46" fmla="*/ 51 w 197"/>
                <a:gd name="T47" fmla="*/ 226 h 239"/>
                <a:gd name="T48" fmla="*/ 68 w 197"/>
                <a:gd name="T49" fmla="*/ 234 h 239"/>
                <a:gd name="T50" fmla="*/ 88 w 197"/>
                <a:gd name="T51" fmla="*/ 239 h 239"/>
                <a:gd name="T52" fmla="*/ 99 w 197"/>
                <a:gd name="T53" fmla="*/ 239 h 239"/>
                <a:gd name="T54" fmla="*/ 125 w 197"/>
                <a:gd name="T55" fmla="*/ 237 h 239"/>
                <a:gd name="T56" fmla="*/ 145 w 197"/>
                <a:gd name="T57" fmla="*/ 231 h 239"/>
                <a:gd name="T58" fmla="*/ 154 w 197"/>
                <a:gd name="T59" fmla="*/ 227 h 239"/>
                <a:gd name="T60" fmla="*/ 170 w 197"/>
                <a:gd name="T61" fmla="*/ 217 h 239"/>
                <a:gd name="T62" fmla="*/ 152 w 197"/>
                <a:gd name="T63" fmla="*/ 180 h 239"/>
                <a:gd name="T64" fmla="*/ 139 w 197"/>
                <a:gd name="T65" fmla="*/ 188 h 239"/>
                <a:gd name="T66" fmla="*/ 129 w 197"/>
                <a:gd name="T67" fmla="*/ 194 h 239"/>
                <a:gd name="T68" fmla="*/ 116 w 197"/>
                <a:gd name="T69" fmla="*/ 197 h 239"/>
                <a:gd name="T70" fmla="*/ 102 w 197"/>
                <a:gd name="T71" fmla="*/ 199 h 239"/>
                <a:gd name="T72" fmla="*/ 92 w 197"/>
                <a:gd name="T73" fmla="*/ 198 h 239"/>
                <a:gd name="T74" fmla="*/ 73 w 197"/>
                <a:gd name="T75" fmla="*/ 191 h 239"/>
                <a:gd name="T76" fmla="*/ 58 w 197"/>
                <a:gd name="T77" fmla="*/ 175 h 239"/>
                <a:gd name="T78" fmla="*/ 47 w 197"/>
                <a:gd name="T79" fmla="*/ 151 h 239"/>
                <a:gd name="T80" fmla="*/ 196 w 197"/>
                <a:gd name="T81" fmla="*/ 135 h 239"/>
                <a:gd name="T82" fmla="*/ 196 w 197"/>
                <a:gd name="T83" fmla="*/ 126 h 239"/>
                <a:gd name="T84" fmla="*/ 197 w 197"/>
                <a:gd name="T85" fmla="*/ 114 h 239"/>
                <a:gd name="T86" fmla="*/ 45 w 197"/>
                <a:gd name="T87" fmla="*/ 98 h 239"/>
                <a:gd name="T88" fmla="*/ 51 w 197"/>
                <a:gd name="T89" fmla="*/ 73 h 239"/>
                <a:gd name="T90" fmla="*/ 61 w 197"/>
                <a:gd name="T91" fmla="*/ 55 h 239"/>
                <a:gd name="T92" fmla="*/ 77 w 197"/>
                <a:gd name="T93" fmla="*/ 44 h 239"/>
                <a:gd name="T94" fmla="*/ 98 w 197"/>
                <a:gd name="T95" fmla="*/ 40 h 239"/>
                <a:gd name="T96" fmla="*/ 104 w 197"/>
                <a:gd name="T97" fmla="*/ 41 h 239"/>
                <a:gd name="T98" fmla="*/ 116 w 197"/>
                <a:gd name="T99" fmla="*/ 43 h 239"/>
                <a:gd name="T100" fmla="*/ 126 w 197"/>
                <a:gd name="T101" fmla="*/ 47 h 239"/>
                <a:gd name="T102" fmla="*/ 138 w 197"/>
                <a:gd name="T103" fmla="*/ 57 h 239"/>
                <a:gd name="T104" fmla="*/ 147 w 197"/>
                <a:gd name="T105" fmla="*/ 76 h 239"/>
                <a:gd name="T106" fmla="*/ 152 w 197"/>
                <a:gd name="T107" fmla="*/ 9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39">
                  <a:moveTo>
                    <a:pt x="197" y="114"/>
                  </a:moveTo>
                  <a:lnTo>
                    <a:pt x="197" y="114"/>
                  </a:lnTo>
                  <a:lnTo>
                    <a:pt x="197" y="103"/>
                  </a:lnTo>
                  <a:lnTo>
                    <a:pt x="196" y="92"/>
                  </a:lnTo>
                  <a:lnTo>
                    <a:pt x="194" y="81"/>
                  </a:lnTo>
                  <a:lnTo>
                    <a:pt x="191" y="70"/>
                  </a:lnTo>
                  <a:lnTo>
                    <a:pt x="188" y="60"/>
                  </a:lnTo>
                  <a:lnTo>
                    <a:pt x="184" y="51"/>
                  </a:lnTo>
                  <a:lnTo>
                    <a:pt x="179" y="42"/>
                  </a:lnTo>
                  <a:lnTo>
                    <a:pt x="173" y="34"/>
                  </a:lnTo>
                  <a:lnTo>
                    <a:pt x="167" y="26"/>
                  </a:lnTo>
                  <a:lnTo>
                    <a:pt x="160" y="20"/>
                  </a:lnTo>
                  <a:lnTo>
                    <a:pt x="152" y="14"/>
                  </a:lnTo>
                  <a:lnTo>
                    <a:pt x="143" y="9"/>
                  </a:lnTo>
                  <a:lnTo>
                    <a:pt x="134" y="5"/>
                  </a:lnTo>
                  <a:lnTo>
                    <a:pt x="123" y="2"/>
                  </a:lnTo>
                  <a:lnTo>
                    <a:pt x="1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0" y="0"/>
                  </a:lnTo>
                  <a:lnTo>
                    <a:pt x="79" y="2"/>
                  </a:lnTo>
                  <a:lnTo>
                    <a:pt x="69" y="4"/>
                  </a:lnTo>
                  <a:lnTo>
                    <a:pt x="60" y="8"/>
                  </a:lnTo>
                  <a:lnTo>
                    <a:pt x="51" y="12"/>
                  </a:lnTo>
                  <a:lnTo>
                    <a:pt x="43" y="17"/>
                  </a:lnTo>
                  <a:lnTo>
                    <a:pt x="35" y="23"/>
                  </a:lnTo>
                  <a:lnTo>
                    <a:pt x="28" y="30"/>
                  </a:lnTo>
                  <a:lnTo>
                    <a:pt x="22" y="38"/>
                  </a:lnTo>
                  <a:lnTo>
                    <a:pt x="16" y="47"/>
                  </a:lnTo>
                  <a:lnTo>
                    <a:pt x="12" y="57"/>
                  </a:lnTo>
                  <a:lnTo>
                    <a:pt x="8" y="68"/>
                  </a:lnTo>
                  <a:lnTo>
                    <a:pt x="5" y="79"/>
                  </a:lnTo>
                  <a:lnTo>
                    <a:pt x="2" y="92"/>
                  </a:lnTo>
                  <a:lnTo>
                    <a:pt x="1" y="10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" y="134"/>
                  </a:lnTo>
                  <a:lnTo>
                    <a:pt x="2" y="147"/>
                  </a:lnTo>
                  <a:lnTo>
                    <a:pt x="5" y="161"/>
                  </a:lnTo>
                  <a:lnTo>
                    <a:pt x="9" y="173"/>
                  </a:lnTo>
                  <a:lnTo>
                    <a:pt x="14" y="184"/>
                  </a:lnTo>
                  <a:lnTo>
                    <a:pt x="19" y="193"/>
                  </a:lnTo>
                  <a:lnTo>
                    <a:pt x="24" y="202"/>
                  </a:lnTo>
                  <a:lnTo>
                    <a:pt x="30" y="209"/>
                  </a:lnTo>
                  <a:lnTo>
                    <a:pt x="30" y="209"/>
                  </a:lnTo>
                  <a:lnTo>
                    <a:pt x="37" y="215"/>
                  </a:lnTo>
                  <a:lnTo>
                    <a:pt x="44" y="221"/>
                  </a:lnTo>
                  <a:lnTo>
                    <a:pt x="51" y="226"/>
                  </a:lnTo>
                  <a:lnTo>
                    <a:pt x="59" y="230"/>
                  </a:lnTo>
                  <a:lnTo>
                    <a:pt x="68" y="234"/>
                  </a:lnTo>
                  <a:lnTo>
                    <a:pt x="78" y="237"/>
                  </a:lnTo>
                  <a:lnTo>
                    <a:pt x="88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112" y="239"/>
                  </a:lnTo>
                  <a:lnTo>
                    <a:pt x="125" y="237"/>
                  </a:lnTo>
                  <a:lnTo>
                    <a:pt x="135" y="235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54" y="227"/>
                  </a:lnTo>
                  <a:lnTo>
                    <a:pt x="162" y="222"/>
                  </a:lnTo>
                  <a:lnTo>
                    <a:pt x="170" y="217"/>
                  </a:lnTo>
                  <a:lnTo>
                    <a:pt x="178" y="209"/>
                  </a:lnTo>
                  <a:lnTo>
                    <a:pt x="152" y="180"/>
                  </a:lnTo>
                  <a:lnTo>
                    <a:pt x="152" y="180"/>
                  </a:lnTo>
                  <a:lnTo>
                    <a:pt x="139" y="188"/>
                  </a:lnTo>
                  <a:lnTo>
                    <a:pt x="129" y="194"/>
                  </a:lnTo>
                  <a:lnTo>
                    <a:pt x="129" y="194"/>
                  </a:lnTo>
                  <a:lnTo>
                    <a:pt x="122" y="196"/>
                  </a:lnTo>
                  <a:lnTo>
                    <a:pt x="116" y="197"/>
                  </a:lnTo>
                  <a:lnTo>
                    <a:pt x="109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92" y="198"/>
                  </a:lnTo>
                  <a:lnTo>
                    <a:pt x="82" y="195"/>
                  </a:lnTo>
                  <a:lnTo>
                    <a:pt x="73" y="191"/>
                  </a:lnTo>
                  <a:lnTo>
                    <a:pt x="65" y="184"/>
                  </a:lnTo>
                  <a:lnTo>
                    <a:pt x="58" y="175"/>
                  </a:lnTo>
                  <a:lnTo>
                    <a:pt x="52" y="164"/>
                  </a:lnTo>
                  <a:lnTo>
                    <a:pt x="47" y="151"/>
                  </a:lnTo>
                  <a:lnTo>
                    <a:pt x="44" y="135"/>
                  </a:lnTo>
                  <a:lnTo>
                    <a:pt x="196" y="135"/>
                  </a:lnTo>
                  <a:lnTo>
                    <a:pt x="196" y="135"/>
                  </a:lnTo>
                  <a:lnTo>
                    <a:pt x="196" y="126"/>
                  </a:lnTo>
                  <a:lnTo>
                    <a:pt x="197" y="114"/>
                  </a:lnTo>
                  <a:lnTo>
                    <a:pt x="197" y="114"/>
                  </a:lnTo>
                  <a:close/>
                  <a:moveTo>
                    <a:pt x="45" y="98"/>
                  </a:moveTo>
                  <a:lnTo>
                    <a:pt x="45" y="98"/>
                  </a:lnTo>
                  <a:lnTo>
                    <a:pt x="47" y="85"/>
                  </a:lnTo>
                  <a:lnTo>
                    <a:pt x="51" y="73"/>
                  </a:lnTo>
                  <a:lnTo>
                    <a:pt x="55" y="64"/>
                  </a:lnTo>
                  <a:lnTo>
                    <a:pt x="61" y="55"/>
                  </a:lnTo>
                  <a:lnTo>
                    <a:pt x="68" y="49"/>
                  </a:lnTo>
                  <a:lnTo>
                    <a:pt x="77" y="44"/>
                  </a:lnTo>
                  <a:lnTo>
                    <a:pt x="87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4" y="41"/>
                  </a:lnTo>
                  <a:lnTo>
                    <a:pt x="110" y="42"/>
                  </a:lnTo>
                  <a:lnTo>
                    <a:pt x="116" y="43"/>
                  </a:lnTo>
                  <a:lnTo>
                    <a:pt x="121" y="45"/>
                  </a:lnTo>
                  <a:lnTo>
                    <a:pt x="126" y="47"/>
                  </a:lnTo>
                  <a:lnTo>
                    <a:pt x="130" y="50"/>
                  </a:lnTo>
                  <a:lnTo>
                    <a:pt x="138" y="57"/>
                  </a:lnTo>
                  <a:lnTo>
                    <a:pt x="143" y="66"/>
                  </a:lnTo>
                  <a:lnTo>
                    <a:pt x="147" y="76"/>
                  </a:lnTo>
                  <a:lnTo>
                    <a:pt x="150" y="86"/>
                  </a:lnTo>
                  <a:lnTo>
                    <a:pt x="152" y="98"/>
                  </a:lnTo>
                  <a:lnTo>
                    <a:pt x="45" y="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5" name="Freeform 154"/>
            <p:cNvSpPr>
              <a:spLocks/>
            </p:cNvSpPr>
            <p:nvPr userDrawn="1"/>
          </p:nvSpPr>
          <p:spPr bwMode="auto">
            <a:xfrm>
              <a:off x="4100513" y="6365876"/>
              <a:ext cx="88900" cy="92075"/>
            </a:xfrm>
            <a:custGeom>
              <a:avLst/>
              <a:gdLst>
                <a:gd name="T0" fmla="*/ 226 w 226"/>
                <a:gd name="T1" fmla="*/ 230 h 233"/>
                <a:gd name="T2" fmla="*/ 226 w 226"/>
                <a:gd name="T3" fmla="*/ 0 h 233"/>
                <a:gd name="T4" fmla="*/ 177 w 226"/>
                <a:gd name="T5" fmla="*/ 0 h 233"/>
                <a:gd name="T6" fmla="*/ 128 w 226"/>
                <a:gd name="T7" fmla="*/ 111 h 233"/>
                <a:gd name="T8" fmla="*/ 128 w 226"/>
                <a:gd name="T9" fmla="*/ 111 h 233"/>
                <a:gd name="T10" fmla="*/ 113 w 226"/>
                <a:gd name="T11" fmla="*/ 151 h 233"/>
                <a:gd name="T12" fmla="*/ 113 w 226"/>
                <a:gd name="T13" fmla="*/ 151 h 233"/>
                <a:gd name="T14" fmla="*/ 107 w 226"/>
                <a:gd name="T15" fmla="*/ 132 h 233"/>
                <a:gd name="T16" fmla="*/ 98 w 226"/>
                <a:gd name="T17" fmla="*/ 111 h 233"/>
                <a:gd name="T18" fmla="*/ 49 w 226"/>
                <a:gd name="T19" fmla="*/ 0 h 233"/>
                <a:gd name="T20" fmla="*/ 0 w 226"/>
                <a:gd name="T21" fmla="*/ 0 h 233"/>
                <a:gd name="T22" fmla="*/ 0 w 226"/>
                <a:gd name="T23" fmla="*/ 230 h 233"/>
                <a:gd name="T24" fmla="*/ 43 w 226"/>
                <a:gd name="T25" fmla="*/ 230 h 233"/>
                <a:gd name="T26" fmla="*/ 43 w 226"/>
                <a:gd name="T27" fmla="*/ 110 h 233"/>
                <a:gd name="T28" fmla="*/ 43 w 226"/>
                <a:gd name="T29" fmla="*/ 110 h 233"/>
                <a:gd name="T30" fmla="*/ 42 w 226"/>
                <a:gd name="T31" fmla="*/ 69 h 233"/>
                <a:gd name="T32" fmla="*/ 42 w 226"/>
                <a:gd name="T33" fmla="*/ 69 h 233"/>
                <a:gd name="T34" fmla="*/ 48 w 226"/>
                <a:gd name="T35" fmla="*/ 85 h 233"/>
                <a:gd name="T36" fmla="*/ 57 w 226"/>
                <a:gd name="T37" fmla="*/ 106 h 233"/>
                <a:gd name="T38" fmla="*/ 112 w 226"/>
                <a:gd name="T39" fmla="*/ 233 h 233"/>
                <a:gd name="T40" fmla="*/ 167 w 226"/>
                <a:gd name="T41" fmla="*/ 106 h 233"/>
                <a:gd name="T42" fmla="*/ 167 w 226"/>
                <a:gd name="T43" fmla="*/ 106 h 233"/>
                <a:gd name="T44" fmla="*/ 176 w 226"/>
                <a:gd name="T45" fmla="*/ 85 h 233"/>
                <a:gd name="T46" fmla="*/ 182 w 226"/>
                <a:gd name="T47" fmla="*/ 69 h 233"/>
                <a:gd name="T48" fmla="*/ 182 w 226"/>
                <a:gd name="T49" fmla="*/ 69 h 233"/>
                <a:gd name="T50" fmla="*/ 181 w 226"/>
                <a:gd name="T51" fmla="*/ 110 h 233"/>
                <a:gd name="T52" fmla="*/ 181 w 226"/>
                <a:gd name="T53" fmla="*/ 230 h 233"/>
                <a:gd name="T54" fmla="*/ 226 w 226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6" h="233">
                  <a:moveTo>
                    <a:pt x="226" y="230"/>
                  </a:moveTo>
                  <a:lnTo>
                    <a:pt x="226" y="0"/>
                  </a:lnTo>
                  <a:lnTo>
                    <a:pt x="177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7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76" y="85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1" y="110"/>
                  </a:lnTo>
                  <a:lnTo>
                    <a:pt x="181" y="230"/>
                  </a:lnTo>
                  <a:lnTo>
                    <a:pt x="226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6" name="Freeform 155"/>
            <p:cNvSpPr>
              <a:spLocks/>
            </p:cNvSpPr>
            <p:nvPr userDrawn="1"/>
          </p:nvSpPr>
          <p:spPr bwMode="auto">
            <a:xfrm>
              <a:off x="4256088" y="6365876"/>
              <a:ext cx="88900" cy="92075"/>
            </a:xfrm>
            <a:custGeom>
              <a:avLst/>
              <a:gdLst>
                <a:gd name="T0" fmla="*/ 227 w 227"/>
                <a:gd name="T1" fmla="*/ 230 h 233"/>
                <a:gd name="T2" fmla="*/ 227 w 227"/>
                <a:gd name="T3" fmla="*/ 0 h 233"/>
                <a:gd name="T4" fmla="*/ 178 w 227"/>
                <a:gd name="T5" fmla="*/ 0 h 233"/>
                <a:gd name="T6" fmla="*/ 128 w 227"/>
                <a:gd name="T7" fmla="*/ 111 h 233"/>
                <a:gd name="T8" fmla="*/ 128 w 227"/>
                <a:gd name="T9" fmla="*/ 111 h 233"/>
                <a:gd name="T10" fmla="*/ 113 w 227"/>
                <a:gd name="T11" fmla="*/ 151 h 233"/>
                <a:gd name="T12" fmla="*/ 113 w 227"/>
                <a:gd name="T13" fmla="*/ 151 h 233"/>
                <a:gd name="T14" fmla="*/ 106 w 227"/>
                <a:gd name="T15" fmla="*/ 132 h 233"/>
                <a:gd name="T16" fmla="*/ 98 w 227"/>
                <a:gd name="T17" fmla="*/ 111 h 233"/>
                <a:gd name="T18" fmla="*/ 49 w 227"/>
                <a:gd name="T19" fmla="*/ 0 h 233"/>
                <a:gd name="T20" fmla="*/ 0 w 227"/>
                <a:gd name="T21" fmla="*/ 0 h 233"/>
                <a:gd name="T22" fmla="*/ 0 w 227"/>
                <a:gd name="T23" fmla="*/ 230 h 233"/>
                <a:gd name="T24" fmla="*/ 43 w 227"/>
                <a:gd name="T25" fmla="*/ 230 h 233"/>
                <a:gd name="T26" fmla="*/ 43 w 227"/>
                <a:gd name="T27" fmla="*/ 110 h 233"/>
                <a:gd name="T28" fmla="*/ 43 w 227"/>
                <a:gd name="T29" fmla="*/ 110 h 233"/>
                <a:gd name="T30" fmla="*/ 42 w 227"/>
                <a:gd name="T31" fmla="*/ 69 h 233"/>
                <a:gd name="T32" fmla="*/ 42 w 227"/>
                <a:gd name="T33" fmla="*/ 69 h 233"/>
                <a:gd name="T34" fmla="*/ 48 w 227"/>
                <a:gd name="T35" fmla="*/ 85 h 233"/>
                <a:gd name="T36" fmla="*/ 57 w 227"/>
                <a:gd name="T37" fmla="*/ 106 h 233"/>
                <a:gd name="T38" fmla="*/ 112 w 227"/>
                <a:gd name="T39" fmla="*/ 233 h 233"/>
                <a:gd name="T40" fmla="*/ 167 w 227"/>
                <a:gd name="T41" fmla="*/ 106 h 233"/>
                <a:gd name="T42" fmla="*/ 167 w 227"/>
                <a:gd name="T43" fmla="*/ 106 h 233"/>
                <a:gd name="T44" fmla="*/ 177 w 227"/>
                <a:gd name="T45" fmla="*/ 85 h 233"/>
                <a:gd name="T46" fmla="*/ 183 w 227"/>
                <a:gd name="T47" fmla="*/ 69 h 233"/>
                <a:gd name="T48" fmla="*/ 183 w 227"/>
                <a:gd name="T49" fmla="*/ 69 h 233"/>
                <a:gd name="T50" fmla="*/ 182 w 227"/>
                <a:gd name="T51" fmla="*/ 110 h 233"/>
                <a:gd name="T52" fmla="*/ 182 w 227"/>
                <a:gd name="T53" fmla="*/ 230 h 233"/>
                <a:gd name="T54" fmla="*/ 227 w 227"/>
                <a:gd name="T55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7" h="233">
                  <a:moveTo>
                    <a:pt x="227" y="230"/>
                  </a:moveTo>
                  <a:lnTo>
                    <a:pt x="227" y="0"/>
                  </a:lnTo>
                  <a:lnTo>
                    <a:pt x="178" y="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06" y="132"/>
                  </a:lnTo>
                  <a:lnTo>
                    <a:pt x="98" y="111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43" y="23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8" y="85"/>
                  </a:lnTo>
                  <a:lnTo>
                    <a:pt x="57" y="106"/>
                  </a:lnTo>
                  <a:lnTo>
                    <a:pt x="112" y="233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77" y="85"/>
                  </a:lnTo>
                  <a:lnTo>
                    <a:pt x="183" y="69"/>
                  </a:lnTo>
                  <a:lnTo>
                    <a:pt x="183" y="69"/>
                  </a:lnTo>
                  <a:lnTo>
                    <a:pt x="182" y="110"/>
                  </a:lnTo>
                  <a:lnTo>
                    <a:pt x="182" y="230"/>
                  </a:lnTo>
                  <a:lnTo>
                    <a:pt x="227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7" name="Freeform 156"/>
            <p:cNvSpPr>
              <a:spLocks/>
            </p:cNvSpPr>
            <p:nvPr userDrawn="1"/>
          </p:nvSpPr>
          <p:spPr bwMode="auto">
            <a:xfrm>
              <a:off x="4368800" y="6365876"/>
              <a:ext cx="74613" cy="90488"/>
            </a:xfrm>
            <a:custGeom>
              <a:avLst/>
              <a:gdLst>
                <a:gd name="T0" fmla="*/ 0 w 186"/>
                <a:gd name="T1" fmla="*/ 0 h 230"/>
                <a:gd name="T2" fmla="*/ 0 w 186"/>
                <a:gd name="T3" fmla="*/ 230 h 230"/>
                <a:gd name="T4" fmla="*/ 45 w 186"/>
                <a:gd name="T5" fmla="*/ 230 h 230"/>
                <a:gd name="T6" fmla="*/ 124 w 186"/>
                <a:gd name="T7" fmla="*/ 101 h 230"/>
                <a:gd name="T8" fmla="*/ 124 w 186"/>
                <a:gd name="T9" fmla="*/ 101 h 230"/>
                <a:gd name="T10" fmla="*/ 142 w 186"/>
                <a:gd name="T11" fmla="*/ 72 h 230"/>
                <a:gd name="T12" fmla="*/ 142 w 186"/>
                <a:gd name="T13" fmla="*/ 72 h 230"/>
                <a:gd name="T14" fmla="*/ 141 w 186"/>
                <a:gd name="T15" fmla="*/ 120 h 230"/>
                <a:gd name="T16" fmla="*/ 141 w 186"/>
                <a:gd name="T17" fmla="*/ 230 h 230"/>
                <a:gd name="T18" fmla="*/ 186 w 186"/>
                <a:gd name="T19" fmla="*/ 230 h 230"/>
                <a:gd name="T20" fmla="*/ 186 w 186"/>
                <a:gd name="T21" fmla="*/ 0 h 230"/>
                <a:gd name="T22" fmla="*/ 141 w 186"/>
                <a:gd name="T23" fmla="*/ 0 h 230"/>
                <a:gd name="T24" fmla="*/ 62 w 186"/>
                <a:gd name="T25" fmla="*/ 127 h 230"/>
                <a:gd name="T26" fmla="*/ 62 w 186"/>
                <a:gd name="T27" fmla="*/ 127 h 230"/>
                <a:gd name="T28" fmla="*/ 52 w 186"/>
                <a:gd name="T29" fmla="*/ 143 h 230"/>
                <a:gd name="T30" fmla="*/ 44 w 186"/>
                <a:gd name="T31" fmla="*/ 158 h 230"/>
                <a:gd name="T32" fmla="*/ 44 w 186"/>
                <a:gd name="T33" fmla="*/ 158 h 230"/>
                <a:gd name="T34" fmla="*/ 45 w 186"/>
                <a:gd name="T35" fmla="*/ 108 h 230"/>
                <a:gd name="T36" fmla="*/ 45 w 186"/>
                <a:gd name="T37" fmla="*/ 0 h 230"/>
                <a:gd name="T38" fmla="*/ 0 w 186"/>
                <a:gd name="T3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6" h="230">
                  <a:moveTo>
                    <a:pt x="0" y="0"/>
                  </a:moveTo>
                  <a:lnTo>
                    <a:pt x="0" y="230"/>
                  </a:lnTo>
                  <a:lnTo>
                    <a:pt x="45" y="230"/>
                  </a:lnTo>
                  <a:lnTo>
                    <a:pt x="124" y="101"/>
                  </a:lnTo>
                  <a:lnTo>
                    <a:pt x="124" y="101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1" y="120"/>
                  </a:lnTo>
                  <a:lnTo>
                    <a:pt x="141" y="230"/>
                  </a:lnTo>
                  <a:lnTo>
                    <a:pt x="186" y="230"/>
                  </a:lnTo>
                  <a:lnTo>
                    <a:pt x="186" y="0"/>
                  </a:lnTo>
                  <a:lnTo>
                    <a:pt x="141" y="0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52" y="143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5" y="108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8" name="Freeform 157"/>
            <p:cNvSpPr>
              <a:spLocks noEditPoints="1"/>
            </p:cNvSpPr>
            <p:nvPr userDrawn="1"/>
          </p:nvSpPr>
          <p:spPr bwMode="auto">
            <a:xfrm>
              <a:off x="4465638" y="6362701"/>
              <a:ext cx="76200" cy="127000"/>
            </a:xfrm>
            <a:custGeom>
              <a:avLst/>
              <a:gdLst>
                <a:gd name="T0" fmla="*/ 194 w 194"/>
                <a:gd name="T1" fmla="*/ 123 h 319"/>
                <a:gd name="T2" fmla="*/ 192 w 194"/>
                <a:gd name="T3" fmla="*/ 92 h 319"/>
                <a:gd name="T4" fmla="*/ 187 w 194"/>
                <a:gd name="T5" fmla="*/ 67 h 319"/>
                <a:gd name="T6" fmla="*/ 179 w 194"/>
                <a:gd name="T7" fmla="*/ 45 h 319"/>
                <a:gd name="T8" fmla="*/ 168 w 194"/>
                <a:gd name="T9" fmla="*/ 28 h 319"/>
                <a:gd name="T10" fmla="*/ 155 w 194"/>
                <a:gd name="T11" fmla="*/ 16 h 319"/>
                <a:gd name="T12" fmla="*/ 140 w 194"/>
                <a:gd name="T13" fmla="*/ 7 h 319"/>
                <a:gd name="T14" fmla="*/ 123 w 194"/>
                <a:gd name="T15" fmla="*/ 2 h 319"/>
                <a:gd name="T16" fmla="*/ 105 w 194"/>
                <a:gd name="T17" fmla="*/ 0 h 319"/>
                <a:gd name="T18" fmla="*/ 96 w 194"/>
                <a:gd name="T19" fmla="*/ 0 h 319"/>
                <a:gd name="T20" fmla="*/ 79 w 194"/>
                <a:gd name="T21" fmla="*/ 4 h 319"/>
                <a:gd name="T22" fmla="*/ 65 w 194"/>
                <a:gd name="T23" fmla="*/ 11 h 319"/>
                <a:gd name="T24" fmla="*/ 45 w 194"/>
                <a:gd name="T25" fmla="*/ 26 h 319"/>
                <a:gd name="T26" fmla="*/ 0 w 194"/>
                <a:gd name="T27" fmla="*/ 5 h 319"/>
                <a:gd name="T28" fmla="*/ 45 w 194"/>
                <a:gd name="T29" fmla="*/ 296 h 319"/>
                <a:gd name="T30" fmla="*/ 45 w 194"/>
                <a:gd name="T31" fmla="*/ 213 h 319"/>
                <a:gd name="T32" fmla="*/ 58 w 194"/>
                <a:gd name="T33" fmla="*/ 225 h 319"/>
                <a:gd name="T34" fmla="*/ 72 w 194"/>
                <a:gd name="T35" fmla="*/ 233 h 319"/>
                <a:gd name="T36" fmla="*/ 87 w 194"/>
                <a:gd name="T37" fmla="*/ 238 h 319"/>
                <a:gd name="T38" fmla="*/ 102 w 194"/>
                <a:gd name="T39" fmla="*/ 239 h 319"/>
                <a:gd name="T40" fmla="*/ 111 w 194"/>
                <a:gd name="T41" fmla="*/ 239 h 319"/>
                <a:gd name="T42" fmla="*/ 129 w 194"/>
                <a:gd name="T43" fmla="*/ 235 h 319"/>
                <a:gd name="T44" fmla="*/ 145 w 194"/>
                <a:gd name="T45" fmla="*/ 228 h 319"/>
                <a:gd name="T46" fmla="*/ 160 w 194"/>
                <a:gd name="T47" fmla="*/ 218 h 319"/>
                <a:gd name="T48" fmla="*/ 172 w 194"/>
                <a:gd name="T49" fmla="*/ 203 h 319"/>
                <a:gd name="T50" fmla="*/ 182 w 194"/>
                <a:gd name="T51" fmla="*/ 185 h 319"/>
                <a:gd name="T52" fmla="*/ 189 w 194"/>
                <a:gd name="T53" fmla="*/ 164 h 319"/>
                <a:gd name="T54" fmla="*/ 193 w 194"/>
                <a:gd name="T55" fmla="*/ 137 h 319"/>
                <a:gd name="T56" fmla="*/ 194 w 194"/>
                <a:gd name="T57" fmla="*/ 123 h 319"/>
                <a:gd name="T58" fmla="*/ 149 w 194"/>
                <a:gd name="T59" fmla="*/ 124 h 319"/>
                <a:gd name="T60" fmla="*/ 146 w 194"/>
                <a:gd name="T61" fmla="*/ 157 h 319"/>
                <a:gd name="T62" fmla="*/ 139 w 194"/>
                <a:gd name="T63" fmla="*/ 175 h 319"/>
                <a:gd name="T64" fmla="*/ 133 w 194"/>
                <a:gd name="T65" fmla="*/ 184 h 319"/>
                <a:gd name="T66" fmla="*/ 125 w 194"/>
                <a:gd name="T67" fmla="*/ 191 h 319"/>
                <a:gd name="T68" fmla="*/ 116 w 194"/>
                <a:gd name="T69" fmla="*/ 195 h 319"/>
                <a:gd name="T70" fmla="*/ 104 w 194"/>
                <a:gd name="T71" fmla="*/ 198 h 319"/>
                <a:gd name="T72" fmla="*/ 98 w 194"/>
                <a:gd name="T73" fmla="*/ 198 h 319"/>
                <a:gd name="T74" fmla="*/ 81 w 194"/>
                <a:gd name="T75" fmla="*/ 195 h 319"/>
                <a:gd name="T76" fmla="*/ 66 w 194"/>
                <a:gd name="T77" fmla="*/ 188 h 319"/>
                <a:gd name="T78" fmla="*/ 54 w 194"/>
                <a:gd name="T79" fmla="*/ 178 h 319"/>
                <a:gd name="T80" fmla="*/ 44 w 194"/>
                <a:gd name="T81" fmla="*/ 168 h 319"/>
                <a:gd name="T82" fmla="*/ 44 w 194"/>
                <a:gd name="T83" fmla="*/ 70 h 319"/>
                <a:gd name="T84" fmla="*/ 56 w 194"/>
                <a:gd name="T85" fmla="*/ 58 h 319"/>
                <a:gd name="T86" fmla="*/ 69 w 194"/>
                <a:gd name="T87" fmla="*/ 49 h 319"/>
                <a:gd name="T88" fmla="*/ 82 w 194"/>
                <a:gd name="T89" fmla="*/ 43 h 319"/>
                <a:gd name="T90" fmla="*/ 96 w 194"/>
                <a:gd name="T91" fmla="*/ 41 h 319"/>
                <a:gd name="T92" fmla="*/ 102 w 194"/>
                <a:gd name="T93" fmla="*/ 42 h 319"/>
                <a:gd name="T94" fmla="*/ 113 w 194"/>
                <a:gd name="T95" fmla="*/ 44 h 319"/>
                <a:gd name="T96" fmla="*/ 124 w 194"/>
                <a:gd name="T97" fmla="*/ 49 h 319"/>
                <a:gd name="T98" fmla="*/ 132 w 194"/>
                <a:gd name="T99" fmla="*/ 56 h 319"/>
                <a:gd name="T100" fmla="*/ 138 w 194"/>
                <a:gd name="T101" fmla="*/ 67 h 319"/>
                <a:gd name="T102" fmla="*/ 145 w 194"/>
                <a:gd name="T103" fmla="*/ 87 h 319"/>
                <a:gd name="T104" fmla="*/ 149 w 194"/>
                <a:gd name="T105" fmla="*/ 124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" h="319">
                  <a:moveTo>
                    <a:pt x="194" y="123"/>
                  </a:moveTo>
                  <a:lnTo>
                    <a:pt x="194" y="123"/>
                  </a:lnTo>
                  <a:lnTo>
                    <a:pt x="193" y="107"/>
                  </a:lnTo>
                  <a:lnTo>
                    <a:pt x="192" y="92"/>
                  </a:lnTo>
                  <a:lnTo>
                    <a:pt x="190" y="79"/>
                  </a:lnTo>
                  <a:lnTo>
                    <a:pt x="187" y="67"/>
                  </a:lnTo>
                  <a:lnTo>
                    <a:pt x="183" y="55"/>
                  </a:lnTo>
                  <a:lnTo>
                    <a:pt x="179" y="45"/>
                  </a:lnTo>
                  <a:lnTo>
                    <a:pt x="174" y="36"/>
                  </a:lnTo>
                  <a:lnTo>
                    <a:pt x="168" y="28"/>
                  </a:lnTo>
                  <a:lnTo>
                    <a:pt x="162" y="22"/>
                  </a:lnTo>
                  <a:lnTo>
                    <a:pt x="155" y="16"/>
                  </a:lnTo>
                  <a:lnTo>
                    <a:pt x="148" y="11"/>
                  </a:lnTo>
                  <a:lnTo>
                    <a:pt x="140" y="7"/>
                  </a:lnTo>
                  <a:lnTo>
                    <a:pt x="132" y="4"/>
                  </a:lnTo>
                  <a:lnTo>
                    <a:pt x="123" y="2"/>
                  </a:lnTo>
                  <a:lnTo>
                    <a:pt x="114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96" y="0"/>
                  </a:lnTo>
                  <a:lnTo>
                    <a:pt x="87" y="2"/>
                  </a:lnTo>
                  <a:lnTo>
                    <a:pt x="79" y="4"/>
                  </a:lnTo>
                  <a:lnTo>
                    <a:pt x="72" y="7"/>
                  </a:lnTo>
                  <a:lnTo>
                    <a:pt x="65" y="11"/>
                  </a:lnTo>
                  <a:lnTo>
                    <a:pt x="58" y="16"/>
                  </a:lnTo>
                  <a:lnTo>
                    <a:pt x="45" y="26"/>
                  </a:lnTo>
                  <a:lnTo>
                    <a:pt x="45" y="5"/>
                  </a:lnTo>
                  <a:lnTo>
                    <a:pt x="0" y="5"/>
                  </a:lnTo>
                  <a:lnTo>
                    <a:pt x="0" y="319"/>
                  </a:lnTo>
                  <a:lnTo>
                    <a:pt x="45" y="296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51" y="219"/>
                  </a:lnTo>
                  <a:lnTo>
                    <a:pt x="58" y="225"/>
                  </a:lnTo>
                  <a:lnTo>
                    <a:pt x="65" y="229"/>
                  </a:lnTo>
                  <a:lnTo>
                    <a:pt x="72" y="233"/>
                  </a:lnTo>
                  <a:lnTo>
                    <a:pt x="80" y="236"/>
                  </a:lnTo>
                  <a:lnTo>
                    <a:pt x="87" y="238"/>
                  </a:lnTo>
                  <a:lnTo>
                    <a:pt x="95" y="239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11" y="239"/>
                  </a:lnTo>
                  <a:lnTo>
                    <a:pt x="121" y="238"/>
                  </a:lnTo>
                  <a:lnTo>
                    <a:pt x="129" y="235"/>
                  </a:lnTo>
                  <a:lnTo>
                    <a:pt x="138" y="232"/>
                  </a:lnTo>
                  <a:lnTo>
                    <a:pt x="145" y="228"/>
                  </a:lnTo>
                  <a:lnTo>
                    <a:pt x="153" y="223"/>
                  </a:lnTo>
                  <a:lnTo>
                    <a:pt x="160" y="218"/>
                  </a:lnTo>
                  <a:lnTo>
                    <a:pt x="166" y="211"/>
                  </a:lnTo>
                  <a:lnTo>
                    <a:pt x="172" y="203"/>
                  </a:lnTo>
                  <a:lnTo>
                    <a:pt x="178" y="195"/>
                  </a:lnTo>
                  <a:lnTo>
                    <a:pt x="182" y="185"/>
                  </a:lnTo>
                  <a:lnTo>
                    <a:pt x="186" y="175"/>
                  </a:lnTo>
                  <a:lnTo>
                    <a:pt x="189" y="164"/>
                  </a:lnTo>
                  <a:lnTo>
                    <a:pt x="192" y="151"/>
                  </a:lnTo>
                  <a:lnTo>
                    <a:pt x="193" y="137"/>
                  </a:lnTo>
                  <a:lnTo>
                    <a:pt x="194" y="123"/>
                  </a:lnTo>
                  <a:lnTo>
                    <a:pt x="194" y="123"/>
                  </a:lnTo>
                  <a:close/>
                  <a:moveTo>
                    <a:pt x="149" y="124"/>
                  </a:moveTo>
                  <a:lnTo>
                    <a:pt x="149" y="124"/>
                  </a:lnTo>
                  <a:lnTo>
                    <a:pt x="148" y="141"/>
                  </a:lnTo>
                  <a:lnTo>
                    <a:pt x="146" y="157"/>
                  </a:lnTo>
                  <a:lnTo>
                    <a:pt x="142" y="169"/>
                  </a:lnTo>
                  <a:lnTo>
                    <a:pt x="139" y="175"/>
                  </a:lnTo>
                  <a:lnTo>
                    <a:pt x="136" y="180"/>
                  </a:lnTo>
                  <a:lnTo>
                    <a:pt x="133" y="184"/>
                  </a:lnTo>
                  <a:lnTo>
                    <a:pt x="129" y="188"/>
                  </a:lnTo>
                  <a:lnTo>
                    <a:pt x="125" y="191"/>
                  </a:lnTo>
                  <a:lnTo>
                    <a:pt x="121" y="193"/>
                  </a:lnTo>
                  <a:lnTo>
                    <a:pt x="116" y="195"/>
                  </a:lnTo>
                  <a:lnTo>
                    <a:pt x="110" y="197"/>
                  </a:lnTo>
                  <a:lnTo>
                    <a:pt x="104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0" y="197"/>
                  </a:lnTo>
                  <a:lnTo>
                    <a:pt x="81" y="195"/>
                  </a:lnTo>
                  <a:lnTo>
                    <a:pt x="74" y="192"/>
                  </a:lnTo>
                  <a:lnTo>
                    <a:pt x="66" y="188"/>
                  </a:lnTo>
                  <a:lnTo>
                    <a:pt x="60" y="183"/>
                  </a:lnTo>
                  <a:lnTo>
                    <a:pt x="54" y="178"/>
                  </a:lnTo>
                  <a:lnTo>
                    <a:pt x="49" y="173"/>
                  </a:lnTo>
                  <a:lnTo>
                    <a:pt x="44" y="168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50" y="64"/>
                  </a:lnTo>
                  <a:lnTo>
                    <a:pt x="56" y="58"/>
                  </a:lnTo>
                  <a:lnTo>
                    <a:pt x="62" y="53"/>
                  </a:lnTo>
                  <a:lnTo>
                    <a:pt x="69" y="49"/>
                  </a:lnTo>
                  <a:lnTo>
                    <a:pt x="75" y="46"/>
                  </a:lnTo>
                  <a:lnTo>
                    <a:pt x="82" y="43"/>
                  </a:lnTo>
                  <a:lnTo>
                    <a:pt x="89" y="42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13" y="44"/>
                  </a:lnTo>
                  <a:lnTo>
                    <a:pt x="119" y="46"/>
                  </a:lnTo>
                  <a:lnTo>
                    <a:pt x="124" y="49"/>
                  </a:lnTo>
                  <a:lnTo>
                    <a:pt x="128" y="52"/>
                  </a:lnTo>
                  <a:lnTo>
                    <a:pt x="132" y="56"/>
                  </a:lnTo>
                  <a:lnTo>
                    <a:pt x="135" y="61"/>
                  </a:lnTo>
                  <a:lnTo>
                    <a:pt x="138" y="67"/>
                  </a:lnTo>
                  <a:lnTo>
                    <a:pt x="141" y="73"/>
                  </a:lnTo>
                  <a:lnTo>
                    <a:pt x="145" y="87"/>
                  </a:lnTo>
                  <a:lnTo>
                    <a:pt x="148" y="104"/>
                  </a:lnTo>
                  <a:lnTo>
                    <a:pt x="149" y="124"/>
                  </a:lnTo>
                  <a:lnTo>
                    <a:pt x="149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9" name="Freeform 158"/>
            <p:cNvSpPr>
              <a:spLocks/>
            </p:cNvSpPr>
            <p:nvPr userDrawn="1"/>
          </p:nvSpPr>
          <p:spPr bwMode="auto">
            <a:xfrm>
              <a:off x="4560888" y="6430963"/>
              <a:ext cx="26988" cy="26988"/>
            </a:xfrm>
            <a:custGeom>
              <a:avLst/>
              <a:gdLst>
                <a:gd name="T0" fmla="*/ 68 w 68"/>
                <a:gd name="T1" fmla="*/ 35 h 69"/>
                <a:gd name="T2" fmla="*/ 68 w 68"/>
                <a:gd name="T3" fmla="*/ 35 h 69"/>
                <a:gd name="T4" fmla="*/ 68 w 68"/>
                <a:gd name="T5" fmla="*/ 28 h 69"/>
                <a:gd name="T6" fmla="*/ 66 w 68"/>
                <a:gd name="T7" fmla="*/ 21 h 69"/>
                <a:gd name="T8" fmla="*/ 63 w 68"/>
                <a:gd name="T9" fmla="*/ 15 h 69"/>
                <a:gd name="T10" fmla="*/ 58 w 68"/>
                <a:gd name="T11" fmla="*/ 10 h 69"/>
                <a:gd name="T12" fmla="*/ 53 w 68"/>
                <a:gd name="T13" fmla="*/ 6 h 69"/>
                <a:gd name="T14" fmla="*/ 47 w 68"/>
                <a:gd name="T15" fmla="*/ 3 h 69"/>
                <a:gd name="T16" fmla="*/ 41 w 68"/>
                <a:gd name="T17" fmla="*/ 1 h 69"/>
                <a:gd name="T18" fmla="*/ 34 w 68"/>
                <a:gd name="T19" fmla="*/ 0 h 69"/>
                <a:gd name="T20" fmla="*/ 34 w 68"/>
                <a:gd name="T21" fmla="*/ 0 h 69"/>
                <a:gd name="T22" fmla="*/ 27 w 68"/>
                <a:gd name="T23" fmla="*/ 1 h 69"/>
                <a:gd name="T24" fmla="*/ 20 w 68"/>
                <a:gd name="T25" fmla="*/ 3 h 69"/>
                <a:gd name="T26" fmla="*/ 14 w 68"/>
                <a:gd name="T27" fmla="*/ 6 h 69"/>
                <a:gd name="T28" fmla="*/ 9 w 68"/>
                <a:gd name="T29" fmla="*/ 10 h 69"/>
                <a:gd name="T30" fmla="*/ 5 w 68"/>
                <a:gd name="T31" fmla="*/ 15 h 69"/>
                <a:gd name="T32" fmla="*/ 2 w 68"/>
                <a:gd name="T33" fmla="*/ 21 h 69"/>
                <a:gd name="T34" fmla="*/ 0 w 68"/>
                <a:gd name="T35" fmla="*/ 28 h 69"/>
                <a:gd name="T36" fmla="*/ 0 w 68"/>
                <a:gd name="T37" fmla="*/ 35 h 69"/>
                <a:gd name="T38" fmla="*/ 0 w 68"/>
                <a:gd name="T39" fmla="*/ 35 h 69"/>
                <a:gd name="T40" fmla="*/ 0 w 68"/>
                <a:gd name="T41" fmla="*/ 42 h 69"/>
                <a:gd name="T42" fmla="*/ 2 w 68"/>
                <a:gd name="T43" fmla="*/ 49 h 69"/>
                <a:gd name="T44" fmla="*/ 5 w 68"/>
                <a:gd name="T45" fmla="*/ 54 h 69"/>
                <a:gd name="T46" fmla="*/ 9 w 68"/>
                <a:gd name="T47" fmla="*/ 59 h 69"/>
                <a:gd name="T48" fmla="*/ 14 w 68"/>
                <a:gd name="T49" fmla="*/ 64 h 69"/>
                <a:gd name="T50" fmla="*/ 20 w 68"/>
                <a:gd name="T51" fmla="*/ 67 h 69"/>
                <a:gd name="T52" fmla="*/ 27 w 68"/>
                <a:gd name="T53" fmla="*/ 69 h 69"/>
                <a:gd name="T54" fmla="*/ 34 w 68"/>
                <a:gd name="T55" fmla="*/ 69 h 69"/>
                <a:gd name="T56" fmla="*/ 34 w 68"/>
                <a:gd name="T57" fmla="*/ 69 h 69"/>
                <a:gd name="T58" fmla="*/ 41 w 68"/>
                <a:gd name="T59" fmla="*/ 69 h 69"/>
                <a:gd name="T60" fmla="*/ 47 w 68"/>
                <a:gd name="T61" fmla="*/ 67 h 69"/>
                <a:gd name="T62" fmla="*/ 53 w 68"/>
                <a:gd name="T63" fmla="*/ 64 h 69"/>
                <a:gd name="T64" fmla="*/ 58 w 68"/>
                <a:gd name="T65" fmla="*/ 59 h 69"/>
                <a:gd name="T66" fmla="*/ 63 w 68"/>
                <a:gd name="T67" fmla="*/ 54 h 69"/>
                <a:gd name="T68" fmla="*/ 66 w 68"/>
                <a:gd name="T69" fmla="*/ 49 h 69"/>
                <a:gd name="T70" fmla="*/ 68 w 68"/>
                <a:gd name="T71" fmla="*/ 42 h 69"/>
                <a:gd name="T72" fmla="*/ 68 w 68"/>
                <a:gd name="T73" fmla="*/ 35 h 69"/>
                <a:gd name="T74" fmla="*/ 68 w 68"/>
                <a:gd name="T75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8" h="69">
                  <a:moveTo>
                    <a:pt x="68" y="35"/>
                  </a:moveTo>
                  <a:lnTo>
                    <a:pt x="68" y="35"/>
                  </a:lnTo>
                  <a:lnTo>
                    <a:pt x="68" y="28"/>
                  </a:lnTo>
                  <a:lnTo>
                    <a:pt x="66" y="21"/>
                  </a:lnTo>
                  <a:lnTo>
                    <a:pt x="63" y="15"/>
                  </a:lnTo>
                  <a:lnTo>
                    <a:pt x="58" y="10"/>
                  </a:lnTo>
                  <a:lnTo>
                    <a:pt x="53" y="6"/>
                  </a:lnTo>
                  <a:lnTo>
                    <a:pt x="47" y="3"/>
                  </a:lnTo>
                  <a:lnTo>
                    <a:pt x="41" y="1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7" y="1"/>
                  </a:lnTo>
                  <a:lnTo>
                    <a:pt x="20" y="3"/>
                  </a:lnTo>
                  <a:lnTo>
                    <a:pt x="14" y="6"/>
                  </a:lnTo>
                  <a:lnTo>
                    <a:pt x="9" y="10"/>
                  </a:lnTo>
                  <a:lnTo>
                    <a:pt x="5" y="15"/>
                  </a:lnTo>
                  <a:lnTo>
                    <a:pt x="2" y="21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42"/>
                  </a:lnTo>
                  <a:lnTo>
                    <a:pt x="2" y="49"/>
                  </a:lnTo>
                  <a:lnTo>
                    <a:pt x="5" y="54"/>
                  </a:lnTo>
                  <a:lnTo>
                    <a:pt x="9" y="59"/>
                  </a:lnTo>
                  <a:lnTo>
                    <a:pt x="14" y="64"/>
                  </a:lnTo>
                  <a:lnTo>
                    <a:pt x="20" y="67"/>
                  </a:lnTo>
                  <a:lnTo>
                    <a:pt x="27" y="69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41" y="69"/>
                  </a:lnTo>
                  <a:lnTo>
                    <a:pt x="47" y="67"/>
                  </a:lnTo>
                  <a:lnTo>
                    <a:pt x="53" y="64"/>
                  </a:lnTo>
                  <a:lnTo>
                    <a:pt x="58" y="59"/>
                  </a:lnTo>
                  <a:lnTo>
                    <a:pt x="63" y="54"/>
                  </a:lnTo>
                  <a:lnTo>
                    <a:pt x="66" y="49"/>
                  </a:lnTo>
                  <a:lnTo>
                    <a:pt x="68" y="42"/>
                  </a:lnTo>
                  <a:lnTo>
                    <a:pt x="68" y="35"/>
                  </a:lnTo>
                  <a:lnTo>
                    <a:pt x="68" y="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521231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Presentation title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0" y="1628775"/>
            <a:ext cx="12208264" cy="4475445"/>
            <a:chOff x="0" y="1628775"/>
            <a:chExt cx="12208264" cy="4475445"/>
          </a:xfrm>
        </p:grpSpPr>
        <p:pic>
          <p:nvPicPr>
            <p:cNvPr id="13" name="Picture 2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black">
            <a:xfrm>
              <a:off x="0" y="4291200"/>
              <a:ext cx="3088437" cy="18130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3082575" y="1628775"/>
              <a:ext cx="9125689" cy="3318440"/>
            </a:xfrm>
            <a:custGeom>
              <a:avLst/>
              <a:gdLst/>
              <a:ahLst/>
              <a:cxnLst>
                <a:cxn ang="0">
                  <a:pos x="0" y="2464"/>
                </a:cxn>
                <a:cxn ang="0">
                  <a:pos x="6761" y="0"/>
                </a:cxn>
                <a:cxn ang="0">
                  <a:pos x="6761" y="1290"/>
                </a:cxn>
                <a:cxn ang="0">
                  <a:pos x="0" y="2464"/>
                </a:cxn>
              </a:cxnLst>
              <a:rect l="0" t="0" r="r" b="b"/>
              <a:pathLst>
                <a:path w="6761" h="2464">
                  <a:moveTo>
                    <a:pt x="0" y="2464"/>
                  </a:moveTo>
                  <a:lnTo>
                    <a:pt x="6761" y="0"/>
                  </a:lnTo>
                  <a:lnTo>
                    <a:pt x="6761" y="1290"/>
                  </a:lnTo>
                  <a:lnTo>
                    <a:pt x="0" y="246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081528" y="777600"/>
            <a:ext cx="8509385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081528" y="1731938"/>
            <a:ext cx="6222953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8437" y="5751576"/>
            <a:ext cx="1520179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0458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5512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616">
              <a:defRPr/>
            </a:lvl2pPr>
            <a:lvl3pPr marL="713232">
              <a:defRPr/>
            </a:lvl3pPr>
            <a:lvl4pPr marL="1069848">
              <a:defRPr/>
            </a:lvl4pPr>
            <a:lvl5pPr marL="1426464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3151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02008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8277" y="1425575"/>
            <a:ext cx="5387605" cy="47196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188" y="1425575"/>
            <a:ext cx="5387605" cy="47196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2130552"/>
            <a:ext cx="5393208" cy="39949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2130552"/>
            <a:ext cx="5393208" cy="39949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2648" y="1425575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425575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14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802" y="1025526"/>
            <a:ext cx="10978515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940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4136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reeform 4"/>
          <p:cNvSpPr>
            <a:spLocks/>
          </p:cNvSpPr>
          <p:nvPr userDrawn="1"/>
        </p:nvSpPr>
        <p:spPr bwMode="gray">
          <a:xfrm>
            <a:off x="594996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tile tx="0" ty="0" sx="100000" sy="100000" flip="none" algn="tl"/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425575"/>
            <a:ext cx="5387605" cy="470058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425575"/>
            <a:ext cx="5387605" cy="4700589"/>
          </a:xfr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GB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Presentation tit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2130551"/>
            <a:ext cx="5393208" cy="399592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 marL="1081088" indent="-357188"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2130551"/>
            <a:ext cx="5393208" cy="399592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2648" y="1427144"/>
            <a:ext cx="5393208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427144"/>
            <a:ext cx="5393208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 smtClean="0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Presentation title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5.wmf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image" Target="../media/image9.wmf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8.xml"/><Relationship Id="rId21" Type="http://schemas.openxmlformats.org/officeDocument/2006/relationships/image" Target="../media/image15.wmf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764212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01600"/>
            <a:ext cx="1097851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425600"/>
            <a:ext cx="10978515" cy="4700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09918" y="6519672"/>
            <a:ext cx="885600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+mn-lt"/>
              </a:rPr>
              <a:t>Стр.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1 January 2014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77" r:id="rId2"/>
    <p:sldLayoutId id="2147483668" r:id="rId3"/>
    <p:sldLayoutId id="2147483730" r:id="rId4"/>
    <p:sldLayoutId id="2147483731" r:id="rId5"/>
    <p:sldLayoutId id="2147483669" r:id="rId6"/>
    <p:sldLayoutId id="2147483773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726" r:id="rId13"/>
    <p:sldLayoutId id="2147483677" r:id="rId14"/>
    <p:sldLayoutId id="2147483678" r:id="rId15"/>
    <p:sldLayoutId id="2147483679" r:id="rId16"/>
    <p:sldLayoutId id="2147483781" r:id="rId17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01600"/>
            <a:ext cx="1097851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425600"/>
            <a:ext cx="10978515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09918" y="6519672"/>
            <a:ext cx="886968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chemeClr val="bg1"/>
                </a:solidFill>
                <a:latin typeface="+mn-lt"/>
              </a:rPr>
              <a:t>Page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1 January 2014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2256" y="6327648"/>
            <a:ext cx="402504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791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63" r:id="rId2"/>
    <p:sldLayoutId id="2147483764" r:id="rId3"/>
    <p:sldLayoutId id="2147483766" r:id="rId4"/>
    <p:sldLayoutId id="2147483778" r:id="rId5"/>
    <p:sldLayoutId id="2147483710" r:id="rId6"/>
    <p:sldLayoutId id="2147483732" r:id="rId7"/>
    <p:sldLayoutId id="2147483733" r:id="rId8"/>
    <p:sldLayoutId id="2147483711" r:id="rId9"/>
    <p:sldLayoutId id="2147483774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27" r:id="rId16"/>
    <p:sldLayoutId id="2147483719" r:id="rId17"/>
    <p:sldLayoutId id="2147483720" r:id="rId18"/>
    <p:sldLayoutId id="2147483721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01600"/>
            <a:ext cx="1097851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425599"/>
            <a:ext cx="10978515" cy="4700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09918" y="6519672"/>
            <a:ext cx="886968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chemeClr val="bg1"/>
                </a:solidFill>
                <a:latin typeface="+mn-lt"/>
              </a:rPr>
              <a:t>Page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1 January 2014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2256" y="6327648"/>
            <a:ext cx="402504" cy="41148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758" r:id="rId2"/>
    <p:sldLayoutId id="2147483759" r:id="rId3"/>
    <p:sldLayoutId id="2147483761" r:id="rId4"/>
    <p:sldLayoutId id="2147483779" r:id="rId5"/>
    <p:sldLayoutId id="2147483682" r:id="rId6"/>
    <p:sldLayoutId id="2147483734" r:id="rId7"/>
    <p:sldLayoutId id="2147483735" r:id="rId8"/>
    <p:sldLayoutId id="2147483683" r:id="rId9"/>
    <p:sldLayoutId id="2147483775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728" r:id="rId16"/>
    <p:sldLayoutId id="2147483691" r:id="rId17"/>
    <p:sldLayoutId id="2147483692" r:id="rId18"/>
    <p:sldLayoutId id="2147483693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01600"/>
            <a:ext cx="1097851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425600"/>
            <a:ext cx="10978515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Presentation titl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09918" y="6519672"/>
            <a:ext cx="886968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chemeClr val="bg1"/>
                </a:solidFill>
                <a:latin typeface="+mn-lt"/>
              </a:rPr>
              <a:t>Page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1 January 2014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2256" y="6327648"/>
            <a:ext cx="402504" cy="41148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68" r:id="rId2"/>
    <p:sldLayoutId id="2147483769" r:id="rId3"/>
    <p:sldLayoutId id="2147483771" r:id="rId4"/>
    <p:sldLayoutId id="2147483780" r:id="rId5"/>
    <p:sldLayoutId id="2147483696" r:id="rId6"/>
    <p:sldLayoutId id="2147483736" r:id="rId7"/>
    <p:sldLayoutId id="2147483737" r:id="rId8"/>
    <p:sldLayoutId id="2147483697" r:id="rId9"/>
    <p:sldLayoutId id="2147483776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29" r:id="rId16"/>
    <p:sldLayoutId id="2147483705" r:id="rId17"/>
    <p:sldLayoutId id="2147483706" r:id="rId18"/>
    <p:sldLayoutId id="2147483707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Описание алгоритма определения персон по данным о перемещениях абонентов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Freeform 1645"/>
          <p:cNvSpPr>
            <a:spLocks/>
          </p:cNvSpPr>
          <p:nvPr/>
        </p:nvSpPr>
        <p:spPr bwMode="auto">
          <a:xfrm>
            <a:off x="9471811" y="3297004"/>
            <a:ext cx="416747" cy="725566"/>
          </a:xfrm>
          <a:custGeom>
            <a:avLst/>
            <a:gdLst>
              <a:gd name="T0" fmla="*/ 2147483647 w 162"/>
              <a:gd name="T1" fmla="*/ 2147483647 h 281"/>
              <a:gd name="T2" fmla="*/ 2147483647 w 162"/>
              <a:gd name="T3" fmla="*/ 2147483647 h 281"/>
              <a:gd name="T4" fmla="*/ 2147483647 w 162"/>
              <a:gd name="T5" fmla="*/ 2147483647 h 281"/>
              <a:gd name="T6" fmla="*/ 2147483647 w 162"/>
              <a:gd name="T7" fmla="*/ 2147483647 h 281"/>
              <a:gd name="T8" fmla="*/ 2147483647 w 162"/>
              <a:gd name="T9" fmla="*/ 2147483647 h 281"/>
              <a:gd name="T10" fmla="*/ 2147483647 w 162"/>
              <a:gd name="T11" fmla="*/ 2147483647 h 281"/>
              <a:gd name="T12" fmla="*/ 2147483647 w 162"/>
              <a:gd name="T13" fmla="*/ 2147483647 h 281"/>
              <a:gd name="T14" fmla="*/ 2147483647 w 162"/>
              <a:gd name="T15" fmla="*/ 2147483647 h 281"/>
              <a:gd name="T16" fmla="*/ 2147483647 w 162"/>
              <a:gd name="T17" fmla="*/ 2147483647 h 281"/>
              <a:gd name="T18" fmla="*/ 2147483647 w 162"/>
              <a:gd name="T19" fmla="*/ 2147483647 h 281"/>
              <a:gd name="T20" fmla="*/ 2147483647 w 162"/>
              <a:gd name="T21" fmla="*/ 2147483647 h 281"/>
              <a:gd name="T22" fmla="*/ 2147483647 w 162"/>
              <a:gd name="T23" fmla="*/ 2147483647 h 281"/>
              <a:gd name="T24" fmla="*/ 2147483647 w 162"/>
              <a:gd name="T25" fmla="*/ 2147483647 h 281"/>
              <a:gd name="T26" fmla="*/ 2147483647 w 162"/>
              <a:gd name="T27" fmla="*/ 2147483647 h 281"/>
              <a:gd name="T28" fmla="*/ 2147483647 w 162"/>
              <a:gd name="T29" fmla="*/ 2147483647 h 281"/>
              <a:gd name="T30" fmla="*/ 2147483647 w 162"/>
              <a:gd name="T31" fmla="*/ 2147483647 h 281"/>
              <a:gd name="T32" fmla="*/ 2147483647 w 162"/>
              <a:gd name="T33" fmla="*/ 2147483647 h 281"/>
              <a:gd name="T34" fmla="*/ 2147483647 w 162"/>
              <a:gd name="T35" fmla="*/ 2147483647 h 281"/>
              <a:gd name="T36" fmla="*/ 2147483647 w 162"/>
              <a:gd name="T37" fmla="*/ 2147483647 h 281"/>
              <a:gd name="T38" fmla="*/ 2147483647 w 162"/>
              <a:gd name="T39" fmla="*/ 2147483647 h 281"/>
              <a:gd name="T40" fmla="*/ 2147483647 w 162"/>
              <a:gd name="T41" fmla="*/ 2147483647 h 281"/>
              <a:gd name="T42" fmla="*/ 2147483647 w 162"/>
              <a:gd name="T43" fmla="*/ 2147483647 h 281"/>
              <a:gd name="T44" fmla="*/ 2147483647 w 162"/>
              <a:gd name="T45" fmla="*/ 2147483647 h 281"/>
              <a:gd name="T46" fmla="*/ 2147483647 w 162"/>
              <a:gd name="T47" fmla="*/ 2147483647 h 281"/>
              <a:gd name="T48" fmla="*/ 2147483647 w 162"/>
              <a:gd name="T49" fmla="*/ 2147483647 h 281"/>
              <a:gd name="T50" fmla="*/ 2147483647 w 162"/>
              <a:gd name="T51" fmla="*/ 2147483647 h 281"/>
              <a:gd name="T52" fmla="*/ 2147483647 w 162"/>
              <a:gd name="T53" fmla="*/ 2147483647 h 281"/>
              <a:gd name="T54" fmla="*/ 0 w 162"/>
              <a:gd name="T55" fmla="*/ 2147483647 h 281"/>
              <a:gd name="T56" fmla="*/ 0 w 162"/>
              <a:gd name="T57" fmla="*/ 2147483647 h 281"/>
              <a:gd name="T58" fmla="*/ 2147483647 w 162"/>
              <a:gd name="T59" fmla="*/ 2147483647 h 281"/>
              <a:gd name="T60" fmla="*/ 2147483647 w 162"/>
              <a:gd name="T61" fmla="*/ 2147483647 h 281"/>
              <a:gd name="T62" fmla="*/ 2147483647 w 162"/>
              <a:gd name="T63" fmla="*/ 2147483647 h 281"/>
              <a:gd name="T64" fmla="*/ 2147483647 w 162"/>
              <a:gd name="T65" fmla="*/ 2147483647 h 281"/>
              <a:gd name="T66" fmla="*/ 2147483647 w 162"/>
              <a:gd name="T67" fmla="*/ 2147483647 h 281"/>
              <a:gd name="T68" fmla="*/ 2147483647 w 162"/>
              <a:gd name="T69" fmla="*/ 2147483647 h 281"/>
              <a:gd name="T70" fmla="*/ 2147483647 w 162"/>
              <a:gd name="T71" fmla="*/ 2147483647 h 281"/>
              <a:gd name="T72" fmla="*/ 2147483647 w 162"/>
              <a:gd name="T73" fmla="*/ 2147483647 h 281"/>
              <a:gd name="T74" fmla="*/ 2147483647 w 162"/>
              <a:gd name="T75" fmla="*/ 2147483647 h 281"/>
              <a:gd name="T76" fmla="*/ 2147483647 w 162"/>
              <a:gd name="T77" fmla="*/ 2147483647 h 281"/>
              <a:gd name="T78" fmla="*/ 2147483647 w 162"/>
              <a:gd name="T79" fmla="*/ 0 h 28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4444 w 10000"/>
              <a:gd name="connsiteY64" fmla="*/ 1512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729 h 10053"/>
              <a:gd name="connsiteX75" fmla="*/ 5309 w 10000"/>
              <a:gd name="connsiteY75" fmla="*/ 800 h 10053"/>
              <a:gd name="connsiteX76" fmla="*/ 5185 w 10000"/>
              <a:gd name="connsiteY76" fmla="*/ 872 h 10053"/>
              <a:gd name="connsiteX77" fmla="*/ 5123 w 10000"/>
              <a:gd name="connsiteY77" fmla="*/ 943 h 10053"/>
              <a:gd name="connsiteX78" fmla="*/ 4808 w 10000"/>
              <a:gd name="connsiteY78" fmla="*/ 0 h 10053"/>
              <a:gd name="connsiteX79" fmla="*/ 6728 w 10000"/>
              <a:gd name="connsiteY7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729 h 10053"/>
              <a:gd name="connsiteX75" fmla="*/ 5309 w 10000"/>
              <a:gd name="connsiteY75" fmla="*/ 800 h 10053"/>
              <a:gd name="connsiteX76" fmla="*/ 5185 w 10000"/>
              <a:gd name="connsiteY76" fmla="*/ 872 h 10053"/>
              <a:gd name="connsiteX77" fmla="*/ 5123 w 10000"/>
              <a:gd name="connsiteY77" fmla="*/ 943 h 10053"/>
              <a:gd name="connsiteX78" fmla="*/ 4808 w 10000"/>
              <a:gd name="connsiteY78" fmla="*/ 0 h 10053"/>
              <a:gd name="connsiteX79" fmla="*/ 6728 w 10000"/>
              <a:gd name="connsiteY7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729 h 10053"/>
              <a:gd name="connsiteX75" fmla="*/ 5309 w 10000"/>
              <a:gd name="connsiteY75" fmla="*/ 800 h 10053"/>
              <a:gd name="connsiteX76" fmla="*/ 5185 w 10000"/>
              <a:gd name="connsiteY76" fmla="*/ 872 h 10053"/>
              <a:gd name="connsiteX77" fmla="*/ 4952 w 10000"/>
              <a:gd name="connsiteY77" fmla="*/ 317 h 10053"/>
              <a:gd name="connsiteX78" fmla="*/ 4808 w 10000"/>
              <a:gd name="connsiteY78" fmla="*/ 0 h 10053"/>
              <a:gd name="connsiteX79" fmla="*/ 6728 w 10000"/>
              <a:gd name="connsiteY7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800 h 10053"/>
              <a:gd name="connsiteX75" fmla="*/ 5185 w 10000"/>
              <a:gd name="connsiteY75" fmla="*/ 872 h 10053"/>
              <a:gd name="connsiteX76" fmla="*/ 4952 w 10000"/>
              <a:gd name="connsiteY76" fmla="*/ 317 h 10053"/>
              <a:gd name="connsiteX77" fmla="*/ 4808 w 10000"/>
              <a:gd name="connsiteY77" fmla="*/ 0 h 10053"/>
              <a:gd name="connsiteX78" fmla="*/ 6728 w 10000"/>
              <a:gd name="connsiteY78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309 w 10000"/>
              <a:gd name="connsiteY73" fmla="*/ 800 h 10053"/>
              <a:gd name="connsiteX74" fmla="*/ 5185 w 10000"/>
              <a:gd name="connsiteY74" fmla="*/ 872 h 10053"/>
              <a:gd name="connsiteX75" fmla="*/ 4952 w 10000"/>
              <a:gd name="connsiteY75" fmla="*/ 317 h 10053"/>
              <a:gd name="connsiteX76" fmla="*/ 4808 w 10000"/>
              <a:gd name="connsiteY76" fmla="*/ 0 h 10053"/>
              <a:gd name="connsiteX77" fmla="*/ 6728 w 10000"/>
              <a:gd name="connsiteY77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309 w 10000"/>
              <a:gd name="connsiteY72" fmla="*/ 800 h 10053"/>
              <a:gd name="connsiteX73" fmla="*/ 5185 w 10000"/>
              <a:gd name="connsiteY73" fmla="*/ 872 h 10053"/>
              <a:gd name="connsiteX74" fmla="*/ 4952 w 10000"/>
              <a:gd name="connsiteY74" fmla="*/ 317 h 10053"/>
              <a:gd name="connsiteX75" fmla="*/ 4808 w 10000"/>
              <a:gd name="connsiteY75" fmla="*/ 0 h 10053"/>
              <a:gd name="connsiteX76" fmla="*/ 6728 w 10000"/>
              <a:gd name="connsiteY76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938 w 10000"/>
              <a:gd name="connsiteY70" fmla="*/ 480 h 10053"/>
              <a:gd name="connsiteX71" fmla="*/ 5309 w 10000"/>
              <a:gd name="connsiteY71" fmla="*/ 800 h 10053"/>
              <a:gd name="connsiteX72" fmla="*/ 5185 w 10000"/>
              <a:gd name="connsiteY72" fmla="*/ 872 h 10053"/>
              <a:gd name="connsiteX73" fmla="*/ 4952 w 10000"/>
              <a:gd name="connsiteY73" fmla="*/ 317 h 10053"/>
              <a:gd name="connsiteX74" fmla="*/ 4808 w 10000"/>
              <a:gd name="connsiteY74" fmla="*/ 0 h 10053"/>
              <a:gd name="connsiteX75" fmla="*/ 6728 w 10000"/>
              <a:gd name="connsiteY75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938 w 10000"/>
              <a:gd name="connsiteY69" fmla="*/ 480 h 10053"/>
              <a:gd name="connsiteX70" fmla="*/ 5309 w 10000"/>
              <a:gd name="connsiteY70" fmla="*/ 800 h 10053"/>
              <a:gd name="connsiteX71" fmla="*/ 5185 w 10000"/>
              <a:gd name="connsiteY71" fmla="*/ 872 h 10053"/>
              <a:gd name="connsiteX72" fmla="*/ 4952 w 10000"/>
              <a:gd name="connsiteY72" fmla="*/ 317 h 10053"/>
              <a:gd name="connsiteX73" fmla="*/ 4808 w 10000"/>
              <a:gd name="connsiteY73" fmla="*/ 0 h 10053"/>
              <a:gd name="connsiteX74" fmla="*/ 6728 w 10000"/>
              <a:gd name="connsiteY74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938 w 10000"/>
              <a:gd name="connsiteY68" fmla="*/ 480 h 10053"/>
              <a:gd name="connsiteX69" fmla="*/ 5309 w 10000"/>
              <a:gd name="connsiteY69" fmla="*/ 800 h 10053"/>
              <a:gd name="connsiteX70" fmla="*/ 5185 w 10000"/>
              <a:gd name="connsiteY70" fmla="*/ 872 h 10053"/>
              <a:gd name="connsiteX71" fmla="*/ 4952 w 10000"/>
              <a:gd name="connsiteY71" fmla="*/ 317 h 10053"/>
              <a:gd name="connsiteX72" fmla="*/ 4808 w 10000"/>
              <a:gd name="connsiteY72" fmla="*/ 0 h 10053"/>
              <a:gd name="connsiteX73" fmla="*/ 6728 w 10000"/>
              <a:gd name="connsiteY73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938 w 10000"/>
              <a:gd name="connsiteY67" fmla="*/ 480 h 10053"/>
              <a:gd name="connsiteX68" fmla="*/ 5309 w 10000"/>
              <a:gd name="connsiteY68" fmla="*/ 800 h 10053"/>
              <a:gd name="connsiteX69" fmla="*/ 5185 w 10000"/>
              <a:gd name="connsiteY69" fmla="*/ 872 h 10053"/>
              <a:gd name="connsiteX70" fmla="*/ 4952 w 10000"/>
              <a:gd name="connsiteY70" fmla="*/ 317 h 10053"/>
              <a:gd name="connsiteX71" fmla="*/ 4808 w 10000"/>
              <a:gd name="connsiteY71" fmla="*/ 0 h 10053"/>
              <a:gd name="connsiteX72" fmla="*/ 6728 w 10000"/>
              <a:gd name="connsiteY72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938 w 10000"/>
              <a:gd name="connsiteY66" fmla="*/ 480 h 10053"/>
              <a:gd name="connsiteX67" fmla="*/ 5309 w 10000"/>
              <a:gd name="connsiteY67" fmla="*/ 800 h 10053"/>
              <a:gd name="connsiteX68" fmla="*/ 5185 w 10000"/>
              <a:gd name="connsiteY68" fmla="*/ 872 h 10053"/>
              <a:gd name="connsiteX69" fmla="*/ 4952 w 10000"/>
              <a:gd name="connsiteY69" fmla="*/ 317 h 10053"/>
              <a:gd name="connsiteX70" fmla="*/ 4808 w 10000"/>
              <a:gd name="connsiteY70" fmla="*/ 0 h 10053"/>
              <a:gd name="connsiteX71" fmla="*/ 6728 w 10000"/>
              <a:gd name="connsiteY71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938 w 10000"/>
              <a:gd name="connsiteY66" fmla="*/ 480 h 10053"/>
              <a:gd name="connsiteX67" fmla="*/ 5309 w 10000"/>
              <a:gd name="connsiteY67" fmla="*/ 800 h 10053"/>
              <a:gd name="connsiteX68" fmla="*/ 4952 w 10000"/>
              <a:gd name="connsiteY68" fmla="*/ 317 h 10053"/>
              <a:gd name="connsiteX69" fmla="*/ 4808 w 10000"/>
              <a:gd name="connsiteY69" fmla="*/ 0 h 10053"/>
              <a:gd name="connsiteX70" fmla="*/ 6728 w 10000"/>
              <a:gd name="connsiteY70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938 w 10000"/>
              <a:gd name="connsiteY66" fmla="*/ 480 h 10053"/>
              <a:gd name="connsiteX67" fmla="*/ 4952 w 10000"/>
              <a:gd name="connsiteY67" fmla="*/ 317 h 10053"/>
              <a:gd name="connsiteX68" fmla="*/ 4808 w 10000"/>
              <a:gd name="connsiteY68" fmla="*/ 0 h 10053"/>
              <a:gd name="connsiteX69" fmla="*/ 6728 w 10000"/>
              <a:gd name="connsiteY6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938 w 10000"/>
              <a:gd name="connsiteY65" fmla="*/ 480 h 10053"/>
              <a:gd name="connsiteX66" fmla="*/ 4952 w 10000"/>
              <a:gd name="connsiteY66" fmla="*/ 317 h 10053"/>
              <a:gd name="connsiteX67" fmla="*/ 4808 w 10000"/>
              <a:gd name="connsiteY67" fmla="*/ 0 h 10053"/>
              <a:gd name="connsiteX68" fmla="*/ 6728 w 10000"/>
              <a:gd name="connsiteY68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952 w 10000"/>
              <a:gd name="connsiteY65" fmla="*/ 317 h 10053"/>
              <a:gd name="connsiteX66" fmla="*/ 4808 w 10000"/>
              <a:gd name="connsiteY66" fmla="*/ 0 h 10053"/>
              <a:gd name="connsiteX67" fmla="*/ 6728 w 10000"/>
              <a:gd name="connsiteY67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808 w 10000"/>
              <a:gd name="connsiteY65" fmla="*/ 0 h 10053"/>
              <a:gd name="connsiteX66" fmla="*/ 6728 w 10000"/>
              <a:gd name="connsiteY66" fmla="*/ 53 h 10053"/>
              <a:gd name="connsiteX0" fmla="*/ 6328 w 10000"/>
              <a:gd name="connsiteY0" fmla="*/ 20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808 w 10000"/>
              <a:gd name="connsiteY65" fmla="*/ 0 h 10053"/>
              <a:gd name="connsiteX66" fmla="*/ 6328 w 10000"/>
              <a:gd name="connsiteY66" fmla="*/ 20 h 10053"/>
              <a:gd name="connsiteX0" fmla="*/ 6328 w 10000"/>
              <a:gd name="connsiteY0" fmla="*/ 20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979 w 10000"/>
              <a:gd name="connsiteY65" fmla="*/ 0 h 10053"/>
              <a:gd name="connsiteX66" fmla="*/ 6328 w 10000"/>
              <a:gd name="connsiteY66" fmla="*/ 20 h 10053"/>
              <a:gd name="connsiteX0" fmla="*/ 6328 w 10000"/>
              <a:gd name="connsiteY0" fmla="*/ 250 h 10283"/>
              <a:gd name="connsiteX1" fmla="*/ 6852 w 10000"/>
              <a:gd name="connsiteY1" fmla="*/ 319 h 10283"/>
              <a:gd name="connsiteX2" fmla="*/ 7160 w 10000"/>
              <a:gd name="connsiteY2" fmla="*/ 461 h 10283"/>
              <a:gd name="connsiteX3" fmla="*/ 7531 w 10000"/>
              <a:gd name="connsiteY3" fmla="*/ 603 h 10283"/>
              <a:gd name="connsiteX4" fmla="*/ 7963 w 10000"/>
              <a:gd name="connsiteY4" fmla="*/ 781 h 10283"/>
              <a:gd name="connsiteX5" fmla="*/ 8086 w 10000"/>
              <a:gd name="connsiteY5" fmla="*/ 888 h 10283"/>
              <a:gd name="connsiteX6" fmla="*/ 9938 w 10000"/>
              <a:gd name="connsiteY6" fmla="*/ 4126 h 10283"/>
              <a:gd name="connsiteX7" fmla="*/ 10000 w 10000"/>
              <a:gd name="connsiteY7" fmla="*/ 4233 h 10283"/>
              <a:gd name="connsiteX8" fmla="*/ 9938 w 10000"/>
              <a:gd name="connsiteY8" fmla="*/ 4411 h 10283"/>
              <a:gd name="connsiteX9" fmla="*/ 9815 w 10000"/>
              <a:gd name="connsiteY9" fmla="*/ 4553 h 10283"/>
              <a:gd name="connsiteX10" fmla="*/ 9630 w 10000"/>
              <a:gd name="connsiteY10" fmla="*/ 4660 h 10283"/>
              <a:gd name="connsiteX11" fmla="*/ 9383 w 10000"/>
              <a:gd name="connsiteY11" fmla="*/ 4731 h 10283"/>
              <a:gd name="connsiteX12" fmla="*/ 9136 w 10000"/>
              <a:gd name="connsiteY12" fmla="*/ 4731 h 10283"/>
              <a:gd name="connsiteX13" fmla="*/ 8827 w 10000"/>
              <a:gd name="connsiteY13" fmla="*/ 4731 h 10283"/>
              <a:gd name="connsiteX14" fmla="*/ 8642 w 10000"/>
              <a:gd name="connsiteY14" fmla="*/ 4660 h 10283"/>
              <a:gd name="connsiteX15" fmla="*/ 8457 w 10000"/>
              <a:gd name="connsiteY15" fmla="*/ 4553 h 10283"/>
              <a:gd name="connsiteX16" fmla="*/ 8333 w 10000"/>
              <a:gd name="connsiteY16" fmla="*/ 4411 h 10283"/>
              <a:gd name="connsiteX17" fmla="*/ 7531 w 10000"/>
              <a:gd name="connsiteY17" fmla="*/ 3023 h 10283"/>
              <a:gd name="connsiteX18" fmla="*/ 7531 w 10000"/>
              <a:gd name="connsiteY18" fmla="*/ 9607 h 10283"/>
              <a:gd name="connsiteX19" fmla="*/ 7469 w 10000"/>
              <a:gd name="connsiteY19" fmla="*/ 9785 h 10283"/>
              <a:gd name="connsiteX20" fmla="*/ 7407 w 10000"/>
              <a:gd name="connsiteY20" fmla="*/ 9927 h 10283"/>
              <a:gd name="connsiteX21" fmla="*/ 7160 w 10000"/>
              <a:gd name="connsiteY21" fmla="*/ 10105 h 10283"/>
              <a:gd name="connsiteX22" fmla="*/ 6914 w 10000"/>
              <a:gd name="connsiteY22" fmla="*/ 10212 h 10283"/>
              <a:gd name="connsiteX23" fmla="*/ 6728 w 10000"/>
              <a:gd name="connsiteY23" fmla="*/ 10283 h 10283"/>
              <a:gd name="connsiteX24" fmla="*/ 6420 w 10000"/>
              <a:gd name="connsiteY24" fmla="*/ 10283 h 10283"/>
              <a:gd name="connsiteX25" fmla="*/ 6111 w 10000"/>
              <a:gd name="connsiteY25" fmla="*/ 10283 h 10283"/>
              <a:gd name="connsiteX26" fmla="*/ 5864 w 10000"/>
              <a:gd name="connsiteY26" fmla="*/ 10212 h 10283"/>
              <a:gd name="connsiteX27" fmla="*/ 5617 w 10000"/>
              <a:gd name="connsiteY27" fmla="*/ 10105 h 10283"/>
              <a:gd name="connsiteX28" fmla="*/ 5494 w 10000"/>
              <a:gd name="connsiteY28" fmla="*/ 9927 h 10283"/>
              <a:gd name="connsiteX29" fmla="*/ 5309 w 10000"/>
              <a:gd name="connsiteY29" fmla="*/ 9785 h 10283"/>
              <a:gd name="connsiteX30" fmla="*/ 5309 w 10000"/>
              <a:gd name="connsiteY30" fmla="*/ 9607 h 10283"/>
              <a:gd name="connsiteX31" fmla="*/ 5309 w 10000"/>
              <a:gd name="connsiteY31" fmla="*/ 5870 h 10283"/>
              <a:gd name="connsiteX32" fmla="*/ 4568 w 10000"/>
              <a:gd name="connsiteY32" fmla="*/ 5870 h 10283"/>
              <a:gd name="connsiteX33" fmla="*/ 4568 w 10000"/>
              <a:gd name="connsiteY33" fmla="*/ 9607 h 10283"/>
              <a:gd name="connsiteX34" fmla="*/ 4568 w 10000"/>
              <a:gd name="connsiteY34" fmla="*/ 9785 h 10283"/>
              <a:gd name="connsiteX35" fmla="*/ 4444 w 10000"/>
              <a:gd name="connsiteY35" fmla="*/ 9963 h 10283"/>
              <a:gd name="connsiteX36" fmla="*/ 4259 w 10000"/>
              <a:gd name="connsiteY36" fmla="*/ 10105 h 10283"/>
              <a:gd name="connsiteX37" fmla="*/ 4012 w 10000"/>
              <a:gd name="connsiteY37" fmla="*/ 10212 h 10283"/>
              <a:gd name="connsiteX38" fmla="*/ 3827 w 10000"/>
              <a:gd name="connsiteY38" fmla="*/ 10283 h 10283"/>
              <a:gd name="connsiteX39" fmla="*/ 3519 w 10000"/>
              <a:gd name="connsiteY39" fmla="*/ 10283 h 10283"/>
              <a:gd name="connsiteX40" fmla="*/ 3210 w 10000"/>
              <a:gd name="connsiteY40" fmla="*/ 10283 h 10283"/>
              <a:gd name="connsiteX41" fmla="*/ 2963 w 10000"/>
              <a:gd name="connsiteY41" fmla="*/ 10212 h 10283"/>
              <a:gd name="connsiteX42" fmla="*/ 2716 w 10000"/>
              <a:gd name="connsiteY42" fmla="*/ 10105 h 10283"/>
              <a:gd name="connsiteX43" fmla="*/ 2593 w 10000"/>
              <a:gd name="connsiteY43" fmla="*/ 9963 h 10283"/>
              <a:gd name="connsiteX44" fmla="*/ 2407 w 10000"/>
              <a:gd name="connsiteY44" fmla="*/ 9785 h 10283"/>
              <a:gd name="connsiteX45" fmla="*/ 2407 w 10000"/>
              <a:gd name="connsiteY45" fmla="*/ 9607 h 10283"/>
              <a:gd name="connsiteX46" fmla="*/ 2407 w 10000"/>
              <a:gd name="connsiteY46" fmla="*/ 2952 h 10283"/>
              <a:gd name="connsiteX47" fmla="*/ 1605 w 10000"/>
              <a:gd name="connsiteY47" fmla="*/ 4376 h 10283"/>
              <a:gd name="connsiteX48" fmla="*/ 1481 w 10000"/>
              <a:gd name="connsiteY48" fmla="*/ 4518 h 10283"/>
              <a:gd name="connsiteX49" fmla="*/ 1296 w 10000"/>
              <a:gd name="connsiteY49" fmla="*/ 4589 h 10283"/>
              <a:gd name="connsiteX50" fmla="*/ 1049 w 10000"/>
              <a:gd name="connsiteY50" fmla="*/ 4696 h 10283"/>
              <a:gd name="connsiteX51" fmla="*/ 802 w 10000"/>
              <a:gd name="connsiteY51" fmla="*/ 4696 h 10283"/>
              <a:gd name="connsiteX52" fmla="*/ 494 w 10000"/>
              <a:gd name="connsiteY52" fmla="*/ 4696 h 10283"/>
              <a:gd name="connsiteX53" fmla="*/ 309 w 10000"/>
              <a:gd name="connsiteY53" fmla="*/ 4589 h 10283"/>
              <a:gd name="connsiteX54" fmla="*/ 123 w 10000"/>
              <a:gd name="connsiteY54" fmla="*/ 4518 h 10283"/>
              <a:gd name="connsiteX55" fmla="*/ 0 w 10000"/>
              <a:gd name="connsiteY55" fmla="*/ 4376 h 10283"/>
              <a:gd name="connsiteX56" fmla="*/ 0 w 10000"/>
              <a:gd name="connsiteY56" fmla="*/ 4198 h 10283"/>
              <a:gd name="connsiteX57" fmla="*/ 0 w 10000"/>
              <a:gd name="connsiteY57" fmla="*/ 4055 h 10283"/>
              <a:gd name="connsiteX58" fmla="*/ 1790 w 10000"/>
              <a:gd name="connsiteY58" fmla="*/ 852 h 10283"/>
              <a:gd name="connsiteX59" fmla="*/ 2037 w 10000"/>
              <a:gd name="connsiteY59" fmla="*/ 710 h 10283"/>
              <a:gd name="connsiteX60" fmla="*/ 2346 w 10000"/>
              <a:gd name="connsiteY60" fmla="*/ 603 h 10283"/>
              <a:gd name="connsiteX61" fmla="*/ 2716 w 10000"/>
              <a:gd name="connsiteY61" fmla="*/ 461 h 10283"/>
              <a:gd name="connsiteX62" fmla="*/ 3025 w 10000"/>
              <a:gd name="connsiteY62" fmla="*/ 354 h 10283"/>
              <a:gd name="connsiteX63" fmla="*/ 3210 w 10000"/>
              <a:gd name="connsiteY63" fmla="*/ 319 h 10283"/>
              <a:gd name="connsiteX64" fmla="*/ 5244 w 10000"/>
              <a:gd name="connsiteY64" fmla="*/ 260 h 10283"/>
              <a:gd name="connsiteX65" fmla="*/ 6065 w 10000"/>
              <a:gd name="connsiteY65" fmla="*/ 0 h 10283"/>
              <a:gd name="connsiteX66" fmla="*/ 6328 w 10000"/>
              <a:gd name="connsiteY66" fmla="*/ 250 h 10283"/>
              <a:gd name="connsiteX0" fmla="*/ 6328 w 10000"/>
              <a:gd name="connsiteY0" fmla="*/ 250 h 10283"/>
              <a:gd name="connsiteX1" fmla="*/ 6852 w 10000"/>
              <a:gd name="connsiteY1" fmla="*/ 319 h 10283"/>
              <a:gd name="connsiteX2" fmla="*/ 7160 w 10000"/>
              <a:gd name="connsiteY2" fmla="*/ 461 h 10283"/>
              <a:gd name="connsiteX3" fmla="*/ 7531 w 10000"/>
              <a:gd name="connsiteY3" fmla="*/ 603 h 10283"/>
              <a:gd name="connsiteX4" fmla="*/ 7963 w 10000"/>
              <a:gd name="connsiteY4" fmla="*/ 781 h 10283"/>
              <a:gd name="connsiteX5" fmla="*/ 8086 w 10000"/>
              <a:gd name="connsiteY5" fmla="*/ 888 h 10283"/>
              <a:gd name="connsiteX6" fmla="*/ 9938 w 10000"/>
              <a:gd name="connsiteY6" fmla="*/ 4126 h 10283"/>
              <a:gd name="connsiteX7" fmla="*/ 10000 w 10000"/>
              <a:gd name="connsiteY7" fmla="*/ 4233 h 10283"/>
              <a:gd name="connsiteX8" fmla="*/ 9938 w 10000"/>
              <a:gd name="connsiteY8" fmla="*/ 4411 h 10283"/>
              <a:gd name="connsiteX9" fmla="*/ 9815 w 10000"/>
              <a:gd name="connsiteY9" fmla="*/ 4553 h 10283"/>
              <a:gd name="connsiteX10" fmla="*/ 9630 w 10000"/>
              <a:gd name="connsiteY10" fmla="*/ 4660 h 10283"/>
              <a:gd name="connsiteX11" fmla="*/ 9383 w 10000"/>
              <a:gd name="connsiteY11" fmla="*/ 4731 h 10283"/>
              <a:gd name="connsiteX12" fmla="*/ 9136 w 10000"/>
              <a:gd name="connsiteY12" fmla="*/ 4731 h 10283"/>
              <a:gd name="connsiteX13" fmla="*/ 8827 w 10000"/>
              <a:gd name="connsiteY13" fmla="*/ 4731 h 10283"/>
              <a:gd name="connsiteX14" fmla="*/ 8642 w 10000"/>
              <a:gd name="connsiteY14" fmla="*/ 4660 h 10283"/>
              <a:gd name="connsiteX15" fmla="*/ 8457 w 10000"/>
              <a:gd name="connsiteY15" fmla="*/ 4553 h 10283"/>
              <a:gd name="connsiteX16" fmla="*/ 8333 w 10000"/>
              <a:gd name="connsiteY16" fmla="*/ 4411 h 10283"/>
              <a:gd name="connsiteX17" fmla="*/ 7531 w 10000"/>
              <a:gd name="connsiteY17" fmla="*/ 3023 h 10283"/>
              <a:gd name="connsiteX18" fmla="*/ 7531 w 10000"/>
              <a:gd name="connsiteY18" fmla="*/ 9607 h 10283"/>
              <a:gd name="connsiteX19" fmla="*/ 7469 w 10000"/>
              <a:gd name="connsiteY19" fmla="*/ 9785 h 10283"/>
              <a:gd name="connsiteX20" fmla="*/ 7407 w 10000"/>
              <a:gd name="connsiteY20" fmla="*/ 9927 h 10283"/>
              <a:gd name="connsiteX21" fmla="*/ 7160 w 10000"/>
              <a:gd name="connsiteY21" fmla="*/ 10105 h 10283"/>
              <a:gd name="connsiteX22" fmla="*/ 6914 w 10000"/>
              <a:gd name="connsiteY22" fmla="*/ 10212 h 10283"/>
              <a:gd name="connsiteX23" fmla="*/ 6728 w 10000"/>
              <a:gd name="connsiteY23" fmla="*/ 10283 h 10283"/>
              <a:gd name="connsiteX24" fmla="*/ 6420 w 10000"/>
              <a:gd name="connsiteY24" fmla="*/ 10283 h 10283"/>
              <a:gd name="connsiteX25" fmla="*/ 6111 w 10000"/>
              <a:gd name="connsiteY25" fmla="*/ 10283 h 10283"/>
              <a:gd name="connsiteX26" fmla="*/ 5864 w 10000"/>
              <a:gd name="connsiteY26" fmla="*/ 10212 h 10283"/>
              <a:gd name="connsiteX27" fmla="*/ 5617 w 10000"/>
              <a:gd name="connsiteY27" fmla="*/ 10105 h 10283"/>
              <a:gd name="connsiteX28" fmla="*/ 5494 w 10000"/>
              <a:gd name="connsiteY28" fmla="*/ 9927 h 10283"/>
              <a:gd name="connsiteX29" fmla="*/ 5309 w 10000"/>
              <a:gd name="connsiteY29" fmla="*/ 9785 h 10283"/>
              <a:gd name="connsiteX30" fmla="*/ 5309 w 10000"/>
              <a:gd name="connsiteY30" fmla="*/ 9607 h 10283"/>
              <a:gd name="connsiteX31" fmla="*/ 5309 w 10000"/>
              <a:gd name="connsiteY31" fmla="*/ 5870 h 10283"/>
              <a:gd name="connsiteX32" fmla="*/ 4568 w 10000"/>
              <a:gd name="connsiteY32" fmla="*/ 5870 h 10283"/>
              <a:gd name="connsiteX33" fmla="*/ 4568 w 10000"/>
              <a:gd name="connsiteY33" fmla="*/ 9607 h 10283"/>
              <a:gd name="connsiteX34" fmla="*/ 4568 w 10000"/>
              <a:gd name="connsiteY34" fmla="*/ 9785 h 10283"/>
              <a:gd name="connsiteX35" fmla="*/ 4444 w 10000"/>
              <a:gd name="connsiteY35" fmla="*/ 9963 h 10283"/>
              <a:gd name="connsiteX36" fmla="*/ 4259 w 10000"/>
              <a:gd name="connsiteY36" fmla="*/ 10105 h 10283"/>
              <a:gd name="connsiteX37" fmla="*/ 4012 w 10000"/>
              <a:gd name="connsiteY37" fmla="*/ 10212 h 10283"/>
              <a:gd name="connsiteX38" fmla="*/ 3827 w 10000"/>
              <a:gd name="connsiteY38" fmla="*/ 10283 h 10283"/>
              <a:gd name="connsiteX39" fmla="*/ 3519 w 10000"/>
              <a:gd name="connsiteY39" fmla="*/ 10283 h 10283"/>
              <a:gd name="connsiteX40" fmla="*/ 3210 w 10000"/>
              <a:gd name="connsiteY40" fmla="*/ 10283 h 10283"/>
              <a:gd name="connsiteX41" fmla="*/ 2963 w 10000"/>
              <a:gd name="connsiteY41" fmla="*/ 10212 h 10283"/>
              <a:gd name="connsiteX42" fmla="*/ 2716 w 10000"/>
              <a:gd name="connsiteY42" fmla="*/ 10105 h 10283"/>
              <a:gd name="connsiteX43" fmla="*/ 2593 w 10000"/>
              <a:gd name="connsiteY43" fmla="*/ 9963 h 10283"/>
              <a:gd name="connsiteX44" fmla="*/ 2407 w 10000"/>
              <a:gd name="connsiteY44" fmla="*/ 9785 h 10283"/>
              <a:gd name="connsiteX45" fmla="*/ 2407 w 10000"/>
              <a:gd name="connsiteY45" fmla="*/ 9607 h 10283"/>
              <a:gd name="connsiteX46" fmla="*/ 2407 w 10000"/>
              <a:gd name="connsiteY46" fmla="*/ 2952 h 10283"/>
              <a:gd name="connsiteX47" fmla="*/ 1605 w 10000"/>
              <a:gd name="connsiteY47" fmla="*/ 4376 h 10283"/>
              <a:gd name="connsiteX48" fmla="*/ 1481 w 10000"/>
              <a:gd name="connsiteY48" fmla="*/ 4518 h 10283"/>
              <a:gd name="connsiteX49" fmla="*/ 1296 w 10000"/>
              <a:gd name="connsiteY49" fmla="*/ 4589 h 10283"/>
              <a:gd name="connsiteX50" fmla="*/ 1049 w 10000"/>
              <a:gd name="connsiteY50" fmla="*/ 4696 h 10283"/>
              <a:gd name="connsiteX51" fmla="*/ 802 w 10000"/>
              <a:gd name="connsiteY51" fmla="*/ 4696 h 10283"/>
              <a:gd name="connsiteX52" fmla="*/ 494 w 10000"/>
              <a:gd name="connsiteY52" fmla="*/ 4696 h 10283"/>
              <a:gd name="connsiteX53" fmla="*/ 309 w 10000"/>
              <a:gd name="connsiteY53" fmla="*/ 4589 h 10283"/>
              <a:gd name="connsiteX54" fmla="*/ 123 w 10000"/>
              <a:gd name="connsiteY54" fmla="*/ 4518 h 10283"/>
              <a:gd name="connsiteX55" fmla="*/ 0 w 10000"/>
              <a:gd name="connsiteY55" fmla="*/ 4376 h 10283"/>
              <a:gd name="connsiteX56" fmla="*/ 0 w 10000"/>
              <a:gd name="connsiteY56" fmla="*/ 4198 h 10283"/>
              <a:gd name="connsiteX57" fmla="*/ 0 w 10000"/>
              <a:gd name="connsiteY57" fmla="*/ 4055 h 10283"/>
              <a:gd name="connsiteX58" fmla="*/ 1790 w 10000"/>
              <a:gd name="connsiteY58" fmla="*/ 852 h 10283"/>
              <a:gd name="connsiteX59" fmla="*/ 2037 w 10000"/>
              <a:gd name="connsiteY59" fmla="*/ 710 h 10283"/>
              <a:gd name="connsiteX60" fmla="*/ 2346 w 10000"/>
              <a:gd name="connsiteY60" fmla="*/ 603 h 10283"/>
              <a:gd name="connsiteX61" fmla="*/ 2716 w 10000"/>
              <a:gd name="connsiteY61" fmla="*/ 461 h 10283"/>
              <a:gd name="connsiteX62" fmla="*/ 3025 w 10000"/>
              <a:gd name="connsiteY62" fmla="*/ 354 h 10283"/>
              <a:gd name="connsiteX63" fmla="*/ 3210 w 10000"/>
              <a:gd name="connsiteY63" fmla="*/ 319 h 10283"/>
              <a:gd name="connsiteX64" fmla="*/ 3930 w 10000"/>
              <a:gd name="connsiteY64" fmla="*/ 293 h 10283"/>
              <a:gd name="connsiteX65" fmla="*/ 6065 w 10000"/>
              <a:gd name="connsiteY65" fmla="*/ 0 h 10283"/>
              <a:gd name="connsiteX66" fmla="*/ 6328 w 10000"/>
              <a:gd name="connsiteY66" fmla="*/ 250 h 1028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160 w 10000"/>
              <a:gd name="connsiteY2" fmla="*/ 211 h 10033"/>
              <a:gd name="connsiteX3" fmla="*/ 7531 w 10000"/>
              <a:gd name="connsiteY3" fmla="*/ 353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446 w 10000"/>
              <a:gd name="connsiteY2" fmla="*/ 244 h 10033"/>
              <a:gd name="connsiteX3" fmla="*/ 7531 w 10000"/>
              <a:gd name="connsiteY3" fmla="*/ 353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446 w 10000"/>
              <a:gd name="connsiteY2" fmla="*/ 244 h 10033"/>
              <a:gd name="connsiteX3" fmla="*/ 7588 w 10000"/>
              <a:gd name="connsiteY3" fmla="*/ 419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446 w 10000"/>
              <a:gd name="connsiteY2" fmla="*/ 244 h 10033"/>
              <a:gd name="connsiteX3" fmla="*/ 7759 w 10000"/>
              <a:gd name="connsiteY3" fmla="*/ 452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10000" h="10033">
                <a:moveTo>
                  <a:pt x="6328" y="0"/>
                </a:moveTo>
                <a:lnTo>
                  <a:pt x="6852" y="69"/>
                </a:lnTo>
                <a:lnTo>
                  <a:pt x="7446" y="244"/>
                </a:lnTo>
                <a:lnTo>
                  <a:pt x="7759" y="452"/>
                </a:lnTo>
                <a:lnTo>
                  <a:pt x="7963" y="531"/>
                </a:lnTo>
                <a:lnTo>
                  <a:pt x="8086" y="638"/>
                </a:lnTo>
                <a:lnTo>
                  <a:pt x="9938" y="3876"/>
                </a:lnTo>
                <a:cubicBezTo>
                  <a:pt x="9959" y="3912"/>
                  <a:pt x="9979" y="3947"/>
                  <a:pt x="10000" y="3983"/>
                </a:cubicBezTo>
                <a:cubicBezTo>
                  <a:pt x="9979" y="4042"/>
                  <a:pt x="9959" y="4102"/>
                  <a:pt x="9938" y="4161"/>
                </a:cubicBezTo>
                <a:lnTo>
                  <a:pt x="9815" y="4303"/>
                </a:lnTo>
                <a:lnTo>
                  <a:pt x="9630" y="4410"/>
                </a:lnTo>
                <a:lnTo>
                  <a:pt x="9383" y="4481"/>
                </a:lnTo>
                <a:lnTo>
                  <a:pt x="9136" y="4481"/>
                </a:lnTo>
                <a:lnTo>
                  <a:pt x="8827" y="4481"/>
                </a:lnTo>
                <a:lnTo>
                  <a:pt x="8642" y="4410"/>
                </a:lnTo>
                <a:lnTo>
                  <a:pt x="8457" y="4303"/>
                </a:lnTo>
                <a:lnTo>
                  <a:pt x="8333" y="4161"/>
                </a:lnTo>
                <a:lnTo>
                  <a:pt x="7531" y="2773"/>
                </a:lnTo>
                <a:lnTo>
                  <a:pt x="7531" y="9357"/>
                </a:lnTo>
                <a:cubicBezTo>
                  <a:pt x="7510" y="9416"/>
                  <a:pt x="7490" y="9476"/>
                  <a:pt x="7469" y="9535"/>
                </a:cubicBezTo>
                <a:cubicBezTo>
                  <a:pt x="7448" y="9582"/>
                  <a:pt x="7428" y="9630"/>
                  <a:pt x="7407" y="9677"/>
                </a:cubicBezTo>
                <a:lnTo>
                  <a:pt x="7160" y="9855"/>
                </a:lnTo>
                <a:lnTo>
                  <a:pt x="6914" y="9962"/>
                </a:lnTo>
                <a:lnTo>
                  <a:pt x="6728" y="10033"/>
                </a:lnTo>
                <a:lnTo>
                  <a:pt x="6420" y="10033"/>
                </a:lnTo>
                <a:lnTo>
                  <a:pt x="6111" y="10033"/>
                </a:lnTo>
                <a:lnTo>
                  <a:pt x="5864" y="9962"/>
                </a:lnTo>
                <a:lnTo>
                  <a:pt x="5617" y="9855"/>
                </a:lnTo>
                <a:lnTo>
                  <a:pt x="5494" y="9677"/>
                </a:lnTo>
                <a:lnTo>
                  <a:pt x="5309" y="9535"/>
                </a:lnTo>
                <a:lnTo>
                  <a:pt x="5309" y="9357"/>
                </a:lnTo>
                <a:lnTo>
                  <a:pt x="5309" y="5620"/>
                </a:lnTo>
                <a:lnTo>
                  <a:pt x="4568" y="5620"/>
                </a:lnTo>
                <a:lnTo>
                  <a:pt x="4568" y="9357"/>
                </a:lnTo>
                <a:lnTo>
                  <a:pt x="4568" y="9535"/>
                </a:lnTo>
                <a:lnTo>
                  <a:pt x="4444" y="9713"/>
                </a:lnTo>
                <a:lnTo>
                  <a:pt x="4259" y="9855"/>
                </a:lnTo>
                <a:lnTo>
                  <a:pt x="4012" y="9962"/>
                </a:lnTo>
                <a:lnTo>
                  <a:pt x="3827" y="10033"/>
                </a:lnTo>
                <a:lnTo>
                  <a:pt x="3519" y="10033"/>
                </a:lnTo>
                <a:lnTo>
                  <a:pt x="3210" y="10033"/>
                </a:lnTo>
                <a:lnTo>
                  <a:pt x="2963" y="9962"/>
                </a:lnTo>
                <a:lnTo>
                  <a:pt x="2716" y="9855"/>
                </a:lnTo>
                <a:lnTo>
                  <a:pt x="2593" y="9713"/>
                </a:lnTo>
                <a:lnTo>
                  <a:pt x="2407" y="9535"/>
                </a:lnTo>
                <a:lnTo>
                  <a:pt x="2407" y="9357"/>
                </a:lnTo>
                <a:lnTo>
                  <a:pt x="2407" y="2702"/>
                </a:lnTo>
                <a:lnTo>
                  <a:pt x="1605" y="4126"/>
                </a:lnTo>
                <a:lnTo>
                  <a:pt x="1481" y="4268"/>
                </a:lnTo>
                <a:lnTo>
                  <a:pt x="1296" y="4339"/>
                </a:lnTo>
                <a:lnTo>
                  <a:pt x="1049" y="4446"/>
                </a:lnTo>
                <a:lnTo>
                  <a:pt x="802" y="4446"/>
                </a:lnTo>
                <a:lnTo>
                  <a:pt x="494" y="4446"/>
                </a:lnTo>
                <a:lnTo>
                  <a:pt x="309" y="4339"/>
                </a:lnTo>
                <a:lnTo>
                  <a:pt x="123" y="4268"/>
                </a:lnTo>
                <a:lnTo>
                  <a:pt x="0" y="4126"/>
                </a:lnTo>
                <a:lnTo>
                  <a:pt x="0" y="3948"/>
                </a:lnTo>
                <a:lnTo>
                  <a:pt x="0" y="3805"/>
                </a:lnTo>
                <a:lnTo>
                  <a:pt x="1790" y="602"/>
                </a:lnTo>
                <a:lnTo>
                  <a:pt x="2037" y="460"/>
                </a:lnTo>
                <a:lnTo>
                  <a:pt x="2346" y="353"/>
                </a:lnTo>
                <a:lnTo>
                  <a:pt x="2716" y="211"/>
                </a:lnTo>
                <a:lnTo>
                  <a:pt x="3025" y="104"/>
                </a:lnTo>
                <a:lnTo>
                  <a:pt x="3210" y="69"/>
                </a:lnTo>
                <a:lnTo>
                  <a:pt x="3930" y="43"/>
                </a:lnTo>
                <a:lnTo>
                  <a:pt x="5379" y="13"/>
                </a:lnTo>
                <a:lnTo>
                  <a:pt x="632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1600">
              <a:solidFill>
                <a:srgbClr val="646464"/>
              </a:solidFill>
            </a:endParaRPr>
          </a:p>
        </p:txBody>
      </p:sp>
      <p:graphicFrame>
        <p:nvGraphicFramePr>
          <p:cNvPr id="187" name="Object 1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4170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На основе данных с базовых станций возможно определить абонентов с несколькими сим-картами («персон»)</a:t>
            </a:r>
            <a:endParaRPr lang="en-GB" sz="28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3888160"/>
              </p:ext>
            </p:extLst>
          </p:nvPr>
        </p:nvGraphicFramePr>
        <p:xfrm>
          <a:off x="3303128" y="1839329"/>
          <a:ext cx="5266833" cy="347430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405141"/>
                <a:gridCol w="405141"/>
                <a:gridCol w="405141"/>
                <a:gridCol w="405141"/>
                <a:gridCol w="405141"/>
                <a:gridCol w="405141"/>
                <a:gridCol w="405141"/>
                <a:gridCol w="405141"/>
                <a:gridCol w="405141"/>
                <a:gridCol w="405141"/>
                <a:gridCol w="405141"/>
                <a:gridCol w="405141"/>
                <a:gridCol w="405141"/>
              </a:tblGrid>
              <a:tr h="113123">
                <a:tc>
                  <a:txBody>
                    <a:bodyPr/>
                    <a:lstStyle/>
                    <a:p>
                      <a:endParaRPr lang="ru-RU" sz="400" b="0" dirty="0">
                        <a:solidFill>
                          <a:schemeClr val="tx2"/>
                        </a:solidFill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 smtClean="0">
                          <a:solidFill>
                            <a:schemeClr val="tx2"/>
                          </a:solidFill>
                          <a:effectLst/>
                        </a:rPr>
                        <a:t>lac</a:t>
                      </a:r>
                      <a:endParaRPr lang="en-US" sz="400" b="0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cid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msisdn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imei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event_type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tstamp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long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lat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max_dist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cell_type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start_angle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400" b="0" dirty="0">
                          <a:solidFill>
                            <a:schemeClr val="tx2"/>
                          </a:solidFill>
                          <a:effectLst/>
                        </a:rPr>
                        <a:t>end_angle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2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079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959979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311105031379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097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930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81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10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2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8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8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68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014594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92900267651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139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423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42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9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222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179839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199404922601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201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703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580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12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352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378305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86270167317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233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789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04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15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1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7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56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1020403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245805176725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358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19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830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8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4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421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78273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59430591137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426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8.458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302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34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7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3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6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3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3411715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03300365843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534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56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44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1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2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21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674551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2010433357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59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905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79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2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6.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3.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8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059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9823157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59420433910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855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15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642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0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4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0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3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649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44455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5702546979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861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09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931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3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6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85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1480145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57620560036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0972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745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617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8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3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9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8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8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651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901151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6490041861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4848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355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696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3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9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059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9823157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59420433910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25285364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15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642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0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4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0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...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093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404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0144476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58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4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18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094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6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0234828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751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57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METRO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1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095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6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0267797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81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4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1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096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9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63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0350747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25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41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2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06.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53.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097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54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0351514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22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5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8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098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58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1031054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21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6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8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IN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099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4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51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84916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9240047140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1619658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41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2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9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2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0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4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65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84916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9240047140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1712353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45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29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46.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93.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1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4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99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2110292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41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2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.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83.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2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4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35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2134256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3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2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1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3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9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830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2155209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3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7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6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0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4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428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2171506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25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3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8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5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9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90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84916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2172263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3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7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0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6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4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99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84916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9240047140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2172264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41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2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2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7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2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2297187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17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6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8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2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3147706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17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6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09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58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3150548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21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6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8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IN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0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6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84916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9240047140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4484829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25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40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3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1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6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4616352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18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51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METRO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3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2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602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4653259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61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47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69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8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4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3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7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97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4853919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68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19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4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4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7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97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4855926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68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19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4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5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53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84916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9240047140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4864268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66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41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3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3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9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6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7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97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84916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8823071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868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19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4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7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58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2884916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9240047140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89496938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21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6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8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IN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8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2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926767589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17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7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6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19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958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92708796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21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6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8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IN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20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4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292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928116871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621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36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IN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6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21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930891647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785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750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0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METRO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1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45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  <a:tr h="7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74122</a:t>
                      </a:r>
                      <a:endParaRPr lang="ru-RU" sz="300" b="1" dirty="0">
                        <a:solidFill>
                          <a:srgbClr val="646464"/>
                        </a:solidFill>
                        <a:effectLst/>
                      </a:endParaRP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775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6905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5850385167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5681204475354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369931377643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37.3426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55.415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658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dirty="0">
                          <a:solidFill>
                            <a:srgbClr val="646464"/>
                          </a:solidFill>
                          <a:effectLst/>
                        </a:rPr>
                        <a:t>OUTDOOR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14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00" dirty="0">
                          <a:solidFill>
                            <a:srgbClr val="646464"/>
                          </a:solidFill>
                          <a:effectLst/>
                        </a:rPr>
                        <a:t>200.0</a:t>
                      </a:r>
                    </a:p>
                  </a:txBody>
                  <a:tcPr marL="3261" marR="3261" marT="3261" marB="3261" anchor="ctr">
                    <a:lnL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Isosceles Triangle 9"/>
          <p:cNvSpPr/>
          <p:nvPr/>
        </p:nvSpPr>
        <p:spPr>
          <a:xfrm rot="5400000">
            <a:off x="7987423" y="3338354"/>
            <a:ext cx="2066925" cy="476250"/>
          </a:xfrm>
          <a:prstGeom prst="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7" name="Freeform 1644"/>
          <p:cNvSpPr>
            <a:spLocks/>
          </p:cNvSpPr>
          <p:nvPr/>
        </p:nvSpPr>
        <p:spPr bwMode="auto">
          <a:xfrm>
            <a:off x="9607750" y="1831767"/>
            <a:ext cx="144870" cy="150993"/>
          </a:xfrm>
          <a:prstGeom prst="ellipse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ctr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ctr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ctr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ctr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ctr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de-DE" dirty="0">
              <a:solidFill>
                <a:srgbClr val="646464"/>
              </a:solidFill>
            </a:endParaRPr>
          </a:p>
        </p:txBody>
      </p:sp>
      <p:sp>
        <p:nvSpPr>
          <p:cNvPr id="18" name="Freeform 1645"/>
          <p:cNvSpPr>
            <a:spLocks/>
          </p:cNvSpPr>
          <p:nvPr/>
        </p:nvSpPr>
        <p:spPr bwMode="auto">
          <a:xfrm>
            <a:off x="9471811" y="2006201"/>
            <a:ext cx="416747" cy="725566"/>
          </a:xfrm>
          <a:custGeom>
            <a:avLst/>
            <a:gdLst>
              <a:gd name="T0" fmla="*/ 2147483647 w 162"/>
              <a:gd name="T1" fmla="*/ 2147483647 h 281"/>
              <a:gd name="T2" fmla="*/ 2147483647 w 162"/>
              <a:gd name="T3" fmla="*/ 2147483647 h 281"/>
              <a:gd name="T4" fmla="*/ 2147483647 w 162"/>
              <a:gd name="T5" fmla="*/ 2147483647 h 281"/>
              <a:gd name="T6" fmla="*/ 2147483647 w 162"/>
              <a:gd name="T7" fmla="*/ 2147483647 h 281"/>
              <a:gd name="T8" fmla="*/ 2147483647 w 162"/>
              <a:gd name="T9" fmla="*/ 2147483647 h 281"/>
              <a:gd name="T10" fmla="*/ 2147483647 w 162"/>
              <a:gd name="T11" fmla="*/ 2147483647 h 281"/>
              <a:gd name="T12" fmla="*/ 2147483647 w 162"/>
              <a:gd name="T13" fmla="*/ 2147483647 h 281"/>
              <a:gd name="T14" fmla="*/ 2147483647 w 162"/>
              <a:gd name="T15" fmla="*/ 2147483647 h 281"/>
              <a:gd name="T16" fmla="*/ 2147483647 w 162"/>
              <a:gd name="T17" fmla="*/ 2147483647 h 281"/>
              <a:gd name="T18" fmla="*/ 2147483647 w 162"/>
              <a:gd name="T19" fmla="*/ 2147483647 h 281"/>
              <a:gd name="T20" fmla="*/ 2147483647 w 162"/>
              <a:gd name="T21" fmla="*/ 2147483647 h 281"/>
              <a:gd name="T22" fmla="*/ 2147483647 w 162"/>
              <a:gd name="T23" fmla="*/ 2147483647 h 281"/>
              <a:gd name="T24" fmla="*/ 2147483647 w 162"/>
              <a:gd name="T25" fmla="*/ 2147483647 h 281"/>
              <a:gd name="T26" fmla="*/ 2147483647 w 162"/>
              <a:gd name="T27" fmla="*/ 2147483647 h 281"/>
              <a:gd name="T28" fmla="*/ 2147483647 w 162"/>
              <a:gd name="T29" fmla="*/ 2147483647 h 281"/>
              <a:gd name="T30" fmla="*/ 2147483647 w 162"/>
              <a:gd name="T31" fmla="*/ 2147483647 h 281"/>
              <a:gd name="T32" fmla="*/ 2147483647 w 162"/>
              <a:gd name="T33" fmla="*/ 2147483647 h 281"/>
              <a:gd name="T34" fmla="*/ 2147483647 w 162"/>
              <a:gd name="T35" fmla="*/ 2147483647 h 281"/>
              <a:gd name="T36" fmla="*/ 2147483647 w 162"/>
              <a:gd name="T37" fmla="*/ 2147483647 h 281"/>
              <a:gd name="T38" fmla="*/ 2147483647 w 162"/>
              <a:gd name="T39" fmla="*/ 2147483647 h 281"/>
              <a:gd name="T40" fmla="*/ 2147483647 w 162"/>
              <a:gd name="T41" fmla="*/ 2147483647 h 281"/>
              <a:gd name="T42" fmla="*/ 2147483647 w 162"/>
              <a:gd name="T43" fmla="*/ 2147483647 h 281"/>
              <a:gd name="T44" fmla="*/ 2147483647 w 162"/>
              <a:gd name="T45" fmla="*/ 2147483647 h 281"/>
              <a:gd name="T46" fmla="*/ 2147483647 w 162"/>
              <a:gd name="T47" fmla="*/ 2147483647 h 281"/>
              <a:gd name="T48" fmla="*/ 2147483647 w 162"/>
              <a:gd name="T49" fmla="*/ 2147483647 h 281"/>
              <a:gd name="T50" fmla="*/ 2147483647 w 162"/>
              <a:gd name="T51" fmla="*/ 2147483647 h 281"/>
              <a:gd name="T52" fmla="*/ 2147483647 w 162"/>
              <a:gd name="T53" fmla="*/ 2147483647 h 281"/>
              <a:gd name="T54" fmla="*/ 0 w 162"/>
              <a:gd name="T55" fmla="*/ 2147483647 h 281"/>
              <a:gd name="T56" fmla="*/ 0 w 162"/>
              <a:gd name="T57" fmla="*/ 2147483647 h 281"/>
              <a:gd name="T58" fmla="*/ 2147483647 w 162"/>
              <a:gd name="T59" fmla="*/ 2147483647 h 281"/>
              <a:gd name="T60" fmla="*/ 2147483647 w 162"/>
              <a:gd name="T61" fmla="*/ 2147483647 h 281"/>
              <a:gd name="T62" fmla="*/ 2147483647 w 162"/>
              <a:gd name="T63" fmla="*/ 2147483647 h 281"/>
              <a:gd name="T64" fmla="*/ 2147483647 w 162"/>
              <a:gd name="T65" fmla="*/ 2147483647 h 281"/>
              <a:gd name="T66" fmla="*/ 2147483647 w 162"/>
              <a:gd name="T67" fmla="*/ 2147483647 h 281"/>
              <a:gd name="T68" fmla="*/ 2147483647 w 162"/>
              <a:gd name="T69" fmla="*/ 2147483647 h 281"/>
              <a:gd name="T70" fmla="*/ 2147483647 w 162"/>
              <a:gd name="T71" fmla="*/ 2147483647 h 281"/>
              <a:gd name="T72" fmla="*/ 2147483647 w 162"/>
              <a:gd name="T73" fmla="*/ 2147483647 h 281"/>
              <a:gd name="T74" fmla="*/ 2147483647 w 162"/>
              <a:gd name="T75" fmla="*/ 2147483647 h 281"/>
              <a:gd name="T76" fmla="*/ 2147483647 w 162"/>
              <a:gd name="T77" fmla="*/ 2147483647 h 281"/>
              <a:gd name="T78" fmla="*/ 2147483647 w 162"/>
              <a:gd name="T79" fmla="*/ 0 h 28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4444 w 10000"/>
              <a:gd name="connsiteY64" fmla="*/ 1512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729 h 10053"/>
              <a:gd name="connsiteX75" fmla="*/ 5309 w 10000"/>
              <a:gd name="connsiteY75" fmla="*/ 800 h 10053"/>
              <a:gd name="connsiteX76" fmla="*/ 5185 w 10000"/>
              <a:gd name="connsiteY76" fmla="*/ 872 h 10053"/>
              <a:gd name="connsiteX77" fmla="*/ 5123 w 10000"/>
              <a:gd name="connsiteY77" fmla="*/ 943 h 10053"/>
              <a:gd name="connsiteX78" fmla="*/ 4808 w 10000"/>
              <a:gd name="connsiteY78" fmla="*/ 0 h 10053"/>
              <a:gd name="connsiteX79" fmla="*/ 6728 w 10000"/>
              <a:gd name="connsiteY7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729 h 10053"/>
              <a:gd name="connsiteX75" fmla="*/ 5309 w 10000"/>
              <a:gd name="connsiteY75" fmla="*/ 800 h 10053"/>
              <a:gd name="connsiteX76" fmla="*/ 5185 w 10000"/>
              <a:gd name="connsiteY76" fmla="*/ 872 h 10053"/>
              <a:gd name="connsiteX77" fmla="*/ 5123 w 10000"/>
              <a:gd name="connsiteY77" fmla="*/ 943 h 10053"/>
              <a:gd name="connsiteX78" fmla="*/ 4808 w 10000"/>
              <a:gd name="connsiteY78" fmla="*/ 0 h 10053"/>
              <a:gd name="connsiteX79" fmla="*/ 6728 w 10000"/>
              <a:gd name="connsiteY7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729 h 10053"/>
              <a:gd name="connsiteX75" fmla="*/ 5309 w 10000"/>
              <a:gd name="connsiteY75" fmla="*/ 800 h 10053"/>
              <a:gd name="connsiteX76" fmla="*/ 5185 w 10000"/>
              <a:gd name="connsiteY76" fmla="*/ 872 h 10053"/>
              <a:gd name="connsiteX77" fmla="*/ 4952 w 10000"/>
              <a:gd name="connsiteY77" fmla="*/ 317 h 10053"/>
              <a:gd name="connsiteX78" fmla="*/ 4808 w 10000"/>
              <a:gd name="connsiteY78" fmla="*/ 0 h 10053"/>
              <a:gd name="connsiteX79" fmla="*/ 6728 w 10000"/>
              <a:gd name="connsiteY7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800 h 10053"/>
              <a:gd name="connsiteX75" fmla="*/ 5185 w 10000"/>
              <a:gd name="connsiteY75" fmla="*/ 872 h 10053"/>
              <a:gd name="connsiteX76" fmla="*/ 4952 w 10000"/>
              <a:gd name="connsiteY76" fmla="*/ 317 h 10053"/>
              <a:gd name="connsiteX77" fmla="*/ 4808 w 10000"/>
              <a:gd name="connsiteY77" fmla="*/ 0 h 10053"/>
              <a:gd name="connsiteX78" fmla="*/ 6728 w 10000"/>
              <a:gd name="connsiteY78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309 w 10000"/>
              <a:gd name="connsiteY73" fmla="*/ 800 h 10053"/>
              <a:gd name="connsiteX74" fmla="*/ 5185 w 10000"/>
              <a:gd name="connsiteY74" fmla="*/ 872 h 10053"/>
              <a:gd name="connsiteX75" fmla="*/ 4952 w 10000"/>
              <a:gd name="connsiteY75" fmla="*/ 317 h 10053"/>
              <a:gd name="connsiteX76" fmla="*/ 4808 w 10000"/>
              <a:gd name="connsiteY76" fmla="*/ 0 h 10053"/>
              <a:gd name="connsiteX77" fmla="*/ 6728 w 10000"/>
              <a:gd name="connsiteY77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309 w 10000"/>
              <a:gd name="connsiteY72" fmla="*/ 800 h 10053"/>
              <a:gd name="connsiteX73" fmla="*/ 5185 w 10000"/>
              <a:gd name="connsiteY73" fmla="*/ 872 h 10053"/>
              <a:gd name="connsiteX74" fmla="*/ 4952 w 10000"/>
              <a:gd name="connsiteY74" fmla="*/ 317 h 10053"/>
              <a:gd name="connsiteX75" fmla="*/ 4808 w 10000"/>
              <a:gd name="connsiteY75" fmla="*/ 0 h 10053"/>
              <a:gd name="connsiteX76" fmla="*/ 6728 w 10000"/>
              <a:gd name="connsiteY76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938 w 10000"/>
              <a:gd name="connsiteY70" fmla="*/ 480 h 10053"/>
              <a:gd name="connsiteX71" fmla="*/ 5309 w 10000"/>
              <a:gd name="connsiteY71" fmla="*/ 800 h 10053"/>
              <a:gd name="connsiteX72" fmla="*/ 5185 w 10000"/>
              <a:gd name="connsiteY72" fmla="*/ 872 h 10053"/>
              <a:gd name="connsiteX73" fmla="*/ 4952 w 10000"/>
              <a:gd name="connsiteY73" fmla="*/ 317 h 10053"/>
              <a:gd name="connsiteX74" fmla="*/ 4808 w 10000"/>
              <a:gd name="connsiteY74" fmla="*/ 0 h 10053"/>
              <a:gd name="connsiteX75" fmla="*/ 6728 w 10000"/>
              <a:gd name="connsiteY75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938 w 10000"/>
              <a:gd name="connsiteY69" fmla="*/ 480 h 10053"/>
              <a:gd name="connsiteX70" fmla="*/ 5309 w 10000"/>
              <a:gd name="connsiteY70" fmla="*/ 800 h 10053"/>
              <a:gd name="connsiteX71" fmla="*/ 5185 w 10000"/>
              <a:gd name="connsiteY71" fmla="*/ 872 h 10053"/>
              <a:gd name="connsiteX72" fmla="*/ 4952 w 10000"/>
              <a:gd name="connsiteY72" fmla="*/ 317 h 10053"/>
              <a:gd name="connsiteX73" fmla="*/ 4808 w 10000"/>
              <a:gd name="connsiteY73" fmla="*/ 0 h 10053"/>
              <a:gd name="connsiteX74" fmla="*/ 6728 w 10000"/>
              <a:gd name="connsiteY74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938 w 10000"/>
              <a:gd name="connsiteY68" fmla="*/ 480 h 10053"/>
              <a:gd name="connsiteX69" fmla="*/ 5309 w 10000"/>
              <a:gd name="connsiteY69" fmla="*/ 800 h 10053"/>
              <a:gd name="connsiteX70" fmla="*/ 5185 w 10000"/>
              <a:gd name="connsiteY70" fmla="*/ 872 h 10053"/>
              <a:gd name="connsiteX71" fmla="*/ 4952 w 10000"/>
              <a:gd name="connsiteY71" fmla="*/ 317 h 10053"/>
              <a:gd name="connsiteX72" fmla="*/ 4808 w 10000"/>
              <a:gd name="connsiteY72" fmla="*/ 0 h 10053"/>
              <a:gd name="connsiteX73" fmla="*/ 6728 w 10000"/>
              <a:gd name="connsiteY73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938 w 10000"/>
              <a:gd name="connsiteY67" fmla="*/ 480 h 10053"/>
              <a:gd name="connsiteX68" fmla="*/ 5309 w 10000"/>
              <a:gd name="connsiteY68" fmla="*/ 800 h 10053"/>
              <a:gd name="connsiteX69" fmla="*/ 5185 w 10000"/>
              <a:gd name="connsiteY69" fmla="*/ 872 h 10053"/>
              <a:gd name="connsiteX70" fmla="*/ 4952 w 10000"/>
              <a:gd name="connsiteY70" fmla="*/ 317 h 10053"/>
              <a:gd name="connsiteX71" fmla="*/ 4808 w 10000"/>
              <a:gd name="connsiteY71" fmla="*/ 0 h 10053"/>
              <a:gd name="connsiteX72" fmla="*/ 6728 w 10000"/>
              <a:gd name="connsiteY72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938 w 10000"/>
              <a:gd name="connsiteY66" fmla="*/ 480 h 10053"/>
              <a:gd name="connsiteX67" fmla="*/ 5309 w 10000"/>
              <a:gd name="connsiteY67" fmla="*/ 800 h 10053"/>
              <a:gd name="connsiteX68" fmla="*/ 5185 w 10000"/>
              <a:gd name="connsiteY68" fmla="*/ 872 h 10053"/>
              <a:gd name="connsiteX69" fmla="*/ 4952 w 10000"/>
              <a:gd name="connsiteY69" fmla="*/ 317 h 10053"/>
              <a:gd name="connsiteX70" fmla="*/ 4808 w 10000"/>
              <a:gd name="connsiteY70" fmla="*/ 0 h 10053"/>
              <a:gd name="connsiteX71" fmla="*/ 6728 w 10000"/>
              <a:gd name="connsiteY71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938 w 10000"/>
              <a:gd name="connsiteY66" fmla="*/ 480 h 10053"/>
              <a:gd name="connsiteX67" fmla="*/ 5309 w 10000"/>
              <a:gd name="connsiteY67" fmla="*/ 800 h 10053"/>
              <a:gd name="connsiteX68" fmla="*/ 4952 w 10000"/>
              <a:gd name="connsiteY68" fmla="*/ 317 h 10053"/>
              <a:gd name="connsiteX69" fmla="*/ 4808 w 10000"/>
              <a:gd name="connsiteY69" fmla="*/ 0 h 10053"/>
              <a:gd name="connsiteX70" fmla="*/ 6728 w 10000"/>
              <a:gd name="connsiteY70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938 w 10000"/>
              <a:gd name="connsiteY66" fmla="*/ 480 h 10053"/>
              <a:gd name="connsiteX67" fmla="*/ 4952 w 10000"/>
              <a:gd name="connsiteY67" fmla="*/ 317 h 10053"/>
              <a:gd name="connsiteX68" fmla="*/ 4808 w 10000"/>
              <a:gd name="connsiteY68" fmla="*/ 0 h 10053"/>
              <a:gd name="connsiteX69" fmla="*/ 6728 w 10000"/>
              <a:gd name="connsiteY6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938 w 10000"/>
              <a:gd name="connsiteY65" fmla="*/ 480 h 10053"/>
              <a:gd name="connsiteX66" fmla="*/ 4952 w 10000"/>
              <a:gd name="connsiteY66" fmla="*/ 317 h 10053"/>
              <a:gd name="connsiteX67" fmla="*/ 4808 w 10000"/>
              <a:gd name="connsiteY67" fmla="*/ 0 h 10053"/>
              <a:gd name="connsiteX68" fmla="*/ 6728 w 10000"/>
              <a:gd name="connsiteY68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952 w 10000"/>
              <a:gd name="connsiteY65" fmla="*/ 317 h 10053"/>
              <a:gd name="connsiteX66" fmla="*/ 4808 w 10000"/>
              <a:gd name="connsiteY66" fmla="*/ 0 h 10053"/>
              <a:gd name="connsiteX67" fmla="*/ 6728 w 10000"/>
              <a:gd name="connsiteY67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808 w 10000"/>
              <a:gd name="connsiteY65" fmla="*/ 0 h 10053"/>
              <a:gd name="connsiteX66" fmla="*/ 6728 w 10000"/>
              <a:gd name="connsiteY66" fmla="*/ 53 h 10053"/>
              <a:gd name="connsiteX0" fmla="*/ 6328 w 10000"/>
              <a:gd name="connsiteY0" fmla="*/ 20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808 w 10000"/>
              <a:gd name="connsiteY65" fmla="*/ 0 h 10053"/>
              <a:gd name="connsiteX66" fmla="*/ 6328 w 10000"/>
              <a:gd name="connsiteY66" fmla="*/ 20 h 10053"/>
              <a:gd name="connsiteX0" fmla="*/ 6328 w 10000"/>
              <a:gd name="connsiteY0" fmla="*/ 20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979 w 10000"/>
              <a:gd name="connsiteY65" fmla="*/ 0 h 10053"/>
              <a:gd name="connsiteX66" fmla="*/ 6328 w 10000"/>
              <a:gd name="connsiteY66" fmla="*/ 20 h 10053"/>
              <a:gd name="connsiteX0" fmla="*/ 6328 w 10000"/>
              <a:gd name="connsiteY0" fmla="*/ 250 h 10283"/>
              <a:gd name="connsiteX1" fmla="*/ 6852 w 10000"/>
              <a:gd name="connsiteY1" fmla="*/ 319 h 10283"/>
              <a:gd name="connsiteX2" fmla="*/ 7160 w 10000"/>
              <a:gd name="connsiteY2" fmla="*/ 461 h 10283"/>
              <a:gd name="connsiteX3" fmla="*/ 7531 w 10000"/>
              <a:gd name="connsiteY3" fmla="*/ 603 h 10283"/>
              <a:gd name="connsiteX4" fmla="*/ 7963 w 10000"/>
              <a:gd name="connsiteY4" fmla="*/ 781 h 10283"/>
              <a:gd name="connsiteX5" fmla="*/ 8086 w 10000"/>
              <a:gd name="connsiteY5" fmla="*/ 888 h 10283"/>
              <a:gd name="connsiteX6" fmla="*/ 9938 w 10000"/>
              <a:gd name="connsiteY6" fmla="*/ 4126 h 10283"/>
              <a:gd name="connsiteX7" fmla="*/ 10000 w 10000"/>
              <a:gd name="connsiteY7" fmla="*/ 4233 h 10283"/>
              <a:gd name="connsiteX8" fmla="*/ 9938 w 10000"/>
              <a:gd name="connsiteY8" fmla="*/ 4411 h 10283"/>
              <a:gd name="connsiteX9" fmla="*/ 9815 w 10000"/>
              <a:gd name="connsiteY9" fmla="*/ 4553 h 10283"/>
              <a:gd name="connsiteX10" fmla="*/ 9630 w 10000"/>
              <a:gd name="connsiteY10" fmla="*/ 4660 h 10283"/>
              <a:gd name="connsiteX11" fmla="*/ 9383 w 10000"/>
              <a:gd name="connsiteY11" fmla="*/ 4731 h 10283"/>
              <a:gd name="connsiteX12" fmla="*/ 9136 w 10000"/>
              <a:gd name="connsiteY12" fmla="*/ 4731 h 10283"/>
              <a:gd name="connsiteX13" fmla="*/ 8827 w 10000"/>
              <a:gd name="connsiteY13" fmla="*/ 4731 h 10283"/>
              <a:gd name="connsiteX14" fmla="*/ 8642 w 10000"/>
              <a:gd name="connsiteY14" fmla="*/ 4660 h 10283"/>
              <a:gd name="connsiteX15" fmla="*/ 8457 w 10000"/>
              <a:gd name="connsiteY15" fmla="*/ 4553 h 10283"/>
              <a:gd name="connsiteX16" fmla="*/ 8333 w 10000"/>
              <a:gd name="connsiteY16" fmla="*/ 4411 h 10283"/>
              <a:gd name="connsiteX17" fmla="*/ 7531 w 10000"/>
              <a:gd name="connsiteY17" fmla="*/ 3023 h 10283"/>
              <a:gd name="connsiteX18" fmla="*/ 7531 w 10000"/>
              <a:gd name="connsiteY18" fmla="*/ 9607 h 10283"/>
              <a:gd name="connsiteX19" fmla="*/ 7469 w 10000"/>
              <a:gd name="connsiteY19" fmla="*/ 9785 h 10283"/>
              <a:gd name="connsiteX20" fmla="*/ 7407 w 10000"/>
              <a:gd name="connsiteY20" fmla="*/ 9927 h 10283"/>
              <a:gd name="connsiteX21" fmla="*/ 7160 w 10000"/>
              <a:gd name="connsiteY21" fmla="*/ 10105 h 10283"/>
              <a:gd name="connsiteX22" fmla="*/ 6914 w 10000"/>
              <a:gd name="connsiteY22" fmla="*/ 10212 h 10283"/>
              <a:gd name="connsiteX23" fmla="*/ 6728 w 10000"/>
              <a:gd name="connsiteY23" fmla="*/ 10283 h 10283"/>
              <a:gd name="connsiteX24" fmla="*/ 6420 w 10000"/>
              <a:gd name="connsiteY24" fmla="*/ 10283 h 10283"/>
              <a:gd name="connsiteX25" fmla="*/ 6111 w 10000"/>
              <a:gd name="connsiteY25" fmla="*/ 10283 h 10283"/>
              <a:gd name="connsiteX26" fmla="*/ 5864 w 10000"/>
              <a:gd name="connsiteY26" fmla="*/ 10212 h 10283"/>
              <a:gd name="connsiteX27" fmla="*/ 5617 w 10000"/>
              <a:gd name="connsiteY27" fmla="*/ 10105 h 10283"/>
              <a:gd name="connsiteX28" fmla="*/ 5494 w 10000"/>
              <a:gd name="connsiteY28" fmla="*/ 9927 h 10283"/>
              <a:gd name="connsiteX29" fmla="*/ 5309 w 10000"/>
              <a:gd name="connsiteY29" fmla="*/ 9785 h 10283"/>
              <a:gd name="connsiteX30" fmla="*/ 5309 w 10000"/>
              <a:gd name="connsiteY30" fmla="*/ 9607 h 10283"/>
              <a:gd name="connsiteX31" fmla="*/ 5309 w 10000"/>
              <a:gd name="connsiteY31" fmla="*/ 5870 h 10283"/>
              <a:gd name="connsiteX32" fmla="*/ 4568 w 10000"/>
              <a:gd name="connsiteY32" fmla="*/ 5870 h 10283"/>
              <a:gd name="connsiteX33" fmla="*/ 4568 w 10000"/>
              <a:gd name="connsiteY33" fmla="*/ 9607 h 10283"/>
              <a:gd name="connsiteX34" fmla="*/ 4568 w 10000"/>
              <a:gd name="connsiteY34" fmla="*/ 9785 h 10283"/>
              <a:gd name="connsiteX35" fmla="*/ 4444 w 10000"/>
              <a:gd name="connsiteY35" fmla="*/ 9963 h 10283"/>
              <a:gd name="connsiteX36" fmla="*/ 4259 w 10000"/>
              <a:gd name="connsiteY36" fmla="*/ 10105 h 10283"/>
              <a:gd name="connsiteX37" fmla="*/ 4012 w 10000"/>
              <a:gd name="connsiteY37" fmla="*/ 10212 h 10283"/>
              <a:gd name="connsiteX38" fmla="*/ 3827 w 10000"/>
              <a:gd name="connsiteY38" fmla="*/ 10283 h 10283"/>
              <a:gd name="connsiteX39" fmla="*/ 3519 w 10000"/>
              <a:gd name="connsiteY39" fmla="*/ 10283 h 10283"/>
              <a:gd name="connsiteX40" fmla="*/ 3210 w 10000"/>
              <a:gd name="connsiteY40" fmla="*/ 10283 h 10283"/>
              <a:gd name="connsiteX41" fmla="*/ 2963 w 10000"/>
              <a:gd name="connsiteY41" fmla="*/ 10212 h 10283"/>
              <a:gd name="connsiteX42" fmla="*/ 2716 w 10000"/>
              <a:gd name="connsiteY42" fmla="*/ 10105 h 10283"/>
              <a:gd name="connsiteX43" fmla="*/ 2593 w 10000"/>
              <a:gd name="connsiteY43" fmla="*/ 9963 h 10283"/>
              <a:gd name="connsiteX44" fmla="*/ 2407 w 10000"/>
              <a:gd name="connsiteY44" fmla="*/ 9785 h 10283"/>
              <a:gd name="connsiteX45" fmla="*/ 2407 w 10000"/>
              <a:gd name="connsiteY45" fmla="*/ 9607 h 10283"/>
              <a:gd name="connsiteX46" fmla="*/ 2407 w 10000"/>
              <a:gd name="connsiteY46" fmla="*/ 2952 h 10283"/>
              <a:gd name="connsiteX47" fmla="*/ 1605 w 10000"/>
              <a:gd name="connsiteY47" fmla="*/ 4376 h 10283"/>
              <a:gd name="connsiteX48" fmla="*/ 1481 w 10000"/>
              <a:gd name="connsiteY48" fmla="*/ 4518 h 10283"/>
              <a:gd name="connsiteX49" fmla="*/ 1296 w 10000"/>
              <a:gd name="connsiteY49" fmla="*/ 4589 h 10283"/>
              <a:gd name="connsiteX50" fmla="*/ 1049 w 10000"/>
              <a:gd name="connsiteY50" fmla="*/ 4696 h 10283"/>
              <a:gd name="connsiteX51" fmla="*/ 802 w 10000"/>
              <a:gd name="connsiteY51" fmla="*/ 4696 h 10283"/>
              <a:gd name="connsiteX52" fmla="*/ 494 w 10000"/>
              <a:gd name="connsiteY52" fmla="*/ 4696 h 10283"/>
              <a:gd name="connsiteX53" fmla="*/ 309 w 10000"/>
              <a:gd name="connsiteY53" fmla="*/ 4589 h 10283"/>
              <a:gd name="connsiteX54" fmla="*/ 123 w 10000"/>
              <a:gd name="connsiteY54" fmla="*/ 4518 h 10283"/>
              <a:gd name="connsiteX55" fmla="*/ 0 w 10000"/>
              <a:gd name="connsiteY55" fmla="*/ 4376 h 10283"/>
              <a:gd name="connsiteX56" fmla="*/ 0 w 10000"/>
              <a:gd name="connsiteY56" fmla="*/ 4198 h 10283"/>
              <a:gd name="connsiteX57" fmla="*/ 0 w 10000"/>
              <a:gd name="connsiteY57" fmla="*/ 4055 h 10283"/>
              <a:gd name="connsiteX58" fmla="*/ 1790 w 10000"/>
              <a:gd name="connsiteY58" fmla="*/ 852 h 10283"/>
              <a:gd name="connsiteX59" fmla="*/ 2037 w 10000"/>
              <a:gd name="connsiteY59" fmla="*/ 710 h 10283"/>
              <a:gd name="connsiteX60" fmla="*/ 2346 w 10000"/>
              <a:gd name="connsiteY60" fmla="*/ 603 h 10283"/>
              <a:gd name="connsiteX61" fmla="*/ 2716 w 10000"/>
              <a:gd name="connsiteY61" fmla="*/ 461 h 10283"/>
              <a:gd name="connsiteX62" fmla="*/ 3025 w 10000"/>
              <a:gd name="connsiteY62" fmla="*/ 354 h 10283"/>
              <a:gd name="connsiteX63" fmla="*/ 3210 w 10000"/>
              <a:gd name="connsiteY63" fmla="*/ 319 h 10283"/>
              <a:gd name="connsiteX64" fmla="*/ 5244 w 10000"/>
              <a:gd name="connsiteY64" fmla="*/ 260 h 10283"/>
              <a:gd name="connsiteX65" fmla="*/ 6065 w 10000"/>
              <a:gd name="connsiteY65" fmla="*/ 0 h 10283"/>
              <a:gd name="connsiteX66" fmla="*/ 6328 w 10000"/>
              <a:gd name="connsiteY66" fmla="*/ 250 h 10283"/>
              <a:gd name="connsiteX0" fmla="*/ 6328 w 10000"/>
              <a:gd name="connsiteY0" fmla="*/ 250 h 10283"/>
              <a:gd name="connsiteX1" fmla="*/ 6852 w 10000"/>
              <a:gd name="connsiteY1" fmla="*/ 319 h 10283"/>
              <a:gd name="connsiteX2" fmla="*/ 7160 w 10000"/>
              <a:gd name="connsiteY2" fmla="*/ 461 h 10283"/>
              <a:gd name="connsiteX3" fmla="*/ 7531 w 10000"/>
              <a:gd name="connsiteY3" fmla="*/ 603 h 10283"/>
              <a:gd name="connsiteX4" fmla="*/ 7963 w 10000"/>
              <a:gd name="connsiteY4" fmla="*/ 781 h 10283"/>
              <a:gd name="connsiteX5" fmla="*/ 8086 w 10000"/>
              <a:gd name="connsiteY5" fmla="*/ 888 h 10283"/>
              <a:gd name="connsiteX6" fmla="*/ 9938 w 10000"/>
              <a:gd name="connsiteY6" fmla="*/ 4126 h 10283"/>
              <a:gd name="connsiteX7" fmla="*/ 10000 w 10000"/>
              <a:gd name="connsiteY7" fmla="*/ 4233 h 10283"/>
              <a:gd name="connsiteX8" fmla="*/ 9938 w 10000"/>
              <a:gd name="connsiteY8" fmla="*/ 4411 h 10283"/>
              <a:gd name="connsiteX9" fmla="*/ 9815 w 10000"/>
              <a:gd name="connsiteY9" fmla="*/ 4553 h 10283"/>
              <a:gd name="connsiteX10" fmla="*/ 9630 w 10000"/>
              <a:gd name="connsiteY10" fmla="*/ 4660 h 10283"/>
              <a:gd name="connsiteX11" fmla="*/ 9383 w 10000"/>
              <a:gd name="connsiteY11" fmla="*/ 4731 h 10283"/>
              <a:gd name="connsiteX12" fmla="*/ 9136 w 10000"/>
              <a:gd name="connsiteY12" fmla="*/ 4731 h 10283"/>
              <a:gd name="connsiteX13" fmla="*/ 8827 w 10000"/>
              <a:gd name="connsiteY13" fmla="*/ 4731 h 10283"/>
              <a:gd name="connsiteX14" fmla="*/ 8642 w 10000"/>
              <a:gd name="connsiteY14" fmla="*/ 4660 h 10283"/>
              <a:gd name="connsiteX15" fmla="*/ 8457 w 10000"/>
              <a:gd name="connsiteY15" fmla="*/ 4553 h 10283"/>
              <a:gd name="connsiteX16" fmla="*/ 8333 w 10000"/>
              <a:gd name="connsiteY16" fmla="*/ 4411 h 10283"/>
              <a:gd name="connsiteX17" fmla="*/ 7531 w 10000"/>
              <a:gd name="connsiteY17" fmla="*/ 3023 h 10283"/>
              <a:gd name="connsiteX18" fmla="*/ 7531 w 10000"/>
              <a:gd name="connsiteY18" fmla="*/ 9607 h 10283"/>
              <a:gd name="connsiteX19" fmla="*/ 7469 w 10000"/>
              <a:gd name="connsiteY19" fmla="*/ 9785 h 10283"/>
              <a:gd name="connsiteX20" fmla="*/ 7407 w 10000"/>
              <a:gd name="connsiteY20" fmla="*/ 9927 h 10283"/>
              <a:gd name="connsiteX21" fmla="*/ 7160 w 10000"/>
              <a:gd name="connsiteY21" fmla="*/ 10105 h 10283"/>
              <a:gd name="connsiteX22" fmla="*/ 6914 w 10000"/>
              <a:gd name="connsiteY22" fmla="*/ 10212 h 10283"/>
              <a:gd name="connsiteX23" fmla="*/ 6728 w 10000"/>
              <a:gd name="connsiteY23" fmla="*/ 10283 h 10283"/>
              <a:gd name="connsiteX24" fmla="*/ 6420 w 10000"/>
              <a:gd name="connsiteY24" fmla="*/ 10283 h 10283"/>
              <a:gd name="connsiteX25" fmla="*/ 6111 w 10000"/>
              <a:gd name="connsiteY25" fmla="*/ 10283 h 10283"/>
              <a:gd name="connsiteX26" fmla="*/ 5864 w 10000"/>
              <a:gd name="connsiteY26" fmla="*/ 10212 h 10283"/>
              <a:gd name="connsiteX27" fmla="*/ 5617 w 10000"/>
              <a:gd name="connsiteY27" fmla="*/ 10105 h 10283"/>
              <a:gd name="connsiteX28" fmla="*/ 5494 w 10000"/>
              <a:gd name="connsiteY28" fmla="*/ 9927 h 10283"/>
              <a:gd name="connsiteX29" fmla="*/ 5309 w 10000"/>
              <a:gd name="connsiteY29" fmla="*/ 9785 h 10283"/>
              <a:gd name="connsiteX30" fmla="*/ 5309 w 10000"/>
              <a:gd name="connsiteY30" fmla="*/ 9607 h 10283"/>
              <a:gd name="connsiteX31" fmla="*/ 5309 w 10000"/>
              <a:gd name="connsiteY31" fmla="*/ 5870 h 10283"/>
              <a:gd name="connsiteX32" fmla="*/ 4568 w 10000"/>
              <a:gd name="connsiteY32" fmla="*/ 5870 h 10283"/>
              <a:gd name="connsiteX33" fmla="*/ 4568 w 10000"/>
              <a:gd name="connsiteY33" fmla="*/ 9607 h 10283"/>
              <a:gd name="connsiteX34" fmla="*/ 4568 w 10000"/>
              <a:gd name="connsiteY34" fmla="*/ 9785 h 10283"/>
              <a:gd name="connsiteX35" fmla="*/ 4444 w 10000"/>
              <a:gd name="connsiteY35" fmla="*/ 9963 h 10283"/>
              <a:gd name="connsiteX36" fmla="*/ 4259 w 10000"/>
              <a:gd name="connsiteY36" fmla="*/ 10105 h 10283"/>
              <a:gd name="connsiteX37" fmla="*/ 4012 w 10000"/>
              <a:gd name="connsiteY37" fmla="*/ 10212 h 10283"/>
              <a:gd name="connsiteX38" fmla="*/ 3827 w 10000"/>
              <a:gd name="connsiteY38" fmla="*/ 10283 h 10283"/>
              <a:gd name="connsiteX39" fmla="*/ 3519 w 10000"/>
              <a:gd name="connsiteY39" fmla="*/ 10283 h 10283"/>
              <a:gd name="connsiteX40" fmla="*/ 3210 w 10000"/>
              <a:gd name="connsiteY40" fmla="*/ 10283 h 10283"/>
              <a:gd name="connsiteX41" fmla="*/ 2963 w 10000"/>
              <a:gd name="connsiteY41" fmla="*/ 10212 h 10283"/>
              <a:gd name="connsiteX42" fmla="*/ 2716 w 10000"/>
              <a:gd name="connsiteY42" fmla="*/ 10105 h 10283"/>
              <a:gd name="connsiteX43" fmla="*/ 2593 w 10000"/>
              <a:gd name="connsiteY43" fmla="*/ 9963 h 10283"/>
              <a:gd name="connsiteX44" fmla="*/ 2407 w 10000"/>
              <a:gd name="connsiteY44" fmla="*/ 9785 h 10283"/>
              <a:gd name="connsiteX45" fmla="*/ 2407 w 10000"/>
              <a:gd name="connsiteY45" fmla="*/ 9607 h 10283"/>
              <a:gd name="connsiteX46" fmla="*/ 2407 w 10000"/>
              <a:gd name="connsiteY46" fmla="*/ 2952 h 10283"/>
              <a:gd name="connsiteX47" fmla="*/ 1605 w 10000"/>
              <a:gd name="connsiteY47" fmla="*/ 4376 h 10283"/>
              <a:gd name="connsiteX48" fmla="*/ 1481 w 10000"/>
              <a:gd name="connsiteY48" fmla="*/ 4518 h 10283"/>
              <a:gd name="connsiteX49" fmla="*/ 1296 w 10000"/>
              <a:gd name="connsiteY49" fmla="*/ 4589 h 10283"/>
              <a:gd name="connsiteX50" fmla="*/ 1049 w 10000"/>
              <a:gd name="connsiteY50" fmla="*/ 4696 h 10283"/>
              <a:gd name="connsiteX51" fmla="*/ 802 w 10000"/>
              <a:gd name="connsiteY51" fmla="*/ 4696 h 10283"/>
              <a:gd name="connsiteX52" fmla="*/ 494 w 10000"/>
              <a:gd name="connsiteY52" fmla="*/ 4696 h 10283"/>
              <a:gd name="connsiteX53" fmla="*/ 309 w 10000"/>
              <a:gd name="connsiteY53" fmla="*/ 4589 h 10283"/>
              <a:gd name="connsiteX54" fmla="*/ 123 w 10000"/>
              <a:gd name="connsiteY54" fmla="*/ 4518 h 10283"/>
              <a:gd name="connsiteX55" fmla="*/ 0 w 10000"/>
              <a:gd name="connsiteY55" fmla="*/ 4376 h 10283"/>
              <a:gd name="connsiteX56" fmla="*/ 0 w 10000"/>
              <a:gd name="connsiteY56" fmla="*/ 4198 h 10283"/>
              <a:gd name="connsiteX57" fmla="*/ 0 w 10000"/>
              <a:gd name="connsiteY57" fmla="*/ 4055 h 10283"/>
              <a:gd name="connsiteX58" fmla="*/ 1790 w 10000"/>
              <a:gd name="connsiteY58" fmla="*/ 852 h 10283"/>
              <a:gd name="connsiteX59" fmla="*/ 2037 w 10000"/>
              <a:gd name="connsiteY59" fmla="*/ 710 h 10283"/>
              <a:gd name="connsiteX60" fmla="*/ 2346 w 10000"/>
              <a:gd name="connsiteY60" fmla="*/ 603 h 10283"/>
              <a:gd name="connsiteX61" fmla="*/ 2716 w 10000"/>
              <a:gd name="connsiteY61" fmla="*/ 461 h 10283"/>
              <a:gd name="connsiteX62" fmla="*/ 3025 w 10000"/>
              <a:gd name="connsiteY62" fmla="*/ 354 h 10283"/>
              <a:gd name="connsiteX63" fmla="*/ 3210 w 10000"/>
              <a:gd name="connsiteY63" fmla="*/ 319 h 10283"/>
              <a:gd name="connsiteX64" fmla="*/ 3930 w 10000"/>
              <a:gd name="connsiteY64" fmla="*/ 293 h 10283"/>
              <a:gd name="connsiteX65" fmla="*/ 6065 w 10000"/>
              <a:gd name="connsiteY65" fmla="*/ 0 h 10283"/>
              <a:gd name="connsiteX66" fmla="*/ 6328 w 10000"/>
              <a:gd name="connsiteY66" fmla="*/ 250 h 1028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160 w 10000"/>
              <a:gd name="connsiteY2" fmla="*/ 211 h 10033"/>
              <a:gd name="connsiteX3" fmla="*/ 7531 w 10000"/>
              <a:gd name="connsiteY3" fmla="*/ 353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446 w 10000"/>
              <a:gd name="connsiteY2" fmla="*/ 244 h 10033"/>
              <a:gd name="connsiteX3" fmla="*/ 7531 w 10000"/>
              <a:gd name="connsiteY3" fmla="*/ 353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446 w 10000"/>
              <a:gd name="connsiteY2" fmla="*/ 244 h 10033"/>
              <a:gd name="connsiteX3" fmla="*/ 7588 w 10000"/>
              <a:gd name="connsiteY3" fmla="*/ 419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446 w 10000"/>
              <a:gd name="connsiteY2" fmla="*/ 244 h 10033"/>
              <a:gd name="connsiteX3" fmla="*/ 7759 w 10000"/>
              <a:gd name="connsiteY3" fmla="*/ 452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10000" h="10033">
                <a:moveTo>
                  <a:pt x="6328" y="0"/>
                </a:moveTo>
                <a:lnTo>
                  <a:pt x="6852" y="69"/>
                </a:lnTo>
                <a:lnTo>
                  <a:pt x="7446" y="244"/>
                </a:lnTo>
                <a:lnTo>
                  <a:pt x="7759" y="452"/>
                </a:lnTo>
                <a:lnTo>
                  <a:pt x="7963" y="531"/>
                </a:lnTo>
                <a:lnTo>
                  <a:pt x="8086" y="638"/>
                </a:lnTo>
                <a:lnTo>
                  <a:pt x="9938" y="3876"/>
                </a:lnTo>
                <a:cubicBezTo>
                  <a:pt x="9959" y="3912"/>
                  <a:pt x="9979" y="3947"/>
                  <a:pt x="10000" y="3983"/>
                </a:cubicBezTo>
                <a:cubicBezTo>
                  <a:pt x="9979" y="4042"/>
                  <a:pt x="9959" y="4102"/>
                  <a:pt x="9938" y="4161"/>
                </a:cubicBezTo>
                <a:lnTo>
                  <a:pt x="9815" y="4303"/>
                </a:lnTo>
                <a:lnTo>
                  <a:pt x="9630" y="4410"/>
                </a:lnTo>
                <a:lnTo>
                  <a:pt x="9383" y="4481"/>
                </a:lnTo>
                <a:lnTo>
                  <a:pt x="9136" y="4481"/>
                </a:lnTo>
                <a:lnTo>
                  <a:pt x="8827" y="4481"/>
                </a:lnTo>
                <a:lnTo>
                  <a:pt x="8642" y="4410"/>
                </a:lnTo>
                <a:lnTo>
                  <a:pt x="8457" y="4303"/>
                </a:lnTo>
                <a:lnTo>
                  <a:pt x="8333" y="4161"/>
                </a:lnTo>
                <a:lnTo>
                  <a:pt x="7531" y="2773"/>
                </a:lnTo>
                <a:lnTo>
                  <a:pt x="7531" y="9357"/>
                </a:lnTo>
                <a:cubicBezTo>
                  <a:pt x="7510" y="9416"/>
                  <a:pt x="7490" y="9476"/>
                  <a:pt x="7469" y="9535"/>
                </a:cubicBezTo>
                <a:cubicBezTo>
                  <a:pt x="7448" y="9582"/>
                  <a:pt x="7428" y="9630"/>
                  <a:pt x="7407" y="9677"/>
                </a:cubicBezTo>
                <a:lnTo>
                  <a:pt x="7160" y="9855"/>
                </a:lnTo>
                <a:lnTo>
                  <a:pt x="6914" y="9962"/>
                </a:lnTo>
                <a:lnTo>
                  <a:pt x="6728" y="10033"/>
                </a:lnTo>
                <a:lnTo>
                  <a:pt x="6420" y="10033"/>
                </a:lnTo>
                <a:lnTo>
                  <a:pt x="6111" y="10033"/>
                </a:lnTo>
                <a:lnTo>
                  <a:pt x="5864" y="9962"/>
                </a:lnTo>
                <a:lnTo>
                  <a:pt x="5617" y="9855"/>
                </a:lnTo>
                <a:lnTo>
                  <a:pt x="5494" y="9677"/>
                </a:lnTo>
                <a:lnTo>
                  <a:pt x="5309" y="9535"/>
                </a:lnTo>
                <a:lnTo>
                  <a:pt x="5309" y="9357"/>
                </a:lnTo>
                <a:lnTo>
                  <a:pt x="5309" y="5620"/>
                </a:lnTo>
                <a:lnTo>
                  <a:pt x="4568" y="5620"/>
                </a:lnTo>
                <a:lnTo>
                  <a:pt x="4568" y="9357"/>
                </a:lnTo>
                <a:lnTo>
                  <a:pt x="4568" y="9535"/>
                </a:lnTo>
                <a:lnTo>
                  <a:pt x="4444" y="9713"/>
                </a:lnTo>
                <a:lnTo>
                  <a:pt x="4259" y="9855"/>
                </a:lnTo>
                <a:lnTo>
                  <a:pt x="4012" y="9962"/>
                </a:lnTo>
                <a:lnTo>
                  <a:pt x="3827" y="10033"/>
                </a:lnTo>
                <a:lnTo>
                  <a:pt x="3519" y="10033"/>
                </a:lnTo>
                <a:lnTo>
                  <a:pt x="3210" y="10033"/>
                </a:lnTo>
                <a:lnTo>
                  <a:pt x="2963" y="9962"/>
                </a:lnTo>
                <a:lnTo>
                  <a:pt x="2716" y="9855"/>
                </a:lnTo>
                <a:lnTo>
                  <a:pt x="2593" y="9713"/>
                </a:lnTo>
                <a:lnTo>
                  <a:pt x="2407" y="9535"/>
                </a:lnTo>
                <a:lnTo>
                  <a:pt x="2407" y="9357"/>
                </a:lnTo>
                <a:lnTo>
                  <a:pt x="2407" y="2702"/>
                </a:lnTo>
                <a:lnTo>
                  <a:pt x="1605" y="4126"/>
                </a:lnTo>
                <a:lnTo>
                  <a:pt x="1481" y="4268"/>
                </a:lnTo>
                <a:lnTo>
                  <a:pt x="1296" y="4339"/>
                </a:lnTo>
                <a:lnTo>
                  <a:pt x="1049" y="4446"/>
                </a:lnTo>
                <a:lnTo>
                  <a:pt x="802" y="4446"/>
                </a:lnTo>
                <a:lnTo>
                  <a:pt x="494" y="4446"/>
                </a:lnTo>
                <a:lnTo>
                  <a:pt x="309" y="4339"/>
                </a:lnTo>
                <a:lnTo>
                  <a:pt x="123" y="4268"/>
                </a:lnTo>
                <a:lnTo>
                  <a:pt x="0" y="4126"/>
                </a:lnTo>
                <a:lnTo>
                  <a:pt x="0" y="3948"/>
                </a:lnTo>
                <a:lnTo>
                  <a:pt x="0" y="3805"/>
                </a:lnTo>
                <a:lnTo>
                  <a:pt x="1790" y="602"/>
                </a:lnTo>
                <a:lnTo>
                  <a:pt x="2037" y="460"/>
                </a:lnTo>
                <a:lnTo>
                  <a:pt x="2346" y="353"/>
                </a:lnTo>
                <a:lnTo>
                  <a:pt x="2716" y="211"/>
                </a:lnTo>
                <a:lnTo>
                  <a:pt x="3025" y="104"/>
                </a:lnTo>
                <a:lnTo>
                  <a:pt x="3210" y="69"/>
                </a:lnTo>
                <a:lnTo>
                  <a:pt x="3930" y="43"/>
                </a:lnTo>
                <a:lnTo>
                  <a:pt x="5379" y="13"/>
                </a:lnTo>
                <a:lnTo>
                  <a:pt x="6328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1600">
              <a:solidFill>
                <a:srgbClr val="646464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0059555" y="1898742"/>
            <a:ext cx="1461708" cy="60285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indent="-21600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►"/>
            </a:pPr>
            <a:r>
              <a:rPr lang="ru-RU" sz="1050" dirty="0" smtClean="0">
                <a:solidFill>
                  <a:schemeClr val="bg1"/>
                </a:solidFill>
              </a:rPr>
              <a:t>+7 926 754 45 67</a:t>
            </a:r>
          </a:p>
          <a:p>
            <a:pPr indent="-21600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►"/>
            </a:pPr>
            <a:r>
              <a:rPr lang="ru-RU" sz="1050" dirty="0" smtClean="0">
                <a:solidFill>
                  <a:schemeClr val="bg1"/>
                </a:solidFill>
              </a:rPr>
              <a:t>+7 916 354 63 45</a:t>
            </a:r>
          </a:p>
          <a:p>
            <a:pPr indent="-21600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►"/>
            </a:pPr>
            <a:r>
              <a:rPr lang="ru-RU" sz="1050" dirty="0" smtClean="0">
                <a:solidFill>
                  <a:schemeClr val="bg1"/>
                </a:solidFill>
              </a:rPr>
              <a:t>+7 903 856 43 82</a:t>
            </a:r>
          </a:p>
        </p:txBody>
      </p:sp>
      <p:sp>
        <p:nvSpPr>
          <p:cNvPr id="186" name="Freeform 1645"/>
          <p:cNvSpPr>
            <a:spLocks/>
          </p:cNvSpPr>
          <p:nvPr/>
        </p:nvSpPr>
        <p:spPr bwMode="auto">
          <a:xfrm>
            <a:off x="9473542" y="4580508"/>
            <a:ext cx="416747" cy="725566"/>
          </a:xfrm>
          <a:custGeom>
            <a:avLst/>
            <a:gdLst>
              <a:gd name="T0" fmla="*/ 2147483647 w 162"/>
              <a:gd name="T1" fmla="*/ 2147483647 h 281"/>
              <a:gd name="T2" fmla="*/ 2147483647 w 162"/>
              <a:gd name="T3" fmla="*/ 2147483647 h 281"/>
              <a:gd name="T4" fmla="*/ 2147483647 w 162"/>
              <a:gd name="T5" fmla="*/ 2147483647 h 281"/>
              <a:gd name="T6" fmla="*/ 2147483647 w 162"/>
              <a:gd name="T7" fmla="*/ 2147483647 h 281"/>
              <a:gd name="T8" fmla="*/ 2147483647 w 162"/>
              <a:gd name="T9" fmla="*/ 2147483647 h 281"/>
              <a:gd name="T10" fmla="*/ 2147483647 w 162"/>
              <a:gd name="T11" fmla="*/ 2147483647 h 281"/>
              <a:gd name="T12" fmla="*/ 2147483647 w 162"/>
              <a:gd name="T13" fmla="*/ 2147483647 h 281"/>
              <a:gd name="T14" fmla="*/ 2147483647 w 162"/>
              <a:gd name="T15" fmla="*/ 2147483647 h 281"/>
              <a:gd name="T16" fmla="*/ 2147483647 w 162"/>
              <a:gd name="T17" fmla="*/ 2147483647 h 281"/>
              <a:gd name="T18" fmla="*/ 2147483647 w 162"/>
              <a:gd name="T19" fmla="*/ 2147483647 h 281"/>
              <a:gd name="T20" fmla="*/ 2147483647 w 162"/>
              <a:gd name="T21" fmla="*/ 2147483647 h 281"/>
              <a:gd name="T22" fmla="*/ 2147483647 w 162"/>
              <a:gd name="T23" fmla="*/ 2147483647 h 281"/>
              <a:gd name="T24" fmla="*/ 2147483647 w 162"/>
              <a:gd name="T25" fmla="*/ 2147483647 h 281"/>
              <a:gd name="T26" fmla="*/ 2147483647 w 162"/>
              <a:gd name="T27" fmla="*/ 2147483647 h 281"/>
              <a:gd name="T28" fmla="*/ 2147483647 w 162"/>
              <a:gd name="T29" fmla="*/ 2147483647 h 281"/>
              <a:gd name="T30" fmla="*/ 2147483647 w 162"/>
              <a:gd name="T31" fmla="*/ 2147483647 h 281"/>
              <a:gd name="T32" fmla="*/ 2147483647 w 162"/>
              <a:gd name="T33" fmla="*/ 2147483647 h 281"/>
              <a:gd name="T34" fmla="*/ 2147483647 w 162"/>
              <a:gd name="T35" fmla="*/ 2147483647 h 281"/>
              <a:gd name="T36" fmla="*/ 2147483647 w 162"/>
              <a:gd name="T37" fmla="*/ 2147483647 h 281"/>
              <a:gd name="T38" fmla="*/ 2147483647 w 162"/>
              <a:gd name="T39" fmla="*/ 2147483647 h 281"/>
              <a:gd name="T40" fmla="*/ 2147483647 w 162"/>
              <a:gd name="T41" fmla="*/ 2147483647 h 281"/>
              <a:gd name="T42" fmla="*/ 2147483647 w 162"/>
              <a:gd name="T43" fmla="*/ 2147483647 h 281"/>
              <a:gd name="T44" fmla="*/ 2147483647 w 162"/>
              <a:gd name="T45" fmla="*/ 2147483647 h 281"/>
              <a:gd name="T46" fmla="*/ 2147483647 w 162"/>
              <a:gd name="T47" fmla="*/ 2147483647 h 281"/>
              <a:gd name="T48" fmla="*/ 2147483647 w 162"/>
              <a:gd name="T49" fmla="*/ 2147483647 h 281"/>
              <a:gd name="T50" fmla="*/ 2147483647 w 162"/>
              <a:gd name="T51" fmla="*/ 2147483647 h 281"/>
              <a:gd name="T52" fmla="*/ 2147483647 w 162"/>
              <a:gd name="T53" fmla="*/ 2147483647 h 281"/>
              <a:gd name="T54" fmla="*/ 0 w 162"/>
              <a:gd name="T55" fmla="*/ 2147483647 h 281"/>
              <a:gd name="T56" fmla="*/ 0 w 162"/>
              <a:gd name="T57" fmla="*/ 2147483647 h 281"/>
              <a:gd name="T58" fmla="*/ 2147483647 w 162"/>
              <a:gd name="T59" fmla="*/ 2147483647 h 281"/>
              <a:gd name="T60" fmla="*/ 2147483647 w 162"/>
              <a:gd name="T61" fmla="*/ 2147483647 h 281"/>
              <a:gd name="T62" fmla="*/ 2147483647 w 162"/>
              <a:gd name="T63" fmla="*/ 2147483647 h 281"/>
              <a:gd name="T64" fmla="*/ 2147483647 w 162"/>
              <a:gd name="T65" fmla="*/ 2147483647 h 281"/>
              <a:gd name="T66" fmla="*/ 2147483647 w 162"/>
              <a:gd name="T67" fmla="*/ 2147483647 h 281"/>
              <a:gd name="T68" fmla="*/ 2147483647 w 162"/>
              <a:gd name="T69" fmla="*/ 2147483647 h 281"/>
              <a:gd name="T70" fmla="*/ 2147483647 w 162"/>
              <a:gd name="T71" fmla="*/ 2147483647 h 281"/>
              <a:gd name="T72" fmla="*/ 2147483647 w 162"/>
              <a:gd name="T73" fmla="*/ 2147483647 h 281"/>
              <a:gd name="T74" fmla="*/ 2147483647 w 162"/>
              <a:gd name="T75" fmla="*/ 2147483647 h 281"/>
              <a:gd name="T76" fmla="*/ 2147483647 w 162"/>
              <a:gd name="T77" fmla="*/ 2147483647 h 281"/>
              <a:gd name="T78" fmla="*/ 2147483647 w 162"/>
              <a:gd name="T79" fmla="*/ 0 h 28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4444 w 10000"/>
              <a:gd name="connsiteY64" fmla="*/ 1512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729 h 10053"/>
              <a:gd name="connsiteX75" fmla="*/ 5309 w 10000"/>
              <a:gd name="connsiteY75" fmla="*/ 800 h 10053"/>
              <a:gd name="connsiteX76" fmla="*/ 5185 w 10000"/>
              <a:gd name="connsiteY76" fmla="*/ 872 h 10053"/>
              <a:gd name="connsiteX77" fmla="*/ 5123 w 10000"/>
              <a:gd name="connsiteY77" fmla="*/ 943 h 10053"/>
              <a:gd name="connsiteX78" fmla="*/ 4808 w 10000"/>
              <a:gd name="connsiteY78" fmla="*/ 0 h 10053"/>
              <a:gd name="connsiteX79" fmla="*/ 6728 w 10000"/>
              <a:gd name="connsiteY7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729 h 10053"/>
              <a:gd name="connsiteX75" fmla="*/ 5309 w 10000"/>
              <a:gd name="connsiteY75" fmla="*/ 800 h 10053"/>
              <a:gd name="connsiteX76" fmla="*/ 5185 w 10000"/>
              <a:gd name="connsiteY76" fmla="*/ 872 h 10053"/>
              <a:gd name="connsiteX77" fmla="*/ 5123 w 10000"/>
              <a:gd name="connsiteY77" fmla="*/ 943 h 10053"/>
              <a:gd name="connsiteX78" fmla="*/ 4808 w 10000"/>
              <a:gd name="connsiteY78" fmla="*/ 0 h 10053"/>
              <a:gd name="connsiteX79" fmla="*/ 6728 w 10000"/>
              <a:gd name="connsiteY7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729 h 10053"/>
              <a:gd name="connsiteX75" fmla="*/ 5309 w 10000"/>
              <a:gd name="connsiteY75" fmla="*/ 800 h 10053"/>
              <a:gd name="connsiteX76" fmla="*/ 5185 w 10000"/>
              <a:gd name="connsiteY76" fmla="*/ 872 h 10053"/>
              <a:gd name="connsiteX77" fmla="*/ 4952 w 10000"/>
              <a:gd name="connsiteY77" fmla="*/ 317 h 10053"/>
              <a:gd name="connsiteX78" fmla="*/ 4808 w 10000"/>
              <a:gd name="connsiteY78" fmla="*/ 0 h 10053"/>
              <a:gd name="connsiteX79" fmla="*/ 6728 w 10000"/>
              <a:gd name="connsiteY7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247 w 10000"/>
              <a:gd name="connsiteY73" fmla="*/ 622 h 10053"/>
              <a:gd name="connsiteX74" fmla="*/ 5309 w 10000"/>
              <a:gd name="connsiteY74" fmla="*/ 800 h 10053"/>
              <a:gd name="connsiteX75" fmla="*/ 5185 w 10000"/>
              <a:gd name="connsiteY75" fmla="*/ 872 h 10053"/>
              <a:gd name="connsiteX76" fmla="*/ 4952 w 10000"/>
              <a:gd name="connsiteY76" fmla="*/ 317 h 10053"/>
              <a:gd name="connsiteX77" fmla="*/ 4808 w 10000"/>
              <a:gd name="connsiteY77" fmla="*/ 0 h 10053"/>
              <a:gd name="connsiteX78" fmla="*/ 6728 w 10000"/>
              <a:gd name="connsiteY78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123 w 10000"/>
              <a:gd name="connsiteY72" fmla="*/ 551 h 10053"/>
              <a:gd name="connsiteX73" fmla="*/ 5309 w 10000"/>
              <a:gd name="connsiteY73" fmla="*/ 800 h 10053"/>
              <a:gd name="connsiteX74" fmla="*/ 5185 w 10000"/>
              <a:gd name="connsiteY74" fmla="*/ 872 h 10053"/>
              <a:gd name="connsiteX75" fmla="*/ 4952 w 10000"/>
              <a:gd name="connsiteY75" fmla="*/ 317 h 10053"/>
              <a:gd name="connsiteX76" fmla="*/ 4808 w 10000"/>
              <a:gd name="connsiteY76" fmla="*/ 0 h 10053"/>
              <a:gd name="connsiteX77" fmla="*/ 6728 w 10000"/>
              <a:gd name="connsiteY77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753 w 10000"/>
              <a:gd name="connsiteY70" fmla="*/ 551 h 10053"/>
              <a:gd name="connsiteX71" fmla="*/ 4938 w 10000"/>
              <a:gd name="connsiteY71" fmla="*/ 480 h 10053"/>
              <a:gd name="connsiteX72" fmla="*/ 5309 w 10000"/>
              <a:gd name="connsiteY72" fmla="*/ 800 h 10053"/>
              <a:gd name="connsiteX73" fmla="*/ 5185 w 10000"/>
              <a:gd name="connsiteY73" fmla="*/ 872 h 10053"/>
              <a:gd name="connsiteX74" fmla="*/ 4952 w 10000"/>
              <a:gd name="connsiteY74" fmla="*/ 317 h 10053"/>
              <a:gd name="connsiteX75" fmla="*/ 4808 w 10000"/>
              <a:gd name="connsiteY75" fmla="*/ 0 h 10053"/>
              <a:gd name="connsiteX76" fmla="*/ 6728 w 10000"/>
              <a:gd name="connsiteY76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568 w 10000"/>
              <a:gd name="connsiteY69" fmla="*/ 622 h 10053"/>
              <a:gd name="connsiteX70" fmla="*/ 4938 w 10000"/>
              <a:gd name="connsiteY70" fmla="*/ 480 h 10053"/>
              <a:gd name="connsiteX71" fmla="*/ 5309 w 10000"/>
              <a:gd name="connsiteY71" fmla="*/ 800 h 10053"/>
              <a:gd name="connsiteX72" fmla="*/ 5185 w 10000"/>
              <a:gd name="connsiteY72" fmla="*/ 872 h 10053"/>
              <a:gd name="connsiteX73" fmla="*/ 4952 w 10000"/>
              <a:gd name="connsiteY73" fmla="*/ 317 h 10053"/>
              <a:gd name="connsiteX74" fmla="*/ 4808 w 10000"/>
              <a:gd name="connsiteY74" fmla="*/ 0 h 10053"/>
              <a:gd name="connsiteX75" fmla="*/ 6728 w 10000"/>
              <a:gd name="connsiteY75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506 w 10000"/>
              <a:gd name="connsiteY68" fmla="*/ 729 h 10053"/>
              <a:gd name="connsiteX69" fmla="*/ 4938 w 10000"/>
              <a:gd name="connsiteY69" fmla="*/ 480 h 10053"/>
              <a:gd name="connsiteX70" fmla="*/ 5309 w 10000"/>
              <a:gd name="connsiteY70" fmla="*/ 800 h 10053"/>
              <a:gd name="connsiteX71" fmla="*/ 5185 w 10000"/>
              <a:gd name="connsiteY71" fmla="*/ 872 h 10053"/>
              <a:gd name="connsiteX72" fmla="*/ 4952 w 10000"/>
              <a:gd name="connsiteY72" fmla="*/ 317 h 10053"/>
              <a:gd name="connsiteX73" fmla="*/ 4808 w 10000"/>
              <a:gd name="connsiteY73" fmla="*/ 0 h 10053"/>
              <a:gd name="connsiteX74" fmla="*/ 6728 w 10000"/>
              <a:gd name="connsiteY74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506 w 10000"/>
              <a:gd name="connsiteY67" fmla="*/ 800 h 10053"/>
              <a:gd name="connsiteX68" fmla="*/ 4938 w 10000"/>
              <a:gd name="connsiteY68" fmla="*/ 480 h 10053"/>
              <a:gd name="connsiteX69" fmla="*/ 5309 w 10000"/>
              <a:gd name="connsiteY69" fmla="*/ 800 h 10053"/>
              <a:gd name="connsiteX70" fmla="*/ 5185 w 10000"/>
              <a:gd name="connsiteY70" fmla="*/ 872 h 10053"/>
              <a:gd name="connsiteX71" fmla="*/ 4952 w 10000"/>
              <a:gd name="connsiteY71" fmla="*/ 317 h 10053"/>
              <a:gd name="connsiteX72" fmla="*/ 4808 w 10000"/>
              <a:gd name="connsiteY72" fmla="*/ 0 h 10053"/>
              <a:gd name="connsiteX73" fmla="*/ 6728 w 10000"/>
              <a:gd name="connsiteY73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568 w 10000"/>
              <a:gd name="connsiteY66" fmla="*/ 872 h 10053"/>
              <a:gd name="connsiteX67" fmla="*/ 4938 w 10000"/>
              <a:gd name="connsiteY67" fmla="*/ 480 h 10053"/>
              <a:gd name="connsiteX68" fmla="*/ 5309 w 10000"/>
              <a:gd name="connsiteY68" fmla="*/ 800 h 10053"/>
              <a:gd name="connsiteX69" fmla="*/ 5185 w 10000"/>
              <a:gd name="connsiteY69" fmla="*/ 872 h 10053"/>
              <a:gd name="connsiteX70" fmla="*/ 4952 w 10000"/>
              <a:gd name="connsiteY70" fmla="*/ 317 h 10053"/>
              <a:gd name="connsiteX71" fmla="*/ 4808 w 10000"/>
              <a:gd name="connsiteY71" fmla="*/ 0 h 10053"/>
              <a:gd name="connsiteX72" fmla="*/ 6728 w 10000"/>
              <a:gd name="connsiteY72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938 w 10000"/>
              <a:gd name="connsiteY66" fmla="*/ 480 h 10053"/>
              <a:gd name="connsiteX67" fmla="*/ 5309 w 10000"/>
              <a:gd name="connsiteY67" fmla="*/ 800 h 10053"/>
              <a:gd name="connsiteX68" fmla="*/ 5185 w 10000"/>
              <a:gd name="connsiteY68" fmla="*/ 872 h 10053"/>
              <a:gd name="connsiteX69" fmla="*/ 4952 w 10000"/>
              <a:gd name="connsiteY69" fmla="*/ 317 h 10053"/>
              <a:gd name="connsiteX70" fmla="*/ 4808 w 10000"/>
              <a:gd name="connsiteY70" fmla="*/ 0 h 10053"/>
              <a:gd name="connsiteX71" fmla="*/ 6728 w 10000"/>
              <a:gd name="connsiteY71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938 w 10000"/>
              <a:gd name="connsiteY66" fmla="*/ 480 h 10053"/>
              <a:gd name="connsiteX67" fmla="*/ 5309 w 10000"/>
              <a:gd name="connsiteY67" fmla="*/ 800 h 10053"/>
              <a:gd name="connsiteX68" fmla="*/ 4952 w 10000"/>
              <a:gd name="connsiteY68" fmla="*/ 317 h 10053"/>
              <a:gd name="connsiteX69" fmla="*/ 4808 w 10000"/>
              <a:gd name="connsiteY69" fmla="*/ 0 h 10053"/>
              <a:gd name="connsiteX70" fmla="*/ 6728 w 10000"/>
              <a:gd name="connsiteY70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753 w 10000"/>
              <a:gd name="connsiteY65" fmla="*/ 943 h 10053"/>
              <a:gd name="connsiteX66" fmla="*/ 4938 w 10000"/>
              <a:gd name="connsiteY66" fmla="*/ 480 h 10053"/>
              <a:gd name="connsiteX67" fmla="*/ 4952 w 10000"/>
              <a:gd name="connsiteY67" fmla="*/ 317 h 10053"/>
              <a:gd name="connsiteX68" fmla="*/ 4808 w 10000"/>
              <a:gd name="connsiteY68" fmla="*/ 0 h 10053"/>
              <a:gd name="connsiteX69" fmla="*/ 6728 w 10000"/>
              <a:gd name="connsiteY69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938 w 10000"/>
              <a:gd name="connsiteY65" fmla="*/ 480 h 10053"/>
              <a:gd name="connsiteX66" fmla="*/ 4952 w 10000"/>
              <a:gd name="connsiteY66" fmla="*/ 317 h 10053"/>
              <a:gd name="connsiteX67" fmla="*/ 4808 w 10000"/>
              <a:gd name="connsiteY67" fmla="*/ 0 h 10053"/>
              <a:gd name="connsiteX68" fmla="*/ 6728 w 10000"/>
              <a:gd name="connsiteY68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952 w 10000"/>
              <a:gd name="connsiteY65" fmla="*/ 317 h 10053"/>
              <a:gd name="connsiteX66" fmla="*/ 4808 w 10000"/>
              <a:gd name="connsiteY66" fmla="*/ 0 h 10053"/>
              <a:gd name="connsiteX67" fmla="*/ 6728 w 10000"/>
              <a:gd name="connsiteY67" fmla="*/ 53 h 10053"/>
              <a:gd name="connsiteX0" fmla="*/ 6728 w 10000"/>
              <a:gd name="connsiteY0" fmla="*/ 53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808 w 10000"/>
              <a:gd name="connsiteY65" fmla="*/ 0 h 10053"/>
              <a:gd name="connsiteX66" fmla="*/ 6728 w 10000"/>
              <a:gd name="connsiteY66" fmla="*/ 53 h 10053"/>
              <a:gd name="connsiteX0" fmla="*/ 6328 w 10000"/>
              <a:gd name="connsiteY0" fmla="*/ 20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808 w 10000"/>
              <a:gd name="connsiteY65" fmla="*/ 0 h 10053"/>
              <a:gd name="connsiteX66" fmla="*/ 6328 w 10000"/>
              <a:gd name="connsiteY66" fmla="*/ 20 h 10053"/>
              <a:gd name="connsiteX0" fmla="*/ 6328 w 10000"/>
              <a:gd name="connsiteY0" fmla="*/ 20 h 10053"/>
              <a:gd name="connsiteX1" fmla="*/ 6852 w 10000"/>
              <a:gd name="connsiteY1" fmla="*/ 89 h 10053"/>
              <a:gd name="connsiteX2" fmla="*/ 7160 w 10000"/>
              <a:gd name="connsiteY2" fmla="*/ 231 h 10053"/>
              <a:gd name="connsiteX3" fmla="*/ 7531 w 10000"/>
              <a:gd name="connsiteY3" fmla="*/ 373 h 10053"/>
              <a:gd name="connsiteX4" fmla="*/ 7963 w 10000"/>
              <a:gd name="connsiteY4" fmla="*/ 551 h 10053"/>
              <a:gd name="connsiteX5" fmla="*/ 8086 w 10000"/>
              <a:gd name="connsiteY5" fmla="*/ 658 h 10053"/>
              <a:gd name="connsiteX6" fmla="*/ 9938 w 10000"/>
              <a:gd name="connsiteY6" fmla="*/ 3896 h 10053"/>
              <a:gd name="connsiteX7" fmla="*/ 10000 w 10000"/>
              <a:gd name="connsiteY7" fmla="*/ 4003 h 10053"/>
              <a:gd name="connsiteX8" fmla="*/ 9938 w 10000"/>
              <a:gd name="connsiteY8" fmla="*/ 4181 h 10053"/>
              <a:gd name="connsiteX9" fmla="*/ 9815 w 10000"/>
              <a:gd name="connsiteY9" fmla="*/ 4323 h 10053"/>
              <a:gd name="connsiteX10" fmla="*/ 9630 w 10000"/>
              <a:gd name="connsiteY10" fmla="*/ 4430 h 10053"/>
              <a:gd name="connsiteX11" fmla="*/ 9383 w 10000"/>
              <a:gd name="connsiteY11" fmla="*/ 4501 h 10053"/>
              <a:gd name="connsiteX12" fmla="*/ 9136 w 10000"/>
              <a:gd name="connsiteY12" fmla="*/ 4501 h 10053"/>
              <a:gd name="connsiteX13" fmla="*/ 8827 w 10000"/>
              <a:gd name="connsiteY13" fmla="*/ 4501 h 10053"/>
              <a:gd name="connsiteX14" fmla="*/ 8642 w 10000"/>
              <a:gd name="connsiteY14" fmla="*/ 4430 h 10053"/>
              <a:gd name="connsiteX15" fmla="*/ 8457 w 10000"/>
              <a:gd name="connsiteY15" fmla="*/ 4323 h 10053"/>
              <a:gd name="connsiteX16" fmla="*/ 8333 w 10000"/>
              <a:gd name="connsiteY16" fmla="*/ 4181 h 10053"/>
              <a:gd name="connsiteX17" fmla="*/ 7531 w 10000"/>
              <a:gd name="connsiteY17" fmla="*/ 2793 h 10053"/>
              <a:gd name="connsiteX18" fmla="*/ 7531 w 10000"/>
              <a:gd name="connsiteY18" fmla="*/ 9377 h 10053"/>
              <a:gd name="connsiteX19" fmla="*/ 7469 w 10000"/>
              <a:gd name="connsiteY19" fmla="*/ 9555 h 10053"/>
              <a:gd name="connsiteX20" fmla="*/ 7407 w 10000"/>
              <a:gd name="connsiteY20" fmla="*/ 9697 h 10053"/>
              <a:gd name="connsiteX21" fmla="*/ 7160 w 10000"/>
              <a:gd name="connsiteY21" fmla="*/ 9875 h 10053"/>
              <a:gd name="connsiteX22" fmla="*/ 6914 w 10000"/>
              <a:gd name="connsiteY22" fmla="*/ 9982 h 10053"/>
              <a:gd name="connsiteX23" fmla="*/ 6728 w 10000"/>
              <a:gd name="connsiteY23" fmla="*/ 10053 h 10053"/>
              <a:gd name="connsiteX24" fmla="*/ 6420 w 10000"/>
              <a:gd name="connsiteY24" fmla="*/ 10053 h 10053"/>
              <a:gd name="connsiteX25" fmla="*/ 6111 w 10000"/>
              <a:gd name="connsiteY25" fmla="*/ 10053 h 10053"/>
              <a:gd name="connsiteX26" fmla="*/ 5864 w 10000"/>
              <a:gd name="connsiteY26" fmla="*/ 9982 h 10053"/>
              <a:gd name="connsiteX27" fmla="*/ 5617 w 10000"/>
              <a:gd name="connsiteY27" fmla="*/ 9875 h 10053"/>
              <a:gd name="connsiteX28" fmla="*/ 5494 w 10000"/>
              <a:gd name="connsiteY28" fmla="*/ 9697 h 10053"/>
              <a:gd name="connsiteX29" fmla="*/ 5309 w 10000"/>
              <a:gd name="connsiteY29" fmla="*/ 9555 h 10053"/>
              <a:gd name="connsiteX30" fmla="*/ 5309 w 10000"/>
              <a:gd name="connsiteY30" fmla="*/ 9377 h 10053"/>
              <a:gd name="connsiteX31" fmla="*/ 5309 w 10000"/>
              <a:gd name="connsiteY31" fmla="*/ 5640 h 10053"/>
              <a:gd name="connsiteX32" fmla="*/ 4568 w 10000"/>
              <a:gd name="connsiteY32" fmla="*/ 5640 h 10053"/>
              <a:gd name="connsiteX33" fmla="*/ 4568 w 10000"/>
              <a:gd name="connsiteY33" fmla="*/ 9377 h 10053"/>
              <a:gd name="connsiteX34" fmla="*/ 4568 w 10000"/>
              <a:gd name="connsiteY34" fmla="*/ 9555 h 10053"/>
              <a:gd name="connsiteX35" fmla="*/ 4444 w 10000"/>
              <a:gd name="connsiteY35" fmla="*/ 9733 h 10053"/>
              <a:gd name="connsiteX36" fmla="*/ 4259 w 10000"/>
              <a:gd name="connsiteY36" fmla="*/ 9875 h 10053"/>
              <a:gd name="connsiteX37" fmla="*/ 4012 w 10000"/>
              <a:gd name="connsiteY37" fmla="*/ 9982 h 10053"/>
              <a:gd name="connsiteX38" fmla="*/ 3827 w 10000"/>
              <a:gd name="connsiteY38" fmla="*/ 10053 h 10053"/>
              <a:gd name="connsiteX39" fmla="*/ 3519 w 10000"/>
              <a:gd name="connsiteY39" fmla="*/ 10053 h 10053"/>
              <a:gd name="connsiteX40" fmla="*/ 3210 w 10000"/>
              <a:gd name="connsiteY40" fmla="*/ 10053 h 10053"/>
              <a:gd name="connsiteX41" fmla="*/ 2963 w 10000"/>
              <a:gd name="connsiteY41" fmla="*/ 9982 h 10053"/>
              <a:gd name="connsiteX42" fmla="*/ 2716 w 10000"/>
              <a:gd name="connsiteY42" fmla="*/ 9875 h 10053"/>
              <a:gd name="connsiteX43" fmla="*/ 2593 w 10000"/>
              <a:gd name="connsiteY43" fmla="*/ 9733 h 10053"/>
              <a:gd name="connsiteX44" fmla="*/ 2407 w 10000"/>
              <a:gd name="connsiteY44" fmla="*/ 9555 h 10053"/>
              <a:gd name="connsiteX45" fmla="*/ 2407 w 10000"/>
              <a:gd name="connsiteY45" fmla="*/ 9377 h 10053"/>
              <a:gd name="connsiteX46" fmla="*/ 2407 w 10000"/>
              <a:gd name="connsiteY46" fmla="*/ 2722 h 10053"/>
              <a:gd name="connsiteX47" fmla="*/ 1605 w 10000"/>
              <a:gd name="connsiteY47" fmla="*/ 4146 h 10053"/>
              <a:gd name="connsiteX48" fmla="*/ 1481 w 10000"/>
              <a:gd name="connsiteY48" fmla="*/ 4288 h 10053"/>
              <a:gd name="connsiteX49" fmla="*/ 1296 w 10000"/>
              <a:gd name="connsiteY49" fmla="*/ 4359 h 10053"/>
              <a:gd name="connsiteX50" fmla="*/ 1049 w 10000"/>
              <a:gd name="connsiteY50" fmla="*/ 4466 h 10053"/>
              <a:gd name="connsiteX51" fmla="*/ 802 w 10000"/>
              <a:gd name="connsiteY51" fmla="*/ 4466 h 10053"/>
              <a:gd name="connsiteX52" fmla="*/ 494 w 10000"/>
              <a:gd name="connsiteY52" fmla="*/ 4466 h 10053"/>
              <a:gd name="connsiteX53" fmla="*/ 309 w 10000"/>
              <a:gd name="connsiteY53" fmla="*/ 4359 h 10053"/>
              <a:gd name="connsiteX54" fmla="*/ 123 w 10000"/>
              <a:gd name="connsiteY54" fmla="*/ 4288 h 10053"/>
              <a:gd name="connsiteX55" fmla="*/ 0 w 10000"/>
              <a:gd name="connsiteY55" fmla="*/ 4146 h 10053"/>
              <a:gd name="connsiteX56" fmla="*/ 0 w 10000"/>
              <a:gd name="connsiteY56" fmla="*/ 3968 h 10053"/>
              <a:gd name="connsiteX57" fmla="*/ 0 w 10000"/>
              <a:gd name="connsiteY57" fmla="*/ 3825 h 10053"/>
              <a:gd name="connsiteX58" fmla="*/ 1790 w 10000"/>
              <a:gd name="connsiteY58" fmla="*/ 622 h 10053"/>
              <a:gd name="connsiteX59" fmla="*/ 2037 w 10000"/>
              <a:gd name="connsiteY59" fmla="*/ 480 h 10053"/>
              <a:gd name="connsiteX60" fmla="*/ 2346 w 10000"/>
              <a:gd name="connsiteY60" fmla="*/ 373 h 10053"/>
              <a:gd name="connsiteX61" fmla="*/ 2716 w 10000"/>
              <a:gd name="connsiteY61" fmla="*/ 231 h 10053"/>
              <a:gd name="connsiteX62" fmla="*/ 3025 w 10000"/>
              <a:gd name="connsiteY62" fmla="*/ 124 h 10053"/>
              <a:gd name="connsiteX63" fmla="*/ 3210 w 10000"/>
              <a:gd name="connsiteY63" fmla="*/ 89 h 10053"/>
              <a:gd name="connsiteX64" fmla="*/ 5244 w 10000"/>
              <a:gd name="connsiteY64" fmla="*/ 30 h 10053"/>
              <a:gd name="connsiteX65" fmla="*/ 4979 w 10000"/>
              <a:gd name="connsiteY65" fmla="*/ 0 h 10053"/>
              <a:gd name="connsiteX66" fmla="*/ 6328 w 10000"/>
              <a:gd name="connsiteY66" fmla="*/ 20 h 10053"/>
              <a:gd name="connsiteX0" fmla="*/ 6328 w 10000"/>
              <a:gd name="connsiteY0" fmla="*/ 250 h 10283"/>
              <a:gd name="connsiteX1" fmla="*/ 6852 w 10000"/>
              <a:gd name="connsiteY1" fmla="*/ 319 h 10283"/>
              <a:gd name="connsiteX2" fmla="*/ 7160 w 10000"/>
              <a:gd name="connsiteY2" fmla="*/ 461 h 10283"/>
              <a:gd name="connsiteX3" fmla="*/ 7531 w 10000"/>
              <a:gd name="connsiteY3" fmla="*/ 603 h 10283"/>
              <a:gd name="connsiteX4" fmla="*/ 7963 w 10000"/>
              <a:gd name="connsiteY4" fmla="*/ 781 h 10283"/>
              <a:gd name="connsiteX5" fmla="*/ 8086 w 10000"/>
              <a:gd name="connsiteY5" fmla="*/ 888 h 10283"/>
              <a:gd name="connsiteX6" fmla="*/ 9938 w 10000"/>
              <a:gd name="connsiteY6" fmla="*/ 4126 h 10283"/>
              <a:gd name="connsiteX7" fmla="*/ 10000 w 10000"/>
              <a:gd name="connsiteY7" fmla="*/ 4233 h 10283"/>
              <a:gd name="connsiteX8" fmla="*/ 9938 w 10000"/>
              <a:gd name="connsiteY8" fmla="*/ 4411 h 10283"/>
              <a:gd name="connsiteX9" fmla="*/ 9815 w 10000"/>
              <a:gd name="connsiteY9" fmla="*/ 4553 h 10283"/>
              <a:gd name="connsiteX10" fmla="*/ 9630 w 10000"/>
              <a:gd name="connsiteY10" fmla="*/ 4660 h 10283"/>
              <a:gd name="connsiteX11" fmla="*/ 9383 w 10000"/>
              <a:gd name="connsiteY11" fmla="*/ 4731 h 10283"/>
              <a:gd name="connsiteX12" fmla="*/ 9136 w 10000"/>
              <a:gd name="connsiteY12" fmla="*/ 4731 h 10283"/>
              <a:gd name="connsiteX13" fmla="*/ 8827 w 10000"/>
              <a:gd name="connsiteY13" fmla="*/ 4731 h 10283"/>
              <a:gd name="connsiteX14" fmla="*/ 8642 w 10000"/>
              <a:gd name="connsiteY14" fmla="*/ 4660 h 10283"/>
              <a:gd name="connsiteX15" fmla="*/ 8457 w 10000"/>
              <a:gd name="connsiteY15" fmla="*/ 4553 h 10283"/>
              <a:gd name="connsiteX16" fmla="*/ 8333 w 10000"/>
              <a:gd name="connsiteY16" fmla="*/ 4411 h 10283"/>
              <a:gd name="connsiteX17" fmla="*/ 7531 w 10000"/>
              <a:gd name="connsiteY17" fmla="*/ 3023 h 10283"/>
              <a:gd name="connsiteX18" fmla="*/ 7531 w 10000"/>
              <a:gd name="connsiteY18" fmla="*/ 9607 h 10283"/>
              <a:gd name="connsiteX19" fmla="*/ 7469 w 10000"/>
              <a:gd name="connsiteY19" fmla="*/ 9785 h 10283"/>
              <a:gd name="connsiteX20" fmla="*/ 7407 w 10000"/>
              <a:gd name="connsiteY20" fmla="*/ 9927 h 10283"/>
              <a:gd name="connsiteX21" fmla="*/ 7160 w 10000"/>
              <a:gd name="connsiteY21" fmla="*/ 10105 h 10283"/>
              <a:gd name="connsiteX22" fmla="*/ 6914 w 10000"/>
              <a:gd name="connsiteY22" fmla="*/ 10212 h 10283"/>
              <a:gd name="connsiteX23" fmla="*/ 6728 w 10000"/>
              <a:gd name="connsiteY23" fmla="*/ 10283 h 10283"/>
              <a:gd name="connsiteX24" fmla="*/ 6420 w 10000"/>
              <a:gd name="connsiteY24" fmla="*/ 10283 h 10283"/>
              <a:gd name="connsiteX25" fmla="*/ 6111 w 10000"/>
              <a:gd name="connsiteY25" fmla="*/ 10283 h 10283"/>
              <a:gd name="connsiteX26" fmla="*/ 5864 w 10000"/>
              <a:gd name="connsiteY26" fmla="*/ 10212 h 10283"/>
              <a:gd name="connsiteX27" fmla="*/ 5617 w 10000"/>
              <a:gd name="connsiteY27" fmla="*/ 10105 h 10283"/>
              <a:gd name="connsiteX28" fmla="*/ 5494 w 10000"/>
              <a:gd name="connsiteY28" fmla="*/ 9927 h 10283"/>
              <a:gd name="connsiteX29" fmla="*/ 5309 w 10000"/>
              <a:gd name="connsiteY29" fmla="*/ 9785 h 10283"/>
              <a:gd name="connsiteX30" fmla="*/ 5309 w 10000"/>
              <a:gd name="connsiteY30" fmla="*/ 9607 h 10283"/>
              <a:gd name="connsiteX31" fmla="*/ 5309 w 10000"/>
              <a:gd name="connsiteY31" fmla="*/ 5870 h 10283"/>
              <a:gd name="connsiteX32" fmla="*/ 4568 w 10000"/>
              <a:gd name="connsiteY32" fmla="*/ 5870 h 10283"/>
              <a:gd name="connsiteX33" fmla="*/ 4568 w 10000"/>
              <a:gd name="connsiteY33" fmla="*/ 9607 h 10283"/>
              <a:gd name="connsiteX34" fmla="*/ 4568 w 10000"/>
              <a:gd name="connsiteY34" fmla="*/ 9785 h 10283"/>
              <a:gd name="connsiteX35" fmla="*/ 4444 w 10000"/>
              <a:gd name="connsiteY35" fmla="*/ 9963 h 10283"/>
              <a:gd name="connsiteX36" fmla="*/ 4259 w 10000"/>
              <a:gd name="connsiteY36" fmla="*/ 10105 h 10283"/>
              <a:gd name="connsiteX37" fmla="*/ 4012 w 10000"/>
              <a:gd name="connsiteY37" fmla="*/ 10212 h 10283"/>
              <a:gd name="connsiteX38" fmla="*/ 3827 w 10000"/>
              <a:gd name="connsiteY38" fmla="*/ 10283 h 10283"/>
              <a:gd name="connsiteX39" fmla="*/ 3519 w 10000"/>
              <a:gd name="connsiteY39" fmla="*/ 10283 h 10283"/>
              <a:gd name="connsiteX40" fmla="*/ 3210 w 10000"/>
              <a:gd name="connsiteY40" fmla="*/ 10283 h 10283"/>
              <a:gd name="connsiteX41" fmla="*/ 2963 w 10000"/>
              <a:gd name="connsiteY41" fmla="*/ 10212 h 10283"/>
              <a:gd name="connsiteX42" fmla="*/ 2716 w 10000"/>
              <a:gd name="connsiteY42" fmla="*/ 10105 h 10283"/>
              <a:gd name="connsiteX43" fmla="*/ 2593 w 10000"/>
              <a:gd name="connsiteY43" fmla="*/ 9963 h 10283"/>
              <a:gd name="connsiteX44" fmla="*/ 2407 w 10000"/>
              <a:gd name="connsiteY44" fmla="*/ 9785 h 10283"/>
              <a:gd name="connsiteX45" fmla="*/ 2407 w 10000"/>
              <a:gd name="connsiteY45" fmla="*/ 9607 h 10283"/>
              <a:gd name="connsiteX46" fmla="*/ 2407 w 10000"/>
              <a:gd name="connsiteY46" fmla="*/ 2952 h 10283"/>
              <a:gd name="connsiteX47" fmla="*/ 1605 w 10000"/>
              <a:gd name="connsiteY47" fmla="*/ 4376 h 10283"/>
              <a:gd name="connsiteX48" fmla="*/ 1481 w 10000"/>
              <a:gd name="connsiteY48" fmla="*/ 4518 h 10283"/>
              <a:gd name="connsiteX49" fmla="*/ 1296 w 10000"/>
              <a:gd name="connsiteY49" fmla="*/ 4589 h 10283"/>
              <a:gd name="connsiteX50" fmla="*/ 1049 w 10000"/>
              <a:gd name="connsiteY50" fmla="*/ 4696 h 10283"/>
              <a:gd name="connsiteX51" fmla="*/ 802 w 10000"/>
              <a:gd name="connsiteY51" fmla="*/ 4696 h 10283"/>
              <a:gd name="connsiteX52" fmla="*/ 494 w 10000"/>
              <a:gd name="connsiteY52" fmla="*/ 4696 h 10283"/>
              <a:gd name="connsiteX53" fmla="*/ 309 w 10000"/>
              <a:gd name="connsiteY53" fmla="*/ 4589 h 10283"/>
              <a:gd name="connsiteX54" fmla="*/ 123 w 10000"/>
              <a:gd name="connsiteY54" fmla="*/ 4518 h 10283"/>
              <a:gd name="connsiteX55" fmla="*/ 0 w 10000"/>
              <a:gd name="connsiteY55" fmla="*/ 4376 h 10283"/>
              <a:gd name="connsiteX56" fmla="*/ 0 w 10000"/>
              <a:gd name="connsiteY56" fmla="*/ 4198 h 10283"/>
              <a:gd name="connsiteX57" fmla="*/ 0 w 10000"/>
              <a:gd name="connsiteY57" fmla="*/ 4055 h 10283"/>
              <a:gd name="connsiteX58" fmla="*/ 1790 w 10000"/>
              <a:gd name="connsiteY58" fmla="*/ 852 h 10283"/>
              <a:gd name="connsiteX59" fmla="*/ 2037 w 10000"/>
              <a:gd name="connsiteY59" fmla="*/ 710 h 10283"/>
              <a:gd name="connsiteX60" fmla="*/ 2346 w 10000"/>
              <a:gd name="connsiteY60" fmla="*/ 603 h 10283"/>
              <a:gd name="connsiteX61" fmla="*/ 2716 w 10000"/>
              <a:gd name="connsiteY61" fmla="*/ 461 h 10283"/>
              <a:gd name="connsiteX62" fmla="*/ 3025 w 10000"/>
              <a:gd name="connsiteY62" fmla="*/ 354 h 10283"/>
              <a:gd name="connsiteX63" fmla="*/ 3210 w 10000"/>
              <a:gd name="connsiteY63" fmla="*/ 319 h 10283"/>
              <a:gd name="connsiteX64" fmla="*/ 5244 w 10000"/>
              <a:gd name="connsiteY64" fmla="*/ 260 h 10283"/>
              <a:gd name="connsiteX65" fmla="*/ 6065 w 10000"/>
              <a:gd name="connsiteY65" fmla="*/ 0 h 10283"/>
              <a:gd name="connsiteX66" fmla="*/ 6328 w 10000"/>
              <a:gd name="connsiteY66" fmla="*/ 250 h 10283"/>
              <a:gd name="connsiteX0" fmla="*/ 6328 w 10000"/>
              <a:gd name="connsiteY0" fmla="*/ 250 h 10283"/>
              <a:gd name="connsiteX1" fmla="*/ 6852 w 10000"/>
              <a:gd name="connsiteY1" fmla="*/ 319 h 10283"/>
              <a:gd name="connsiteX2" fmla="*/ 7160 w 10000"/>
              <a:gd name="connsiteY2" fmla="*/ 461 h 10283"/>
              <a:gd name="connsiteX3" fmla="*/ 7531 w 10000"/>
              <a:gd name="connsiteY3" fmla="*/ 603 h 10283"/>
              <a:gd name="connsiteX4" fmla="*/ 7963 w 10000"/>
              <a:gd name="connsiteY4" fmla="*/ 781 h 10283"/>
              <a:gd name="connsiteX5" fmla="*/ 8086 w 10000"/>
              <a:gd name="connsiteY5" fmla="*/ 888 h 10283"/>
              <a:gd name="connsiteX6" fmla="*/ 9938 w 10000"/>
              <a:gd name="connsiteY6" fmla="*/ 4126 h 10283"/>
              <a:gd name="connsiteX7" fmla="*/ 10000 w 10000"/>
              <a:gd name="connsiteY7" fmla="*/ 4233 h 10283"/>
              <a:gd name="connsiteX8" fmla="*/ 9938 w 10000"/>
              <a:gd name="connsiteY8" fmla="*/ 4411 h 10283"/>
              <a:gd name="connsiteX9" fmla="*/ 9815 w 10000"/>
              <a:gd name="connsiteY9" fmla="*/ 4553 h 10283"/>
              <a:gd name="connsiteX10" fmla="*/ 9630 w 10000"/>
              <a:gd name="connsiteY10" fmla="*/ 4660 h 10283"/>
              <a:gd name="connsiteX11" fmla="*/ 9383 w 10000"/>
              <a:gd name="connsiteY11" fmla="*/ 4731 h 10283"/>
              <a:gd name="connsiteX12" fmla="*/ 9136 w 10000"/>
              <a:gd name="connsiteY12" fmla="*/ 4731 h 10283"/>
              <a:gd name="connsiteX13" fmla="*/ 8827 w 10000"/>
              <a:gd name="connsiteY13" fmla="*/ 4731 h 10283"/>
              <a:gd name="connsiteX14" fmla="*/ 8642 w 10000"/>
              <a:gd name="connsiteY14" fmla="*/ 4660 h 10283"/>
              <a:gd name="connsiteX15" fmla="*/ 8457 w 10000"/>
              <a:gd name="connsiteY15" fmla="*/ 4553 h 10283"/>
              <a:gd name="connsiteX16" fmla="*/ 8333 w 10000"/>
              <a:gd name="connsiteY16" fmla="*/ 4411 h 10283"/>
              <a:gd name="connsiteX17" fmla="*/ 7531 w 10000"/>
              <a:gd name="connsiteY17" fmla="*/ 3023 h 10283"/>
              <a:gd name="connsiteX18" fmla="*/ 7531 w 10000"/>
              <a:gd name="connsiteY18" fmla="*/ 9607 h 10283"/>
              <a:gd name="connsiteX19" fmla="*/ 7469 w 10000"/>
              <a:gd name="connsiteY19" fmla="*/ 9785 h 10283"/>
              <a:gd name="connsiteX20" fmla="*/ 7407 w 10000"/>
              <a:gd name="connsiteY20" fmla="*/ 9927 h 10283"/>
              <a:gd name="connsiteX21" fmla="*/ 7160 w 10000"/>
              <a:gd name="connsiteY21" fmla="*/ 10105 h 10283"/>
              <a:gd name="connsiteX22" fmla="*/ 6914 w 10000"/>
              <a:gd name="connsiteY22" fmla="*/ 10212 h 10283"/>
              <a:gd name="connsiteX23" fmla="*/ 6728 w 10000"/>
              <a:gd name="connsiteY23" fmla="*/ 10283 h 10283"/>
              <a:gd name="connsiteX24" fmla="*/ 6420 w 10000"/>
              <a:gd name="connsiteY24" fmla="*/ 10283 h 10283"/>
              <a:gd name="connsiteX25" fmla="*/ 6111 w 10000"/>
              <a:gd name="connsiteY25" fmla="*/ 10283 h 10283"/>
              <a:gd name="connsiteX26" fmla="*/ 5864 w 10000"/>
              <a:gd name="connsiteY26" fmla="*/ 10212 h 10283"/>
              <a:gd name="connsiteX27" fmla="*/ 5617 w 10000"/>
              <a:gd name="connsiteY27" fmla="*/ 10105 h 10283"/>
              <a:gd name="connsiteX28" fmla="*/ 5494 w 10000"/>
              <a:gd name="connsiteY28" fmla="*/ 9927 h 10283"/>
              <a:gd name="connsiteX29" fmla="*/ 5309 w 10000"/>
              <a:gd name="connsiteY29" fmla="*/ 9785 h 10283"/>
              <a:gd name="connsiteX30" fmla="*/ 5309 w 10000"/>
              <a:gd name="connsiteY30" fmla="*/ 9607 h 10283"/>
              <a:gd name="connsiteX31" fmla="*/ 5309 w 10000"/>
              <a:gd name="connsiteY31" fmla="*/ 5870 h 10283"/>
              <a:gd name="connsiteX32" fmla="*/ 4568 w 10000"/>
              <a:gd name="connsiteY32" fmla="*/ 5870 h 10283"/>
              <a:gd name="connsiteX33" fmla="*/ 4568 w 10000"/>
              <a:gd name="connsiteY33" fmla="*/ 9607 h 10283"/>
              <a:gd name="connsiteX34" fmla="*/ 4568 w 10000"/>
              <a:gd name="connsiteY34" fmla="*/ 9785 h 10283"/>
              <a:gd name="connsiteX35" fmla="*/ 4444 w 10000"/>
              <a:gd name="connsiteY35" fmla="*/ 9963 h 10283"/>
              <a:gd name="connsiteX36" fmla="*/ 4259 w 10000"/>
              <a:gd name="connsiteY36" fmla="*/ 10105 h 10283"/>
              <a:gd name="connsiteX37" fmla="*/ 4012 w 10000"/>
              <a:gd name="connsiteY37" fmla="*/ 10212 h 10283"/>
              <a:gd name="connsiteX38" fmla="*/ 3827 w 10000"/>
              <a:gd name="connsiteY38" fmla="*/ 10283 h 10283"/>
              <a:gd name="connsiteX39" fmla="*/ 3519 w 10000"/>
              <a:gd name="connsiteY39" fmla="*/ 10283 h 10283"/>
              <a:gd name="connsiteX40" fmla="*/ 3210 w 10000"/>
              <a:gd name="connsiteY40" fmla="*/ 10283 h 10283"/>
              <a:gd name="connsiteX41" fmla="*/ 2963 w 10000"/>
              <a:gd name="connsiteY41" fmla="*/ 10212 h 10283"/>
              <a:gd name="connsiteX42" fmla="*/ 2716 w 10000"/>
              <a:gd name="connsiteY42" fmla="*/ 10105 h 10283"/>
              <a:gd name="connsiteX43" fmla="*/ 2593 w 10000"/>
              <a:gd name="connsiteY43" fmla="*/ 9963 h 10283"/>
              <a:gd name="connsiteX44" fmla="*/ 2407 w 10000"/>
              <a:gd name="connsiteY44" fmla="*/ 9785 h 10283"/>
              <a:gd name="connsiteX45" fmla="*/ 2407 w 10000"/>
              <a:gd name="connsiteY45" fmla="*/ 9607 h 10283"/>
              <a:gd name="connsiteX46" fmla="*/ 2407 w 10000"/>
              <a:gd name="connsiteY46" fmla="*/ 2952 h 10283"/>
              <a:gd name="connsiteX47" fmla="*/ 1605 w 10000"/>
              <a:gd name="connsiteY47" fmla="*/ 4376 h 10283"/>
              <a:gd name="connsiteX48" fmla="*/ 1481 w 10000"/>
              <a:gd name="connsiteY48" fmla="*/ 4518 h 10283"/>
              <a:gd name="connsiteX49" fmla="*/ 1296 w 10000"/>
              <a:gd name="connsiteY49" fmla="*/ 4589 h 10283"/>
              <a:gd name="connsiteX50" fmla="*/ 1049 w 10000"/>
              <a:gd name="connsiteY50" fmla="*/ 4696 h 10283"/>
              <a:gd name="connsiteX51" fmla="*/ 802 w 10000"/>
              <a:gd name="connsiteY51" fmla="*/ 4696 h 10283"/>
              <a:gd name="connsiteX52" fmla="*/ 494 w 10000"/>
              <a:gd name="connsiteY52" fmla="*/ 4696 h 10283"/>
              <a:gd name="connsiteX53" fmla="*/ 309 w 10000"/>
              <a:gd name="connsiteY53" fmla="*/ 4589 h 10283"/>
              <a:gd name="connsiteX54" fmla="*/ 123 w 10000"/>
              <a:gd name="connsiteY54" fmla="*/ 4518 h 10283"/>
              <a:gd name="connsiteX55" fmla="*/ 0 w 10000"/>
              <a:gd name="connsiteY55" fmla="*/ 4376 h 10283"/>
              <a:gd name="connsiteX56" fmla="*/ 0 w 10000"/>
              <a:gd name="connsiteY56" fmla="*/ 4198 h 10283"/>
              <a:gd name="connsiteX57" fmla="*/ 0 w 10000"/>
              <a:gd name="connsiteY57" fmla="*/ 4055 h 10283"/>
              <a:gd name="connsiteX58" fmla="*/ 1790 w 10000"/>
              <a:gd name="connsiteY58" fmla="*/ 852 h 10283"/>
              <a:gd name="connsiteX59" fmla="*/ 2037 w 10000"/>
              <a:gd name="connsiteY59" fmla="*/ 710 h 10283"/>
              <a:gd name="connsiteX60" fmla="*/ 2346 w 10000"/>
              <a:gd name="connsiteY60" fmla="*/ 603 h 10283"/>
              <a:gd name="connsiteX61" fmla="*/ 2716 w 10000"/>
              <a:gd name="connsiteY61" fmla="*/ 461 h 10283"/>
              <a:gd name="connsiteX62" fmla="*/ 3025 w 10000"/>
              <a:gd name="connsiteY62" fmla="*/ 354 h 10283"/>
              <a:gd name="connsiteX63" fmla="*/ 3210 w 10000"/>
              <a:gd name="connsiteY63" fmla="*/ 319 h 10283"/>
              <a:gd name="connsiteX64" fmla="*/ 3930 w 10000"/>
              <a:gd name="connsiteY64" fmla="*/ 293 h 10283"/>
              <a:gd name="connsiteX65" fmla="*/ 6065 w 10000"/>
              <a:gd name="connsiteY65" fmla="*/ 0 h 10283"/>
              <a:gd name="connsiteX66" fmla="*/ 6328 w 10000"/>
              <a:gd name="connsiteY66" fmla="*/ 250 h 1028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160 w 10000"/>
              <a:gd name="connsiteY2" fmla="*/ 211 h 10033"/>
              <a:gd name="connsiteX3" fmla="*/ 7531 w 10000"/>
              <a:gd name="connsiteY3" fmla="*/ 353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446 w 10000"/>
              <a:gd name="connsiteY2" fmla="*/ 244 h 10033"/>
              <a:gd name="connsiteX3" fmla="*/ 7531 w 10000"/>
              <a:gd name="connsiteY3" fmla="*/ 353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446 w 10000"/>
              <a:gd name="connsiteY2" fmla="*/ 244 h 10033"/>
              <a:gd name="connsiteX3" fmla="*/ 7588 w 10000"/>
              <a:gd name="connsiteY3" fmla="*/ 419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  <a:gd name="connsiteX0" fmla="*/ 6328 w 10000"/>
              <a:gd name="connsiteY0" fmla="*/ 0 h 10033"/>
              <a:gd name="connsiteX1" fmla="*/ 6852 w 10000"/>
              <a:gd name="connsiteY1" fmla="*/ 69 h 10033"/>
              <a:gd name="connsiteX2" fmla="*/ 7446 w 10000"/>
              <a:gd name="connsiteY2" fmla="*/ 244 h 10033"/>
              <a:gd name="connsiteX3" fmla="*/ 7759 w 10000"/>
              <a:gd name="connsiteY3" fmla="*/ 452 h 10033"/>
              <a:gd name="connsiteX4" fmla="*/ 7963 w 10000"/>
              <a:gd name="connsiteY4" fmla="*/ 531 h 10033"/>
              <a:gd name="connsiteX5" fmla="*/ 8086 w 10000"/>
              <a:gd name="connsiteY5" fmla="*/ 638 h 10033"/>
              <a:gd name="connsiteX6" fmla="*/ 9938 w 10000"/>
              <a:gd name="connsiteY6" fmla="*/ 3876 h 10033"/>
              <a:gd name="connsiteX7" fmla="*/ 10000 w 10000"/>
              <a:gd name="connsiteY7" fmla="*/ 3983 h 10033"/>
              <a:gd name="connsiteX8" fmla="*/ 9938 w 10000"/>
              <a:gd name="connsiteY8" fmla="*/ 4161 h 10033"/>
              <a:gd name="connsiteX9" fmla="*/ 9815 w 10000"/>
              <a:gd name="connsiteY9" fmla="*/ 4303 h 10033"/>
              <a:gd name="connsiteX10" fmla="*/ 9630 w 10000"/>
              <a:gd name="connsiteY10" fmla="*/ 4410 h 10033"/>
              <a:gd name="connsiteX11" fmla="*/ 9383 w 10000"/>
              <a:gd name="connsiteY11" fmla="*/ 4481 h 10033"/>
              <a:gd name="connsiteX12" fmla="*/ 9136 w 10000"/>
              <a:gd name="connsiteY12" fmla="*/ 4481 h 10033"/>
              <a:gd name="connsiteX13" fmla="*/ 8827 w 10000"/>
              <a:gd name="connsiteY13" fmla="*/ 4481 h 10033"/>
              <a:gd name="connsiteX14" fmla="*/ 8642 w 10000"/>
              <a:gd name="connsiteY14" fmla="*/ 4410 h 10033"/>
              <a:gd name="connsiteX15" fmla="*/ 8457 w 10000"/>
              <a:gd name="connsiteY15" fmla="*/ 4303 h 10033"/>
              <a:gd name="connsiteX16" fmla="*/ 8333 w 10000"/>
              <a:gd name="connsiteY16" fmla="*/ 4161 h 10033"/>
              <a:gd name="connsiteX17" fmla="*/ 7531 w 10000"/>
              <a:gd name="connsiteY17" fmla="*/ 2773 h 10033"/>
              <a:gd name="connsiteX18" fmla="*/ 7531 w 10000"/>
              <a:gd name="connsiteY18" fmla="*/ 9357 h 10033"/>
              <a:gd name="connsiteX19" fmla="*/ 7469 w 10000"/>
              <a:gd name="connsiteY19" fmla="*/ 9535 h 10033"/>
              <a:gd name="connsiteX20" fmla="*/ 7407 w 10000"/>
              <a:gd name="connsiteY20" fmla="*/ 9677 h 10033"/>
              <a:gd name="connsiteX21" fmla="*/ 7160 w 10000"/>
              <a:gd name="connsiteY21" fmla="*/ 9855 h 10033"/>
              <a:gd name="connsiteX22" fmla="*/ 6914 w 10000"/>
              <a:gd name="connsiteY22" fmla="*/ 9962 h 10033"/>
              <a:gd name="connsiteX23" fmla="*/ 6728 w 10000"/>
              <a:gd name="connsiteY23" fmla="*/ 10033 h 10033"/>
              <a:gd name="connsiteX24" fmla="*/ 6420 w 10000"/>
              <a:gd name="connsiteY24" fmla="*/ 10033 h 10033"/>
              <a:gd name="connsiteX25" fmla="*/ 6111 w 10000"/>
              <a:gd name="connsiteY25" fmla="*/ 10033 h 10033"/>
              <a:gd name="connsiteX26" fmla="*/ 5864 w 10000"/>
              <a:gd name="connsiteY26" fmla="*/ 9962 h 10033"/>
              <a:gd name="connsiteX27" fmla="*/ 5617 w 10000"/>
              <a:gd name="connsiteY27" fmla="*/ 9855 h 10033"/>
              <a:gd name="connsiteX28" fmla="*/ 5494 w 10000"/>
              <a:gd name="connsiteY28" fmla="*/ 9677 h 10033"/>
              <a:gd name="connsiteX29" fmla="*/ 5309 w 10000"/>
              <a:gd name="connsiteY29" fmla="*/ 9535 h 10033"/>
              <a:gd name="connsiteX30" fmla="*/ 5309 w 10000"/>
              <a:gd name="connsiteY30" fmla="*/ 9357 h 10033"/>
              <a:gd name="connsiteX31" fmla="*/ 5309 w 10000"/>
              <a:gd name="connsiteY31" fmla="*/ 5620 h 10033"/>
              <a:gd name="connsiteX32" fmla="*/ 4568 w 10000"/>
              <a:gd name="connsiteY32" fmla="*/ 5620 h 10033"/>
              <a:gd name="connsiteX33" fmla="*/ 4568 w 10000"/>
              <a:gd name="connsiteY33" fmla="*/ 9357 h 10033"/>
              <a:gd name="connsiteX34" fmla="*/ 4568 w 10000"/>
              <a:gd name="connsiteY34" fmla="*/ 9535 h 10033"/>
              <a:gd name="connsiteX35" fmla="*/ 4444 w 10000"/>
              <a:gd name="connsiteY35" fmla="*/ 9713 h 10033"/>
              <a:gd name="connsiteX36" fmla="*/ 4259 w 10000"/>
              <a:gd name="connsiteY36" fmla="*/ 9855 h 10033"/>
              <a:gd name="connsiteX37" fmla="*/ 4012 w 10000"/>
              <a:gd name="connsiteY37" fmla="*/ 9962 h 10033"/>
              <a:gd name="connsiteX38" fmla="*/ 3827 w 10000"/>
              <a:gd name="connsiteY38" fmla="*/ 10033 h 10033"/>
              <a:gd name="connsiteX39" fmla="*/ 3519 w 10000"/>
              <a:gd name="connsiteY39" fmla="*/ 10033 h 10033"/>
              <a:gd name="connsiteX40" fmla="*/ 3210 w 10000"/>
              <a:gd name="connsiteY40" fmla="*/ 10033 h 10033"/>
              <a:gd name="connsiteX41" fmla="*/ 2963 w 10000"/>
              <a:gd name="connsiteY41" fmla="*/ 9962 h 10033"/>
              <a:gd name="connsiteX42" fmla="*/ 2716 w 10000"/>
              <a:gd name="connsiteY42" fmla="*/ 9855 h 10033"/>
              <a:gd name="connsiteX43" fmla="*/ 2593 w 10000"/>
              <a:gd name="connsiteY43" fmla="*/ 9713 h 10033"/>
              <a:gd name="connsiteX44" fmla="*/ 2407 w 10000"/>
              <a:gd name="connsiteY44" fmla="*/ 9535 h 10033"/>
              <a:gd name="connsiteX45" fmla="*/ 2407 w 10000"/>
              <a:gd name="connsiteY45" fmla="*/ 9357 h 10033"/>
              <a:gd name="connsiteX46" fmla="*/ 2407 w 10000"/>
              <a:gd name="connsiteY46" fmla="*/ 2702 h 10033"/>
              <a:gd name="connsiteX47" fmla="*/ 1605 w 10000"/>
              <a:gd name="connsiteY47" fmla="*/ 4126 h 10033"/>
              <a:gd name="connsiteX48" fmla="*/ 1481 w 10000"/>
              <a:gd name="connsiteY48" fmla="*/ 4268 h 10033"/>
              <a:gd name="connsiteX49" fmla="*/ 1296 w 10000"/>
              <a:gd name="connsiteY49" fmla="*/ 4339 h 10033"/>
              <a:gd name="connsiteX50" fmla="*/ 1049 w 10000"/>
              <a:gd name="connsiteY50" fmla="*/ 4446 h 10033"/>
              <a:gd name="connsiteX51" fmla="*/ 802 w 10000"/>
              <a:gd name="connsiteY51" fmla="*/ 4446 h 10033"/>
              <a:gd name="connsiteX52" fmla="*/ 494 w 10000"/>
              <a:gd name="connsiteY52" fmla="*/ 4446 h 10033"/>
              <a:gd name="connsiteX53" fmla="*/ 309 w 10000"/>
              <a:gd name="connsiteY53" fmla="*/ 4339 h 10033"/>
              <a:gd name="connsiteX54" fmla="*/ 123 w 10000"/>
              <a:gd name="connsiteY54" fmla="*/ 4268 h 10033"/>
              <a:gd name="connsiteX55" fmla="*/ 0 w 10000"/>
              <a:gd name="connsiteY55" fmla="*/ 4126 h 10033"/>
              <a:gd name="connsiteX56" fmla="*/ 0 w 10000"/>
              <a:gd name="connsiteY56" fmla="*/ 3948 h 10033"/>
              <a:gd name="connsiteX57" fmla="*/ 0 w 10000"/>
              <a:gd name="connsiteY57" fmla="*/ 3805 h 10033"/>
              <a:gd name="connsiteX58" fmla="*/ 1790 w 10000"/>
              <a:gd name="connsiteY58" fmla="*/ 602 h 10033"/>
              <a:gd name="connsiteX59" fmla="*/ 2037 w 10000"/>
              <a:gd name="connsiteY59" fmla="*/ 460 h 10033"/>
              <a:gd name="connsiteX60" fmla="*/ 2346 w 10000"/>
              <a:gd name="connsiteY60" fmla="*/ 353 h 10033"/>
              <a:gd name="connsiteX61" fmla="*/ 2716 w 10000"/>
              <a:gd name="connsiteY61" fmla="*/ 211 h 10033"/>
              <a:gd name="connsiteX62" fmla="*/ 3025 w 10000"/>
              <a:gd name="connsiteY62" fmla="*/ 104 h 10033"/>
              <a:gd name="connsiteX63" fmla="*/ 3210 w 10000"/>
              <a:gd name="connsiteY63" fmla="*/ 69 h 10033"/>
              <a:gd name="connsiteX64" fmla="*/ 3930 w 10000"/>
              <a:gd name="connsiteY64" fmla="*/ 43 h 10033"/>
              <a:gd name="connsiteX65" fmla="*/ 5379 w 10000"/>
              <a:gd name="connsiteY65" fmla="*/ 13 h 10033"/>
              <a:gd name="connsiteX66" fmla="*/ 6328 w 10000"/>
              <a:gd name="connsiteY66" fmla="*/ 0 h 10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10000" h="10033">
                <a:moveTo>
                  <a:pt x="6328" y="0"/>
                </a:moveTo>
                <a:lnTo>
                  <a:pt x="6852" y="69"/>
                </a:lnTo>
                <a:lnTo>
                  <a:pt x="7446" y="244"/>
                </a:lnTo>
                <a:lnTo>
                  <a:pt x="7759" y="452"/>
                </a:lnTo>
                <a:lnTo>
                  <a:pt x="7963" y="531"/>
                </a:lnTo>
                <a:lnTo>
                  <a:pt x="8086" y="638"/>
                </a:lnTo>
                <a:lnTo>
                  <a:pt x="9938" y="3876"/>
                </a:lnTo>
                <a:cubicBezTo>
                  <a:pt x="9959" y="3912"/>
                  <a:pt x="9979" y="3947"/>
                  <a:pt x="10000" y="3983"/>
                </a:cubicBezTo>
                <a:cubicBezTo>
                  <a:pt x="9979" y="4042"/>
                  <a:pt x="9959" y="4102"/>
                  <a:pt x="9938" y="4161"/>
                </a:cubicBezTo>
                <a:lnTo>
                  <a:pt x="9815" y="4303"/>
                </a:lnTo>
                <a:lnTo>
                  <a:pt x="9630" y="4410"/>
                </a:lnTo>
                <a:lnTo>
                  <a:pt x="9383" y="4481"/>
                </a:lnTo>
                <a:lnTo>
                  <a:pt x="9136" y="4481"/>
                </a:lnTo>
                <a:lnTo>
                  <a:pt x="8827" y="4481"/>
                </a:lnTo>
                <a:lnTo>
                  <a:pt x="8642" y="4410"/>
                </a:lnTo>
                <a:lnTo>
                  <a:pt x="8457" y="4303"/>
                </a:lnTo>
                <a:lnTo>
                  <a:pt x="8333" y="4161"/>
                </a:lnTo>
                <a:lnTo>
                  <a:pt x="7531" y="2773"/>
                </a:lnTo>
                <a:lnTo>
                  <a:pt x="7531" y="9357"/>
                </a:lnTo>
                <a:cubicBezTo>
                  <a:pt x="7510" y="9416"/>
                  <a:pt x="7490" y="9476"/>
                  <a:pt x="7469" y="9535"/>
                </a:cubicBezTo>
                <a:cubicBezTo>
                  <a:pt x="7448" y="9582"/>
                  <a:pt x="7428" y="9630"/>
                  <a:pt x="7407" y="9677"/>
                </a:cubicBezTo>
                <a:lnTo>
                  <a:pt x="7160" y="9855"/>
                </a:lnTo>
                <a:lnTo>
                  <a:pt x="6914" y="9962"/>
                </a:lnTo>
                <a:lnTo>
                  <a:pt x="6728" y="10033"/>
                </a:lnTo>
                <a:lnTo>
                  <a:pt x="6420" y="10033"/>
                </a:lnTo>
                <a:lnTo>
                  <a:pt x="6111" y="10033"/>
                </a:lnTo>
                <a:lnTo>
                  <a:pt x="5864" y="9962"/>
                </a:lnTo>
                <a:lnTo>
                  <a:pt x="5617" y="9855"/>
                </a:lnTo>
                <a:lnTo>
                  <a:pt x="5494" y="9677"/>
                </a:lnTo>
                <a:lnTo>
                  <a:pt x="5309" y="9535"/>
                </a:lnTo>
                <a:lnTo>
                  <a:pt x="5309" y="9357"/>
                </a:lnTo>
                <a:lnTo>
                  <a:pt x="5309" y="5620"/>
                </a:lnTo>
                <a:lnTo>
                  <a:pt x="4568" y="5620"/>
                </a:lnTo>
                <a:lnTo>
                  <a:pt x="4568" y="9357"/>
                </a:lnTo>
                <a:lnTo>
                  <a:pt x="4568" y="9535"/>
                </a:lnTo>
                <a:lnTo>
                  <a:pt x="4444" y="9713"/>
                </a:lnTo>
                <a:lnTo>
                  <a:pt x="4259" y="9855"/>
                </a:lnTo>
                <a:lnTo>
                  <a:pt x="4012" y="9962"/>
                </a:lnTo>
                <a:lnTo>
                  <a:pt x="3827" y="10033"/>
                </a:lnTo>
                <a:lnTo>
                  <a:pt x="3519" y="10033"/>
                </a:lnTo>
                <a:lnTo>
                  <a:pt x="3210" y="10033"/>
                </a:lnTo>
                <a:lnTo>
                  <a:pt x="2963" y="9962"/>
                </a:lnTo>
                <a:lnTo>
                  <a:pt x="2716" y="9855"/>
                </a:lnTo>
                <a:lnTo>
                  <a:pt x="2593" y="9713"/>
                </a:lnTo>
                <a:lnTo>
                  <a:pt x="2407" y="9535"/>
                </a:lnTo>
                <a:lnTo>
                  <a:pt x="2407" y="9357"/>
                </a:lnTo>
                <a:lnTo>
                  <a:pt x="2407" y="2702"/>
                </a:lnTo>
                <a:lnTo>
                  <a:pt x="1605" y="4126"/>
                </a:lnTo>
                <a:lnTo>
                  <a:pt x="1481" y="4268"/>
                </a:lnTo>
                <a:lnTo>
                  <a:pt x="1296" y="4339"/>
                </a:lnTo>
                <a:lnTo>
                  <a:pt x="1049" y="4446"/>
                </a:lnTo>
                <a:lnTo>
                  <a:pt x="802" y="4446"/>
                </a:lnTo>
                <a:lnTo>
                  <a:pt x="494" y="4446"/>
                </a:lnTo>
                <a:lnTo>
                  <a:pt x="309" y="4339"/>
                </a:lnTo>
                <a:lnTo>
                  <a:pt x="123" y="4268"/>
                </a:lnTo>
                <a:lnTo>
                  <a:pt x="0" y="4126"/>
                </a:lnTo>
                <a:lnTo>
                  <a:pt x="0" y="3948"/>
                </a:lnTo>
                <a:lnTo>
                  <a:pt x="0" y="3805"/>
                </a:lnTo>
                <a:lnTo>
                  <a:pt x="1790" y="602"/>
                </a:lnTo>
                <a:lnTo>
                  <a:pt x="2037" y="460"/>
                </a:lnTo>
                <a:lnTo>
                  <a:pt x="2346" y="353"/>
                </a:lnTo>
                <a:lnTo>
                  <a:pt x="2716" y="211"/>
                </a:lnTo>
                <a:lnTo>
                  <a:pt x="3025" y="104"/>
                </a:lnTo>
                <a:lnTo>
                  <a:pt x="3210" y="69"/>
                </a:lnTo>
                <a:lnTo>
                  <a:pt x="3930" y="43"/>
                </a:lnTo>
                <a:lnTo>
                  <a:pt x="5379" y="13"/>
                </a:lnTo>
                <a:lnTo>
                  <a:pt x="6328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1600">
              <a:solidFill>
                <a:srgbClr val="646464"/>
              </a:solidFill>
            </a:endParaRPr>
          </a:p>
        </p:txBody>
      </p:sp>
      <p:sp>
        <p:nvSpPr>
          <p:cNvPr id="20" name="Freeform 1644"/>
          <p:cNvSpPr>
            <a:spLocks/>
          </p:cNvSpPr>
          <p:nvPr/>
        </p:nvSpPr>
        <p:spPr bwMode="auto">
          <a:xfrm>
            <a:off x="9607750" y="3126479"/>
            <a:ext cx="144870" cy="15099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ctr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ctr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ctr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ctr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ctr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de-DE" dirty="0">
              <a:solidFill>
                <a:srgbClr val="64646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134399" y="3126479"/>
            <a:ext cx="1461708" cy="38856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indent="-21600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►"/>
            </a:pPr>
            <a:r>
              <a:rPr lang="ru-RU" sz="1050" dirty="0" smtClean="0">
                <a:solidFill>
                  <a:schemeClr val="bg1"/>
                </a:solidFill>
              </a:rPr>
              <a:t>+7 916 387 32 22</a:t>
            </a:r>
          </a:p>
          <a:p>
            <a:pPr indent="-21600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►"/>
            </a:pPr>
            <a:r>
              <a:rPr lang="ru-RU" sz="1050" dirty="0" smtClean="0">
                <a:solidFill>
                  <a:schemeClr val="bg1"/>
                </a:solidFill>
              </a:rPr>
              <a:t>+7 904 825 76 53</a:t>
            </a:r>
          </a:p>
        </p:txBody>
      </p:sp>
      <p:sp>
        <p:nvSpPr>
          <p:cNvPr id="23" name="Freeform 1644"/>
          <p:cNvSpPr>
            <a:spLocks/>
          </p:cNvSpPr>
          <p:nvPr/>
        </p:nvSpPr>
        <p:spPr bwMode="auto">
          <a:xfrm>
            <a:off x="9607750" y="4406068"/>
            <a:ext cx="144870" cy="150993"/>
          </a:xfrm>
          <a:prstGeom prst="ellipse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ctr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ctr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ctr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ctr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ctr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de-DE" dirty="0">
              <a:solidFill>
                <a:srgbClr val="646464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134398" y="4406068"/>
            <a:ext cx="1461708" cy="38856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indent="-21600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►"/>
            </a:pPr>
            <a:r>
              <a:rPr lang="ru-RU" sz="1050" dirty="0" smtClean="0">
                <a:solidFill>
                  <a:schemeClr val="bg1"/>
                </a:solidFill>
              </a:rPr>
              <a:t>+7 908 453 91 12</a:t>
            </a:r>
          </a:p>
          <a:p>
            <a:pPr indent="-21600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►"/>
            </a:pPr>
            <a:r>
              <a:rPr lang="ru-RU" sz="1050" dirty="0" smtClean="0">
                <a:solidFill>
                  <a:schemeClr val="bg1"/>
                </a:solidFill>
              </a:rPr>
              <a:t>+7 907 372 43 59</a:t>
            </a:r>
          </a:p>
        </p:txBody>
      </p:sp>
      <p:sp>
        <p:nvSpPr>
          <p:cNvPr id="39" name="Isosceles Triangle 38"/>
          <p:cNvSpPr/>
          <p:nvPr/>
        </p:nvSpPr>
        <p:spPr>
          <a:xfrm rot="5400000">
            <a:off x="1877732" y="3338354"/>
            <a:ext cx="2066925" cy="476250"/>
          </a:xfrm>
          <a:prstGeom prst="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1187131" y="1381393"/>
            <a:ext cx="758236" cy="1332144"/>
            <a:chOff x="893225" y="1472588"/>
            <a:chExt cx="758236" cy="1332144"/>
          </a:xfrm>
        </p:grpSpPr>
        <p:grpSp>
          <p:nvGrpSpPr>
            <p:cNvPr id="110" name="Group 109"/>
            <p:cNvGrpSpPr/>
            <p:nvPr/>
          </p:nvGrpSpPr>
          <p:grpSpPr>
            <a:xfrm>
              <a:off x="1012797" y="1813852"/>
              <a:ext cx="529462" cy="990880"/>
              <a:chOff x="1012797" y="1813852"/>
              <a:chExt cx="529462" cy="990880"/>
            </a:xfrm>
          </p:grpSpPr>
          <p:cxnSp>
            <p:nvCxnSpPr>
              <p:cNvPr id="41" name="Straight Connector 40"/>
              <p:cNvCxnSpPr/>
              <p:nvPr/>
            </p:nvCxnSpPr>
            <p:spPr>
              <a:xfrm flipV="1">
                <a:off x="1012797" y="1933195"/>
                <a:ext cx="262985" cy="87153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/>
            </p:nvCxnSpPr>
            <p:spPr>
              <a:xfrm flipH="1" flipV="1">
                <a:off x="1275783" y="1933194"/>
                <a:ext cx="266472" cy="871533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/>
            </p:nvCxnSpPr>
            <p:spPr>
              <a:xfrm flipH="1">
                <a:off x="1012797" y="2500629"/>
                <a:ext cx="435003" cy="304098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/>
            </p:nvCxnSpPr>
            <p:spPr>
              <a:xfrm flipH="1" flipV="1">
                <a:off x="1117685" y="2507540"/>
                <a:ext cx="424574" cy="29719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>
                <a:off x="1186202" y="2252663"/>
                <a:ext cx="244729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 flipH="1">
                <a:off x="1119219" y="2252663"/>
                <a:ext cx="244698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/>
            </p:nvCxnSpPr>
            <p:spPr>
              <a:xfrm flipH="1">
                <a:off x="1211419" y="2085461"/>
                <a:ext cx="97148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1241568" y="2085461"/>
                <a:ext cx="102949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Oval 77"/>
              <p:cNvSpPr>
                <a:spLocks noChangeAspect="1"/>
              </p:cNvSpPr>
              <p:nvPr/>
            </p:nvSpPr>
            <p:spPr>
              <a:xfrm>
                <a:off x="1204054" y="1813852"/>
                <a:ext cx="144000" cy="144000"/>
              </a:xfrm>
              <a:prstGeom prst="ellipse">
                <a:avLst/>
              </a:prstGeom>
              <a:solidFill>
                <a:srgbClr val="646464"/>
              </a:solidFill>
              <a:ln w="9525"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1" name="Group 110"/>
            <p:cNvGrpSpPr/>
            <p:nvPr/>
          </p:nvGrpSpPr>
          <p:grpSpPr>
            <a:xfrm>
              <a:off x="893226" y="1472589"/>
              <a:ext cx="758235" cy="840963"/>
              <a:chOff x="738566" y="1243910"/>
              <a:chExt cx="758235" cy="840963"/>
            </a:xfrm>
          </p:grpSpPr>
          <p:sp>
            <p:nvSpPr>
              <p:cNvPr id="97" name="Arc 96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0" name="Arc 99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1" name="Arc 100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16" name="Group 115"/>
            <p:cNvGrpSpPr/>
            <p:nvPr/>
          </p:nvGrpSpPr>
          <p:grpSpPr>
            <a:xfrm flipH="1">
              <a:off x="893225" y="1472588"/>
              <a:ext cx="758235" cy="840963"/>
              <a:chOff x="738566" y="1243910"/>
              <a:chExt cx="758235" cy="840963"/>
            </a:xfrm>
          </p:grpSpPr>
          <p:sp>
            <p:nvSpPr>
              <p:cNvPr id="117" name="Arc 116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8" name="Arc 117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9" name="Arc 118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grpSp>
        <p:nvGrpSpPr>
          <p:cNvPr id="140" name="Group 139"/>
          <p:cNvGrpSpPr/>
          <p:nvPr/>
        </p:nvGrpSpPr>
        <p:grpSpPr>
          <a:xfrm>
            <a:off x="1187131" y="4163176"/>
            <a:ext cx="758236" cy="1332144"/>
            <a:chOff x="893225" y="1472588"/>
            <a:chExt cx="758236" cy="1332144"/>
          </a:xfrm>
        </p:grpSpPr>
        <p:grpSp>
          <p:nvGrpSpPr>
            <p:cNvPr id="141" name="Group 140"/>
            <p:cNvGrpSpPr/>
            <p:nvPr/>
          </p:nvGrpSpPr>
          <p:grpSpPr>
            <a:xfrm>
              <a:off x="1012797" y="1813852"/>
              <a:ext cx="529462" cy="990880"/>
              <a:chOff x="1012797" y="1813852"/>
              <a:chExt cx="529462" cy="990880"/>
            </a:xfrm>
          </p:grpSpPr>
          <p:cxnSp>
            <p:nvCxnSpPr>
              <p:cNvPr id="150" name="Straight Connector 149"/>
              <p:cNvCxnSpPr/>
              <p:nvPr/>
            </p:nvCxnSpPr>
            <p:spPr>
              <a:xfrm flipV="1">
                <a:off x="1012797" y="1933195"/>
                <a:ext cx="262985" cy="87153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/>
            </p:nvCxnSpPr>
            <p:spPr>
              <a:xfrm flipH="1" flipV="1">
                <a:off x="1275783" y="1933194"/>
                <a:ext cx="266472" cy="871533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/>
            </p:nvCxnSpPr>
            <p:spPr>
              <a:xfrm flipH="1">
                <a:off x="1012797" y="2500629"/>
                <a:ext cx="435003" cy="304098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/>
            </p:nvCxnSpPr>
            <p:spPr>
              <a:xfrm flipH="1" flipV="1">
                <a:off x="1117685" y="2507540"/>
                <a:ext cx="424574" cy="29719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/>
            </p:nvCxnSpPr>
            <p:spPr>
              <a:xfrm>
                <a:off x="1186202" y="2252663"/>
                <a:ext cx="244729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/>
            </p:nvCxnSpPr>
            <p:spPr>
              <a:xfrm flipH="1">
                <a:off x="1119219" y="2252663"/>
                <a:ext cx="244698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 flipH="1">
                <a:off x="1211419" y="2085461"/>
                <a:ext cx="97148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/>
            </p:nvCxnSpPr>
            <p:spPr>
              <a:xfrm>
                <a:off x="1241568" y="2085461"/>
                <a:ext cx="102949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8" name="Oval 157"/>
              <p:cNvSpPr>
                <a:spLocks noChangeAspect="1"/>
              </p:cNvSpPr>
              <p:nvPr/>
            </p:nvSpPr>
            <p:spPr>
              <a:xfrm>
                <a:off x="1204054" y="1813852"/>
                <a:ext cx="144000" cy="144000"/>
              </a:xfrm>
              <a:prstGeom prst="ellipse">
                <a:avLst/>
              </a:prstGeom>
              <a:solidFill>
                <a:srgbClr val="646464"/>
              </a:solidFill>
              <a:ln w="9525"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2" name="Group 141"/>
            <p:cNvGrpSpPr/>
            <p:nvPr/>
          </p:nvGrpSpPr>
          <p:grpSpPr>
            <a:xfrm>
              <a:off x="893226" y="1472589"/>
              <a:ext cx="758235" cy="840963"/>
              <a:chOff x="738566" y="1243910"/>
              <a:chExt cx="758235" cy="840963"/>
            </a:xfrm>
          </p:grpSpPr>
          <p:sp>
            <p:nvSpPr>
              <p:cNvPr id="147" name="Arc 146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8" name="Arc 147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9" name="Arc 148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43" name="Group 142"/>
            <p:cNvGrpSpPr/>
            <p:nvPr/>
          </p:nvGrpSpPr>
          <p:grpSpPr>
            <a:xfrm flipH="1">
              <a:off x="893225" y="1472588"/>
              <a:ext cx="758235" cy="840963"/>
              <a:chOff x="738566" y="1243910"/>
              <a:chExt cx="758235" cy="840963"/>
            </a:xfrm>
          </p:grpSpPr>
          <p:sp>
            <p:nvSpPr>
              <p:cNvPr id="144" name="Arc 143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5" name="Arc 144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6" name="Arc 145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grpSp>
        <p:nvGrpSpPr>
          <p:cNvPr id="121" name="Group 120"/>
          <p:cNvGrpSpPr/>
          <p:nvPr/>
        </p:nvGrpSpPr>
        <p:grpSpPr>
          <a:xfrm>
            <a:off x="672006" y="2772284"/>
            <a:ext cx="758236" cy="1332144"/>
            <a:chOff x="893225" y="1472588"/>
            <a:chExt cx="758236" cy="1332144"/>
          </a:xfrm>
        </p:grpSpPr>
        <p:grpSp>
          <p:nvGrpSpPr>
            <p:cNvPr id="122" name="Group 121"/>
            <p:cNvGrpSpPr/>
            <p:nvPr/>
          </p:nvGrpSpPr>
          <p:grpSpPr>
            <a:xfrm>
              <a:off x="1012797" y="1813852"/>
              <a:ext cx="529462" cy="990880"/>
              <a:chOff x="1012797" y="1813852"/>
              <a:chExt cx="529462" cy="990880"/>
            </a:xfrm>
          </p:grpSpPr>
          <p:cxnSp>
            <p:nvCxnSpPr>
              <p:cNvPr id="131" name="Straight Connector 130"/>
              <p:cNvCxnSpPr/>
              <p:nvPr/>
            </p:nvCxnSpPr>
            <p:spPr>
              <a:xfrm flipV="1">
                <a:off x="1012797" y="1933195"/>
                <a:ext cx="262985" cy="87153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 flipH="1" flipV="1">
                <a:off x="1275783" y="1933194"/>
                <a:ext cx="266472" cy="871533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 flipH="1">
                <a:off x="1012797" y="2500629"/>
                <a:ext cx="435003" cy="304098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 flipH="1" flipV="1">
                <a:off x="1117685" y="2507540"/>
                <a:ext cx="424574" cy="29719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186202" y="2252663"/>
                <a:ext cx="244729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 flipH="1">
                <a:off x="1119219" y="2252663"/>
                <a:ext cx="244698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 flipH="1">
                <a:off x="1211419" y="2085461"/>
                <a:ext cx="97148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1241568" y="2085461"/>
                <a:ext cx="102949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9" name="Oval 138"/>
              <p:cNvSpPr>
                <a:spLocks noChangeAspect="1"/>
              </p:cNvSpPr>
              <p:nvPr/>
            </p:nvSpPr>
            <p:spPr>
              <a:xfrm>
                <a:off x="1204054" y="1813852"/>
                <a:ext cx="144000" cy="144000"/>
              </a:xfrm>
              <a:prstGeom prst="ellipse">
                <a:avLst/>
              </a:prstGeom>
              <a:solidFill>
                <a:srgbClr val="64646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3" name="Group 122"/>
            <p:cNvGrpSpPr/>
            <p:nvPr/>
          </p:nvGrpSpPr>
          <p:grpSpPr>
            <a:xfrm>
              <a:off x="893226" y="1472589"/>
              <a:ext cx="758235" cy="840963"/>
              <a:chOff x="738566" y="1243910"/>
              <a:chExt cx="758235" cy="840963"/>
            </a:xfrm>
          </p:grpSpPr>
          <p:sp>
            <p:nvSpPr>
              <p:cNvPr id="128" name="Arc 127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9" name="Arc 128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30" name="Arc 129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24" name="Group 123"/>
            <p:cNvGrpSpPr/>
            <p:nvPr/>
          </p:nvGrpSpPr>
          <p:grpSpPr>
            <a:xfrm flipH="1">
              <a:off x="893225" y="1472588"/>
              <a:ext cx="758235" cy="840963"/>
              <a:chOff x="738566" y="1243910"/>
              <a:chExt cx="758235" cy="840963"/>
            </a:xfrm>
          </p:grpSpPr>
          <p:sp>
            <p:nvSpPr>
              <p:cNvPr id="125" name="Arc 124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6" name="Arc 125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7" name="Arc 126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grpSp>
        <p:nvGrpSpPr>
          <p:cNvPr id="159" name="Group 158"/>
          <p:cNvGrpSpPr/>
          <p:nvPr/>
        </p:nvGrpSpPr>
        <p:grpSpPr>
          <a:xfrm>
            <a:off x="1643042" y="2772284"/>
            <a:ext cx="758236" cy="1332144"/>
            <a:chOff x="893225" y="1472588"/>
            <a:chExt cx="758236" cy="1332144"/>
          </a:xfrm>
        </p:grpSpPr>
        <p:grpSp>
          <p:nvGrpSpPr>
            <p:cNvPr id="160" name="Group 159"/>
            <p:cNvGrpSpPr/>
            <p:nvPr/>
          </p:nvGrpSpPr>
          <p:grpSpPr>
            <a:xfrm>
              <a:off x="1012797" y="1813852"/>
              <a:ext cx="529462" cy="990880"/>
              <a:chOff x="1012797" y="1813852"/>
              <a:chExt cx="529462" cy="990880"/>
            </a:xfrm>
          </p:grpSpPr>
          <p:cxnSp>
            <p:nvCxnSpPr>
              <p:cNvPr id="169" name="Straight Connector 168"/>
              <p:cNvCxnSpPr/>
              <p:nvPr/>
            </p:nvCxnSpPr>
            <p:spPr>
              <a:xfrm flipV="1">
                <a:off x="1012797" y="1933195"/>
                <a:ext cx="262985" cy="87153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 flipH="1" flipV="1">
                <a:off x="1275783" y="1933194"/>
                <a:ext cx="266472" cy="871533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 flipH="1">
                <a:off x="1012797" y="2500629"/>
                <a:ext cx="435003" cy="304098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 flipH="1" flipV="1">
                <a:off x="1117685" y="2507540"/>
                <a:ext cx="424574" cy="29719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186202" y="2252663"/>
                <a:ext cx="244729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1119219" y="2252663"/>
                <a:ext cx="244698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 flipH="1">
                <a:off x="1211419" y="2085461"/>
                <a:ext cx="97148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41568" y="2085461"/>
                <a:ext cx="102949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7" name="Oval 176"/>
              <p:cNvSpPr>
                <a:spLocks noChangeAspect="1"/>
              </p:cNvSpPr>
              <p:nvPr/>
            </p:nvSpPr>
            <p:spPr>
              <a:xfrm>
                <a:off x="1204054" y="1813852"/>
                <a:ext cx="144000" cy="144000"/>
              </a:xfrm>
              <a:prstGeom prst="ellipse">
                <a:avLst/>
              </a:prstGeom>
              <a:solidFill>
                <a:srgbClr val="646464"/>
              </a:solidFill>
              <a:ln w="9525"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1" name="Group 160"/>
            <p:cNvGrpSpPr/>
            <p:nvPr/>
          </p:nvGrpSpPr>
          <p:grpSpPr>
            <a:xfrm>
              <a:off x="893226" y="1472589"/>
              <a:ext cx="758235" cy="840963"/>
              <a:chOff x="738566" y="1243910"/>
              <a:chExt cx="758235" cy="840963"/>
            </a:xfrm>
          </p:grpSpPr>
          <p:sp>
            <p:nvSpPr>
              <p:cNvPr id="166" name="Arc 165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67" name="Arc 166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68" name="Arc 167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62" name="Group 161"/>
            <p:cNvGrpSpPr/>
            <p:nvPr/>
          </p:nvGrpSpPr>
          <p:grpSpPr>
            <a:xfrm flipH="1">
              <a:off x="893225" y="1472588"/>
              <a:ext cx="758235" cy="840963"/>
              <a:chOff x="738566" y="1243910"/>
              <a:chExt cx="758235" cy="840963"/>
            </a:xfrm>
          </p:grpSpPr>
          <p:sp>
            <p:nvSpPr>
              <p:cNvPr id="163" name="Arc 162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64" name="Arc 163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65" name="Arc 164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Object 9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3207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bgerundetes Rechteck 24"/>
          <p:cNvSpPr/>
          <p:nvPr/>
        </p:nvSpPr>
        <p:spPr bwMode="gray">
          <a:xfrm>
            <a:off x="1240251" y="1316838"/>
            <a:ext cx="4858924" cy="1132150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68000" tIns="72000" rIns="108000" bIns="72000" anchor="ctr"/>
          <a:lstStyle/>
          <a:p>
            <a:pPr defTabSz="801688" eaLnBrk="0" hangingPunct="0">
              <a:lnSpc>
                <a:spcPct val="95000"/>
              </a:lnSpc>
              <a:spcAft>
                <a:spcPts val="400"/>
              </a:spcAft>
              <a:buClr>
                <a:srgbClr val="969696"/>
              </a:buClr>
              <a:defRPr/>
            </a:pPr>
            <a:r>
              <a:rPr lang="ru-RU" sz="1600" b="1" dirty="0" smtClean="0">
                <a:solidFill>
                  <a:srgbClr val="646464"/>
                </a:solidFill>
                <a:cs typeface="Arial" charset="0"/>
              </a:rPr>
              <a:t>Поиск схожих событий для пар сим-карт</a:t>
            </a:r>
          </a:p>
          <a:p>
            <a:pPr defTabSz="801688" eaLnBrk="0" hangingPunct="0">
              <a:lnSpc>
                <a:spcPct val="95000"/>
              </a:lnSpc>
              <a:spcAft>
                <a:spcPts val="300"/>
              </a:spcAft>
              <a:buClr>
                <a:srgbClr val="969696"/>
              </a:buClr>
              <a:defRPr/>
            </a:pP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Каждая сим-карта сравнивается с остальными на схожесть возникших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с ней событий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по набору признаков:</a:t>
            </a:r>
          </a:p>
          <a:p>
            <a:pPr marL="171450" indent="-171450" defTabSz="801688" eaLnBrk="0" hangingPunct="0">
              <a:lnSpc>
                <a:spcPct val="95000"/>
              </a:lnSpc>
              <a:buClr>
                <a:schemeClr val="accent2"/>
              </a:buClr>
              <a:buFont typeface="Arial" panose="020B0604020202020204" pitchFamily="34" charset="0"/>
              <a:buChar char="►"/>
              <a:defRPr/>
            </a:pP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 время возникновения</a:t>
            </a:r>
          </a:p>
          <a:p>
            <a:pPr marL="171450" indent="-171450" defTabSz="801688" eaLnBrk="0" hangingPunct="0">
              <a:lnSpc>
                <a:spcPct val="95000"/>
              </a:lnSpc>
              <a:buClr>
                <a:schemeClr val="accent2"/>
              </a:buClr>
              <a:buFont typeface="Arial" panose="020B0604020202020204" pitchFamily="34" charset="0"/>
              <a:buChar char="►"/>
              <a:defRPr/>
            </a:pP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 координаты базовых станций</a:t>
            </a:r>
          </a:p>
        </p:txBody>
      </p:sp>
      <p:sp>
        <p:nvSpPr>
          <p:cNvPr id="25" name="Abgerundetes Rechteck 24"/>
          <p:cNvSpPr/>
          <p:nvPr/>
        </p:nvSpPr>
        <p:spPr bwMode="gray">
          <a:xfrm>
            <a:off x="982208" y="2902042"/>
            <a:ext cx="5115495" cy="1132150"/>
          </a:xfrm>
          <a:custGeom>
            <a:avLst/>
            <a:gdLst>
              <a:gd name="connsiteX0" fmla="*/ 0 w 7556910"/>
              <a:gd name="connsiteY0" fmla="*/ 0 h 1132150"/>
              <a:gd name="connsiteX1" fmla="*/ 7556910 w 7556910"/>
              <a:gd name="connsiteY1" fmla="*/ 0 h 1132150"/>
              <a:gd name="connsiteX2" fmla="*/ 7556910 w 7556910"/>
              <a:gd name="connsiteY2" fmla="*/ 1132150 h 1132150"/>
              <a:gd name="connsiteX3" fmla="*/ 0 w 7556910"/>
              <a:gd name="connsiteY3" fmla="*/ 1132150 h 1132150"/>
              <a:gd name="connsiteX4" fmla="*/ 0 w 7556910"/>
              <a:gd name="connsiteY4" fmla="*/ 0 h 1132150"/>
              <a:gd name="connsiteX0" fmla="*/ 2 w 7556912"/>
              <a:gd name="connsiteY0" fmla="*/ 0 h 1132150"/>
              <a:gd name="connsiteX1" fmla="*/ 7556912 w 7556912"/>
              <a:gd name="connsiteY1" fmla="*/ 0 h 1132150"/>
              <a:gd name="connsiteX2" fmla="*/ 7556912 w 7556912"/>
              <a:gd name="connsiteY2" fmla="*/ 1132150 h 1132150"/>
              <a:gd name="connsiteX3" fmla="*/ 2 w 7556912"/>
              <a:gd name="connsiteY3" fmla="*/ 1132150 h 1132150"/>
              <a:gd name="connsiteX4" fmla="*/ 142652 w 7556912"/>
              <a:gd name="connsiteY4" fmla="*/ 250430 h 1132150"/>
              <a:gd name="connsiteX5" fmla="*/ 2 w 7556912"/>
              <a:gd name="connsiteY5" fmla="*/ 0 h 1132150"/>
              <a:gd name="connsiteX0" fmla="*/ 278634 w 7835544"/>
              <a:gd name="connsiteY0" fmla="*/ 0 h 1132150"/>
              <a:gd name="connsiteX1" fmla="*/ 7835544 w 7835544"/>
              <a:gd name="connsiteY1" fmla="*/ 0 h 1132150"/>
              <a:gd name="connsiteX2" fmla="*/ 7835544 w 7835544"/>
              <a:gd name="connsiteY2" fmla="*/ 1132150 h 1132150"/>
              <a:gd name="connsiteX3" fmla="*/ 278634 w 7835544"/>
              <a:gd name="connsiteY3" fmla="*/ 1132150 h 1132150"/>
              <a:gd name="connsiteX4" fmla="*/ 421284 w 7835544"/>
              <a:gd name="connsiteY4" fmla="*/ 250430 h 1132150"/>
              <a:gd name="connsiteX5" fmla="*/ 278634 w 7835544"/>
              <a:gd name="connsiteY5" fmla="*/ 0 h 1132150"/>
              <a:gd name="connsiteX0" fmla="*/ 244985 w 7801895"/>
              <a:gd name="connsiteY0" fmla="*/ 0 h 1132150"/>
              <a:gd name="connsiteX1" fmla="*/ 7801895 w 7801895"/>
              <a:gd name="connsiteY1" fmla="*/ 0 h 1132150"/>
              <a:gd name="connsiteX2" fmla="*/ 7801895 w 7801895"/>
              <a:gd name="connsiteY2" fmla="*/ 1132150 h 1132150"/>
              <a:gd name="connsiteX3" fmla="*/ 244985 w 7801895"/>
              <a:gd name="connsiteY3" fmla="*/ 1132150 h 1132150"/>
              <a:gd name="connsiteX4" fmla="*/ 571538 w 7801895"/>
              <a:gd name="connsiteY4" fmla="*/ 250430 h 1132150"/>
              <a:gd name="connsiteX5" fmla="*/ 244985 w 7801895"/>
              <a:gd name="connsiteY5" fmla="*/ 0 h 113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01895" h="1132150">
                <a:moveTo>
                  <a:pt x="244985" y="0"/>
                </a:moveTo>
                <a:lnTo>
                  <a:pt x="7801895" y="0"/>
                </a:lnTo>
                <a:lnTo>
                  <a:pt x="7801895" y="1132150"/>
                </a:lnTo>
                <a:lnTo>
                  <a:pt x="244985" y="1132150"/>
                </a:lnTo>
                <a:cubicBezTo>
                  <a:pt x="-456765" y="1099863"/>
                  <a:pt x="572248" y="412257"/>
                  <a:pt x="571538" y="250430"/>
                </a:cubicBezTo>
                <a:lnTo>
                  <a:pt x="244985" y="0"/>
                </a:lnTo>
                <a:close/>
              </a:path>
            </a:pathLst>
          </a:cu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0" tIns="72000" rIns="108000" bIns="72000" anchor="ctr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600" b="1" dirty="0" smtClean="0">
                <a:solidFill>
                  <a:srgbClr val="646464"/>
                </a:solidFill>
                <a:cs typeface="Arial" charset="0"/>
              </a:rPr>
              <a:t>Поиск сим-карт в одном устройстве</a:t>
            </a:r>
            <a:endParaRPr lang="en-US" sz="1600" b="1" dirty="0">
              <a:solidFill>
                <a:srgbClr val="646464"/>
              </a:solidFill>
              <a:cs typeface="Arial" charset="0"/>
            </a:endParaRP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Ищутся сим-карты, которые побывали в одном и том же устройстве – скорее всего они принадлежат одной персоне</a:t>
            </a:r>
            <a:endParaRPr lang="en-US" sz="1200" dirty="0">
              <a:solidFill>
                <a:srgbClr val="646464"/>
              </a:solidFill>
              <a:cs typeface="Arial" charset="0"/>
            </a:endParaRPr>
          </a:p>
        </p:txBody>
      </p:sp>
      <p:sp>
        <p:nvSpPr>
          <p:cNvPr id="26" name="Abgerundetes Rechteck 24"/>
          <p:cNvSpPr/>
          <p:nvPr/>
        </p:nvSpPr>
        <p:spPr bwMode="gray">
          <a:xfrm>
            <a:off x="1240229" y="4502147"/>
            <a:ext cx="4858945" cy="1132150"/>
          </a:xfrm>
          <a:custGeom>
            <a:avLst/>
            <a:gdLst>
              <a:gd name="connsiteX0" fmla="*/ 0 w 4858924"/>
              <a:gd name="connsiteY0" fmla="*/ 0 h 1132150"/>
              <a:gd name="connsiteX1" fmla="*/ 4858924 w 4858924"/>
              <a:gd name="connsiteY1" fmla="*/ 0 h 1132150"/>
              <a:gd name="connsiteX2" fmla="*/ 4858924 w 4858924"/>
              <a:gd name="connsiteY2" fmla="*/ 1132150 h 1132150"/>
              <a:gd name="connsiteX3" fmla="*/ 0 w 4858924"/>
              <a:gd name="connsiteY3" fmla="*/ 1132150 h 1132150"/>
              <a:gd name="connsiteX4" fmla="*/ 0 w 4858924"/>
              <a:gd name="connsiteY4" fmla="*/ 0 h 1132150"/>
              <a:gd name="connsiteX0" fmla="*/ 25 w 4858949"/>
              <a:gd name="connsiteY0" fmla="*/ 0 h 1132150"/>
              <a:gd name="connsiteX1" fmla="*/ 4858949 w 4858949"/>
              <a:gd name="connsiteY1" fmla="*/ 0 h 1132150"/>
              <a:gd name="connsiteX2" fmla="*/ 4858949 w 4858949"/>
              <a:gd name="connsiteY2" fmla="*/ 1132150 h 1132150"/>
              <a:gd name="connsiteX3" fmla="*/ 25 w 4858949"/>
              <a:gd name="connsiteY3" fmla="*/ 1132150 h 1132150"/>
              <a:gd name="connsiteX4" fmla="*/ 56011 w 4858949"/>
              <a:gd name="connsiteY4" fmla="*/ 802845 h 1132150"/>
              <a:gd name="connsiteX5" fmla="*/ 25 w 4858949"/>
              <a:gd name="connsiteY5" fmla="*/ 0 h 1132150"/>
              <a:gd name="connsiteX0" fmla="*/ 13 w 4858937"/>
              <a:gd name="connsiteY0" fmla="*/ 0 h 1132150"/>
              <a:gd name="connsiteX1" fmla="*/ 4858937 w 4858937"/>
              <a:gd name="connsiteY1" fmla="*/ 0 h 1132150"/>
              <a:gd name="connsiteX2" fmla="*/ 4858937 w 4858937"/>
              <a:gd name="connsiteY2" fmla="*/ 1132150 h 1132150"/>
              <a:gd name="connsiteX3" fmla="*/ 13 w 4858937"/>
              <a:gd name="connsiteY3" fmla="*/ 1132150 h 1132150"/>
              <a:gd name="connsiteX4" fmla="*/ 124579 w 4858937"/>
              <a:gd name="connsiteY4" fmla="*/ 814275 h 1132150"/>
              <a:gd name="connsiteX5" fmla="*/ 13 w 4858937"/>
              <a:gd name="connsiteY5" fmla="*/ 0 h 1132150"/>
              <a:gd name="connsiteX0" fmla="*/ 13 w 4858937"/>
              <a:gd name="connsiteY0" fmla="*/ 0 h 1132150"/>
              <a:gd name="connsiteX1" fmla="*/ 4858937 w 4858937"/>
              <a:gd name="connsiteY1" fmla="*/ 0 h 1132150"/>
              <a:gd name="connsiteX2" fmla="*/ 4858937 w 4858937"/>
              <a:gd name="connsiteY2" fmla="*/ 1132150 h 1132150"/>
              <a:gd name="connsiteX3" fmla="*/ 13 w 4858937"/>
              <a:gd name="connsiteY3" fmla="*/ 1132150 h 1132150"/>
              <a:gd name="connsiteX4" fmla="*/ 124579 w 4858937"/>
              <a:gd name="connsiteY4" fmla="*/ 814275 h 1132150"/>
              <a:gd name="connsiteX5" fmla="*/ 39923 w 4858937"/>
              <a:gd name="connsiteY5" fmla="*/ 401323 h 1132150"/>
              <a:gd name="connsiteX6" fmla="*/ 13 w 4858937"/>
              <a:gd name="connsiteY6" fmla="*/ 0 h 1132150"/>
              <a:gd name="connsiteX0" fmla="*/ 13 w 4858937"/>
              <a:gd name="connsiteY0" fmla="*/ 0 h 1132150"/>
              <a:gd name="connsiteX1" fmla="*/ 4858937 w 4858937"/>
              <a:gd name="connsiteY1" fmla="*/ 0 h 1132150"/>
              <a:gd name="connsiteX2" fmla="*/ 4858937 w 4858937"/>
              <a:gd name="connsiteY2" fmla="*/ 1132150 h 1132150"/>
              <a:gd name="connsiteX3" fmla="*/ 13 w 4858937"/>
              <a:gd name="connsiteY3" fmla="*/ 1132150 h 1132150"/>
              <a:gd name="connsiteX4" fmla="*/ 124579 w 4858937"/>
              <a:gd name="connsiteY4" fmla="*/ 814275 h 1132150"/>
              <a:gd name="connsiteX5" fmla="*/ 51353 w 4858937"/>
              <a:gd name="connsiteY5" fmla="*/ 252733 h 1132150"/>
              <a:gd name="connsiteX6" fmla="*/ 13 w 4858937"/>
              <a:gd name="connsiteY6" fmla="*/ 0 h 1132150"/>
              <a:gd name="connsiteX0" fmla="*/ 21 w 4858945"/>
              <a:gd name="connsiteY0" fmla="*/ 0 h 1132150"/>
              <a:gd name="connsiteX1" fmla="*/ 4858945 w 4858945"/>
              <a:gd name="connsiteY1" fmla="*/ 0 h 1132150"/>
              <a:gd name="connsiteX2" fmla="*/ 4858945 w 4858945"/>
              <a:gd name="connsiteY2" fmla="*/ 1132150 h 1132150"/>
              <a:gd name="connsiteX3" fmla="*/ 21 w 4858945"/>
              <a:gd name="connsiteY3" fmla="*/ 1132150 h 1132150"/>
              <a:gd name="connsiteX4" fmla="*/ 67437 w 4858945"/>
              <a:gd name="connsiteY4" fmla="*/ 631395 h 1132150"/>
              <a:gd name="connsiteX5" fmla="*/ 51361 w 4858945"/>
              <a:gd name="connsiteY5" fmla="*/ 252733 h 1132150"/>
              <a:gd name="connsiteX6" fmla="*/ 21 w 4858945"/>
              <a:gd name="connsiteY6" fmla="*/ 0 h 113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58945" h="1132150">
                <a:moveTo>
                  <a:pt x="21" y="0"/>
                </a:moveTo>
                <a:lnTo>
                  <a:pt x="4858945" y="0"/>
                </a:lnTo>
                <a:lnTo>
                  <a:pt x="4858945" y="1132150"/>
                </a:lnTo>
                <a:lnTo>
                  <a:pt x="21" y="1132150"/>
                </a:lnTo>
                <a:cubicBezTo>
                  <a:pt x="-1414" y="1022382"/>
                  <a:pt x="68872" y="741163"/>
                  <a:pt x="67437" y="631395"/>
                </a:cubicBezTo>
                <a:lnTo>
                  <a:pt x="51361" y="252733"/>
                </a:lnTo>
                <a:lnTo>
                  <a:pt x="21" y="0"/>
                </a:lnTo>
                <a:close/>
              </a:path>
            </a:pathLst>
          </a:cu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68000" tIns="72000" rIns="108000" bIns="72000" anchor="ctr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600" b="1" dirty="0" smtClean="0">
                <a:solidFill>
                  <a:srgbClr val="646464"/>
                </a:solidFill>
                <a:cs typeface="Arial" charset="0"/>
              </a:rPr>
              <a:t>Группировка пар сим-карт в персоны</a:t>
            </a:r>
            <a:endParaRPr lang="en-US" sz="1600" b="1" dirty="0">
              <a:solidFill>
                <a:srgbClr val="646464"/>
              </a:solidFill>
              <a:cs typeface="Arial" charset="0"/>
            </a:endParaRP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Персоной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будет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считаться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группа сим-карт, которые оказались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наиболее похожи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между собой по результатам расчётов на предыдущих этапах</a:t>
            </a:r>
            <a:endParaRPr lang="en-US" sz="1200" dirty="0">
              <a:solidFill>
                <a:srgbClr val="646464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лгоритм определения персон по входным данным состоит из 3 последовательных этапов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619675" y="1080878"/>
            <a:ext cx="984244" cy="18420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3800" b="1" dirty="0">
                <a:solidFill>
                  <a:srgbClr val="FFE600"/>
                </a:solidFill>
              </a:rPr>
              <a:t>1</a:t>
            </a:r>
            <a:endParaRPr lang="en-IN" sz="13800" b="1" dirty="0">
              <a:solidFill>
                <a:srgbClr val="FFE6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19675" y="2620032"/>
            <a:ext cx="984244" cy="18420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3800" b="1" dirty="0">
                <a:solidFill>
                  <a:srgbClr val="808080"/>
                </a:solidFill>
              </a:rPr>
              <a:t>2</a:t>
            </a:r>
            <a:endParaRPr lang="en-IN" sz="13800" b="1" dirty="0">
              <a:solidFill>
                <a:srgbClr val="80808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19675" y="4296848"/>
            <a:ext cx="984244" cy="18420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3800" b="1" dirty="0">
                <a:solidFill>
                  <a:srgbClr val="C0C0C0"/>
                </a:solidFill>
              </a:rPr>
              <a:t>3</a:t>
            </a:r>
            <a:endParaRPr lang="en-IN" sz="13800" b="1" dirty="0">
              <a:solidFill>
                <a:srgbClr val="C0C0C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40233" y="2952675"/>
            <a:ext cx="1328825" cy="17427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indent="-21600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►"/>
            </a:pPr>
            <a:r>
              <a:rPr lang="ru-RU" sz="1050" dirty="0" smtClean="0">
                <a:solidFill>
                  <a:schemeClr val="bg1"/>
                </a:solidFill>
              </a:rPr>
              <a:t>+7 926 754 45 67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581698" y="2952675"/>
            <a:ext cx="1328825" cy="17427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indent="-21600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100000"/>
              <a:buFont typeface="Arial" pitchFamily="34" charset="0"/>
              <a:buChar char="►"/>
            </a:pPr>
            <a:r>
              <a:rPr lang="ru-RU" sz="1050" dirty="0" smtClean="0">
                <a:solidFill>
                  <a:schemeClr val="bg1"/>
                </a:solidFill>
              </a:rPr>
              <a:t>+7 903 856 43 82</a:t>
            </a:r>
          </a:p>
        </p:txBody>
      </p:sp>
      <p:grpSp>
        <p:nvGrpSpPr>
          <p:cNvPr id="13" name="Group 55"/>
          <p:cNvGrpSpPr>
            <a:grpSpLocks/>
          </p:cNvGrpSpPr>
          <p:nvPr/>
        </p:nvGrpSpPr>
        <p:grpSpPr bwMode="auto">
          <a:xfrm>
            <a:off x="8649941" y="3212219"/>
            <a:ext cx="474663" cy="746125"/>
            <a:chOff x="5092293" y="1052736"/>
            <a:chExt cx="474865" cy="745726"/>
          </a:xfrm>
          <a:solidFill>
            <a:srgbClr val="646464"/>
          </a:solidFill>
        </p:grpSpPr>
        <p:sp>
          <p:nvSpPr>
            <p:cNvPr id="14" name="Freeform 25"/>
            <p:cNvSpPr>
              <a:spLocks noEditPoints="1"/>
            </p:cNvSpPr>
            <p:nvPr/>
          </p:nvSpPr>
          <p:spPr bwMode="auto">
            <a:xfrm>
              <a:off x="5092293" y="1052736"/>
              <a:ext cx="474865" cy="745726"/>
            </a:xfrm>
            <a:custGeom>
              <a:avLst/>
              <a:gdLst>
                <a:gd name="T0" fmla="*/ 2147483647 w 277"/>
                <a:gd name="T1" fmla="*/ 2147483647 h 435"/>
                <a:gd name="T2" fmla="*/ 2147483647 w 277"/>
                <a:gd name="T3" fmla="*/ 2147483647 h 435"/>
                <a:gd name="T4" fmla="*/ 2147483647 w 277"/>
                <a:gd name="T5" fmla="*/ 0 h 435"/>
                <a:gd name="T6" fmla="*/ 2147483647 w 277"/>
                <a:gd name="T7" fmla="*/ 2147483647 h 435"/>
                <a:gd name="T8" fmla="*/ 2147483647 w 277"/>
                <a:gd name="T9" fmla="*/ 2147483647 h 435"/>
                <a:gd name="T10" fmla="*/ 0 w 277"/>
                <a:gd name="T11" fmla="*/ 2147483647 h 435"/>
                <a:gd name="T12" fmla="*/ 2147483647 w 277"/>
                <a:gd name="T13" fmla="*/ 2147483647 h 435"/>
                <a:gd name="T14" fmla="*/ 2147483647 w 277"/>
                <a:gd name="T15" fmla="*/ 2147483647 h 435"/>
                <a:gd name="T16" fmla="*/ 2147483647 w 277"/>
                <a:gd name="T17" fmla="*/ 2147483647 h 435"/>
                <a:gd name="T18" fmla="*/ 2147483647 w 277"/>
                <a:gd name="T19" fmla="*/ 2147483647 h 435"/>
                <a:gd name="T20" fmla="*/ 2147483647 w 277"/>
                <a:gd name="T21" fmla="*/ 2147483647 h 435"/>
                <a:gd name="T22" fmla="*/ 2147483647 w 277"/>
                <a:gd name="T23" fmla="*/ 2147483647 h 435"/>
                <a:gd name="T24" fmla="*/ 2147483647 w 277"/>
                <a:gd name="T25" fmla="*/ 2147483647 h 435"/>
                <a:gd name="T26" fmla="*/ 2147483647 w 277"/>
                <a:gd name="T27" fmla="*/ 2147483647 h 435"/>
                <a:gd name="T28" fmla="*/ 2147483647 w 277"/>
                <a:gd name="T29" fmla="*/ 2147483647 h 435"/>
                <a:gd name="T30" fmla="*/ 2147483647 w 277"/>
                <a:gd name="T31" fmla="*/ 2147483647 h 435"/>
                <a:gd name="T32" fmla="*/ 2147483647 w 277"/>
                <a:gd name="T33" fmla="*/ 2147483647 h 435"/>
                <a:gd name="T34" fmla="*/ 2147483647 w 277"/>
                <a:gd name="T35" fmla="*/ 2147483647 h 435"/>
                <a:gd name="T36" fmla="*/ 2147483647 w 277"/>
                <a:gd name="T37" fmla="*/ 2147483647 h 435"/>
                <a:gd name="T38" fmla="*/ 2147483647 w 277"/>
                <a:gd name="T39" fmla="*/ 2147483647 h 435"/>
                <a:gd name="T40" fmla="*/ 2147483647 w 277"/>
                <a:gd name="T41" fmla="*/ 2147483647 h 435"/>
                <a:gd name="T42" fmla="*/ 2147483647 w 277"/>
                <a:gd name="T43" fmla="*/ 2147483647 h 435"/>
                <a:gd name="T44" fmla="*/ 2147483647 w 277"/>
                <a:gd name="T45" fmla="*/ 2147483647 h 435"/>
                <a:gd name="T46" fmla="*/ 2147483647 w 277"/>
                <a:gd name="T47" fmla="*/ 2147483647 h 435"/>
                <a:gd name="T48" fmla="*/ 2147483647 w 277"/>
                <a:gd name="T49" fmla="*/ 2147483647 h 435"/>
                <a:gd name="T50" fmla="*/ 2147483647 w 277"/>
                <a:gd name="T51" fmla="*/ 2147483647 h 435"/>
                <a:gd name="T52" fmla="*/ 2147483647 w 277"/>
                <a:gd name="T53" fmla="*/ 2147483647 h 435"/>
                <a:gd name="T54" fmla="*/ 2147483647 w 277"/>
                <a:gd name="T55" fmla="*/ 2147483647 h 435"/>
                <a:gd name="T56" fmla="*/ 2147483647 w 277"/>
                <a:gd name="T57" fmla="*/ 2147483647 h 435"/>
                <a:gd name="T58" fmla="*/ 2147483647 w 277"/>
                <a:gd name="T59" fmla="*/ 2147483647 h 435"/>
                <a:gd name="T60" fmla="*/ 2147483647 w 277"/>
                <a:gd name="T61" fmla="*/ 2147483647 h 435"/>
                <a:gd name="T62" fmla="*/ 2147483647 w 277"/>
                <a:gd name="T63" fmla="*/ 2147483647 h 435"/>
                <a:gd name="T64" fmla="*/ 2147483647 w 277"/>
                <a:gd name="T65" fmla="*/ 2147483647 h 435"/>
                <a:gd name="T66" fmla="*/ 2147483647 w 277"/>
                <a:gd name="T67" fmla="*/ 2147483647 h 435"/>
                <a:gd name="T68" fmla="*/ 2147483647 w 277"/>
                <a:gd name="T69" fmla="*/ 2147483647 h 435"/>
                <a:gd name="T70" fmla="*/ 2147483647 w 277"/>
                <a:gd name="T71" fmla="*/ 2147483647 h 435"/>
                <a:gd name="T72" fmla="*/ 2147483647 w 277"/>
                <a:gd name="T73" fmla="*/ 2147483647 h 435"/>
                <a:gd name="T74" fmla="*/ 2147483647 w 277"/>
                <a:gd name="T75" fmla="*/ 2147483647 h 435"/>
                <a:gd name="T76" fmla="*/ 2147483647 w 277"/>
                <a:gd name="T77" fmla="*/ 2147483647 h 435"/>
                <a:gd name="T78" fmla="*/ 2147483647 w 277"/>
                <a:gd name="T79" fmla="*/ 2147483647 h 435"/>
                <a:gd name="T80" fmla="*/ 2147483647 w 277"/>
                <a:gd name="T81" fmla="*/ 2147483647 h 4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77" h="435">
                  <a:moveTo>
                    <a:pt x="277" y="394"/>
                  </a:moveTo>
                  <a:lnTo>
                    <a:pt x="277" y="41"/>
                  </a:lnTo>
                  <a:lnTo>
                    <a:pt x="274" y="26"/>
                  </a:lnTo>
                  <a:lnTo>
                    <a:pt x="266" y="11"/>
                  </a:lnTo>
                  <a:lnTo>
                    <a:pt x="251" y="2"/>
                  </a:lnTo>
                  <a:lnTo>
                    <a:pt x="235" y="0"/>
                  </a:lnTo>
                  <a:lnTo>
                    <a:pt x="42" y="0"/>
                  </a:lnTo>
                  <a:lnTo>
                    <a:pt x="26" y="2"/>
                  </a:lnTo>
                  <a:lnTo>
                    <a:pt x="13" y="11"/>
                  </a:lnTo>
                  <a:lnTo>
                    <a:pt x="3" y="26"/>
                  </a:lnTo>
                  <a:lnTo>
                    <a:pt x="0" y="41"/>
                  </a:lnTo>
                  <a:lnTo>
                    <a:pt x="0" y="394"/>
                  </a:lnTo>
                  <a:lnTo>
                    <a:pt x="3" y="409"/>
                  </a:lnTo>
                  <a:lnTo>
                    <a:pt x="13" y="424"/>
                  </a:lnTo>
                  <a:lnTo>
                    <a:pt x="26" y="432"/>
                  </a:lnTo>
                  <a:lnTo>
                    <a:pt x="42" y="435"/>
                  </a:lnTo>
                  <a:lnTo>
                    <a:pt x="235" y="435"/>
                  </a:lnTo>
                  <a:lnTo>
                    <a:pt x="251" y="432"/>
                  </a:lnTo>
                  <a:lnTo>
                    <a:pt x="266" y="424"/>
                  </a:lnTo>
                  <a:lnTo>
                    <a:pt x="274" y="409"/>
                  </a:lnTo>
                  <a:lnTo>
                    <a:pt x="277" y="394"/>
                  </a:lnTo>
                  <a:close/>
                  <a:moveTo>
                    <a:pt x="117" y="26"/>
                  </a:moveTo>
                  <a:lnTo>
                    <a:pt x="114" y="24"/>
                  </a:lnTo>
                  <a:lnTo>
                    <a:pt x="114" y="23"/>
                  </a:lnTo>
                  <a:lnTo>
                    <a:pt x="114" y="20"/>
                  </a:lnTo>
                  <a:lnTo>
                    <a:pt x="117" y="18"/>
                  </a:lnTo>
                  <a:lnTo>
                    <a:pt x="160" y="18"/>
                  </a:lnTo>
                  <a:lnTo>
                    <a:pt x="163" y="20"/>
                  </a:lnTo>
                  <a:lnTo>
                    <a:pt x="165" y="23"/>
                  </a:lnTo>
                  <a:lnTo>
                    <a:pt x="163" y="24"/>
                  </a:lnTo>
                  <a:lnTo>
                    <a:pt x="160" y="26"/>
                  </a:lnTo>
                  <a:lnTo>
                    <a:pt x="117" y="26"/>
                  </a:lnTo>
                  <a:close/>
                  <a:moveTo>
                    <a:pt x="250" y="352"/>
                  </a:moveTo>
                  <a:lnTo>
                    <a:pt x="250" y="297"/>
                  </a:lnTo>
                  <a:lnTo>
                    <a:pt x="250" y="249"/>
                  </a:lnTo>
                  <a:lnTo>
                    <a:pt x="250" y="204"/>
                  </a:lnTo>
                  <a:lnTo>
                    <a:pt x="250" y="57"/>
                  </a:lnTo>
                  <a:lnTo>
                    <a:pt x="248" y="50"/>
                  </a:lnTo>
                  <a:lnTo>
                    <a:pt x="246" y="46"/>
                  </a:lnTo>
                  <a:lnTo>
                    <a:pt x="241" y="40"/>
                  </a:lnTo>
                  <a:lnTo>
                    <a:pt x="235" y="37"/>
                  </a:lnTo>
                  <a:lnTo>
                    <a:pt x="230" y="37"/>
                  </a:lnTo>
                  <a:lnTo>
                    <a:pt x="48" y="37"/>
                  </a:lnTo>
                  <a:lnTo>
                    <a:pt x="42" y="37"/>
                  </a:lnTo>
                  <a:lnTo>
                    <a:pt x="36" y="40"/>
                  </a:lnTo>
                  <a:lnTo>
                    <a:pt x="32" y="46"/>
                  </a:lnTo>
                  <a:lnTo>
                    <a:pt x="29" y="50"/>
                  </a:lnTo>
                  <a:lnTo>
                    <a:pt x="28" y="57"/>
                  </a:lnTo>
                  <a:lnTo>
                    <a:pt x="28" y="112"/>
                  </a:lnTo>
                  <a:lnTo>
                    <a:pt x="28" y="160"/>
                  </a:lnTo>
                  <a:lnTo>
                    <a:pt x="28" y="249"/>
                  </a:lnTo>
                  <a:lnTo>
                    <a:pt x="28" y="297"/>
                  </a:lnTo>
                  <a:lnTo>
                    <a:pt x="28" y="352"/>
                  </a:lnTo>
                  <a:lnTo>
                    <a:pt x="29" y="359"/>
                  </a:lnTo>
                  <a:lnTo>
                    <a:pt x="32" y="365"/>
                  </a:lnTo>
                  <a:lnTo>
                    <a:pt x="36" y="369"/>
                  </a:lnTo>
                  <a:lnTo>
                    <a:pt x="42" y="372"/>
                  </a:lnTo>
                  <a:lnTo>
                    <a:pt x="48" y="372"/>
                  </a:lnTo>
                  <a:lnTo>
                    <a:pt x="230" y="372"/>
                  </a:lnTo>
                  <a:lnTo>
                    <a:pt x="235" y="372"/>
                  </a:lnTo>
                  <a:lnTo>
                    <a:pt x="241" y="369"/>
                  </a:lnTo>
                  <a:lnTo>
                    <a:pt x="246" y="365"/>
                  </a:lnTo>
                  <a:lnTo>
                    <a:pt x="248" y="359"/>
                  </a:lnTo>
                  <a:lnTo>
                    <a:pt x="250" y="352"/>
                  </a:lnTo>
                  <a:close/>
                  <a:moveTo>
                    <a:pt x="117" y="412"/>
                  </a:moveTo>
                  <a:lnTo>
                    <a:pt x="113" y="412"/>
                  </a:lnTo>
                  <a:lnTo>
                    <a:pt x="110" y="409"/>
                  </a:lnTo>
                  <a:lnTo>
                    <a:pt x="107" y="407"/>
                  </a:lnTo>
                  <a:lnTo>
                    <a:pt x="106" y="402"/>
                  </a:lnTo>
                  <a:lnTo>
                    <a:pt x="107" y="398"/>
                  </a:lnTo>
                  <a:lnTo>
                    <a:pt x="110" y="395"/>
                  </a:lnTo>
                  <a:lnTo>
                    <a:pt x="113" y="392"/>
                  </a:lnTo>
                  <a:lnTo>
                    <a:pt x="117" y="391"/>
                  </a:lnTo>
                  <a:lnTo>
                    <a:pt x="160" y="391"/>
                  </a:lnTo>
                  <a:lnTo>
                    <a:pt x="165" y="392"/>
                  </a:lnTo>
                  <a:lnTo>
                    <a:pt x="169" y="395"/>
                  </a:lnTo>
                  <a:lnTo>
                    <a:pt x="171" y="398"/>
                  </a:lnTo>
                  <a:lnTo>
                    <a:pt x="172" y="402"/>
                  </a:lnTo>
                  <a:lnTo>
                    <a:pt x="171" y="407"/>
                  </a:lnTo>
                  <a:lnTo>
                    <a:pt x="169" y="409"/>
                  </a:lnTo>
                  <a:lnTo>
                    <a:pt x="165" y="412"/>
                  </a:lnTo>
                  <a:lnTo>
                    <a:pt x="160" y="412"/>
                  </a:lnTo>
                  <a:lnTo>
                    <a:pt x="117" y="4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600">
                <a:solidFill>
                  <a:srgbClr val="646464"/>
                </a:solidFill>
              </a:endParaRPr>
            </a:p>
          </p:txBody>
        </p:sp>
        <p:sp>
          <p:nvSpPr>
            <p:cNvPr id="15" name="Freeform 26"/>
            <p:cNvSpPr>
              <a:spLocks/>
            </p:cNvSpPr>
            <p:nvPr/>
          </p:nvSpPr>
          <p:spPr bwMode="auto">
            <a:xfrm>
              <a:off x="5226009" y="1577315"/>
              <a:ext cx="207432" cy="39430"/>
            </a:xfrm>
            <a:custGeom>
              <a:avLst/>
              <a:gdLst>
                <a:gd name="T0" fmla="*/ 2147483647 w 121"/>
                <a:gd name="T1" fmla="*/ 2147483647 h 23"/>
                <a:gd name="T2" fmla="*/ 2147483647 w 121"/>
                <a:gd name="T3" fmla="*/ 2147483647 h 23"/>
                <a:gd name="T4" fmla="*/ 2147483647 w 121"/>
                <a:gd name="T5" fmla="*/ 2147483647 h 23"/>
                <a:gd name="T6" fmla="*/ 0 w 121"/>
                <a:gd name="T7" fmla="*/ 2147483647 h 23"/>
                <a:gd name="T8" fmla="*/ 0 w 121"/>
                <a:gd name="T9" fmla="*/ 2147483647 h 23"/>
                <a:gd name="T10" fmla="*/ 0 w 121"/>
                <a:gd name="T11" fmla="*/ 2147483647 h 23"/>
                <a:gd name="T12" fmla="*/ 2147483647 w 121"/>
                <a:gd name="T13" fmla="*/ 2147483647 h 23"/>
                <a:gd name="T14" fmla="*/ 2147483647 w 121"/>
                <a:gd name="T15" fmla="*/ 2147483647 h 23"/>
                <a:gd name="T16" fmla="*/ 2147483647 w 121"/>
                <a:gd name="T17" fmla="*/ 0 h 23"/>
                <a:gd name="T18" fmla="*/ 2147483647 w 121"/>
                <a:gd name="T19" fmla="*/ 0 h 23"/>
                <a:gd name="T20" fmla="*/ 2147483647 w 121"/>
                <a:gd name="T21" fmla="*/ 2147483647 h 23"/>
                <a:gd name="T22" fmla="*/ 2147483647 w 121"/>
                <a:gd name="T23" fmla="*/ 2147483647 h 23"/>
                <a:gd name="T24" fmla="*/ 2147483647 w 121"/>
                <a:gd name="T25" fmla="*/ 2147483647 h 23"/>
                <a:gd name="T26" fmla="*/ 2147483647 w 121"/>
                <a:gd name="T27" fmla="*/ 2147483647 h 23"/>
                <a:gd name="T28" fmla="*/ 2147483647 w 121"/>
                <a:gd name="T29" fmla="*/ 2147483647 h 23"/>
                <a:gd name="T30" fmla="*/ 2147483647 w 121"/>
                <a:gd name="T31" fmla="*/ 2147483647 h 23"/>
                <a:gd name="T32" fmla="*/ 2147483647 w 121"/>
                <a:gd name="T33" fmla="*/ 2147483647 h 23"/>
                <a:gd name="T34" fmla="*/ 2147483647 w 121"/>
                <a:gd name="T35" fmla="*/ 2147483647 h 23"/>
                <a:gd name="T36" fmla="*/ 2147483647 w 121"/>
                <a:gd name="T37" fmla="*/ 2147483647 h 2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21" h="23">
                  <a:moveTo>
                    <a:pt x="10" y="23"/>
                  </a:moveTo>
                  <a:lnTo>
                    <a:pt x="6" y="21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4"/>
                  </a:lnTo>
                  <a:lnTo>
                    <a:pt x="6" y="1"/>
                  </a:lnTo>
                  <a:lnTo>
                    <a:pt x="10" y="0"/>
                  </a:lnTo>
                  <a:lnTo>
                    <a:pt x="111" y="0"/>
                  </a:lnTo>
                  <a:lnTo>
                    <a:pt x="116" y="1"/>
                  </a:lnTo>
                  <a:lnTo>
                    <a:pt x="118" y="4"/>
                  </a:lnTo>
                  <a:lnTo>
                    <a:pt x="121" y="7"/>
                  </a:lnTo>
                  <a:lnTo>
                    <a:pt x="121" y="11"/>
                  </a:lnTo>
                  <a:lnTo>
                    <a:pt x="121" y="15"/>
                  </a:lnTo>
                  <a:lnTo>
                    <a:pt x="118" y="18"/>
                  </a:lnTo>
                  <a:lnTo>
                    <a:pt x="116" y="21"/>
                  </a:lnTo>
                  <a:lnTo>
                    <a:pt x="111" y="23"/>
                  </a:lnTo>
                  <a:lnTo>
                    <a:pt x="1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600">
                <a:solidFill>
                  <a:srgbClr val="646464"/>
                </a:solidFill>
              </a:endParaRPr>
            </a:p>
          </p:txBody>
        </p:sp>
        <p:sp>
          <p:nvSpPr>
            <p:cNvPr id="16" name="Freeform 27"/>
            <p:cNvSpPr>
              <a:spLocks noEditPoints="1"/>
            </p:cNvSpPr>
            <p:nvPr/>
          </p:nvSpPr>
          <p:spPr bwMode="auto">
            <a:xfrm>
              <a:off x="5196867" y="1215595"/>
              <a:ext cx="267432" cy="303434"/>
            </a:xfrm>
            <a:custGeom>
              <a:avLst/>
              <a:gdLst>
                <a:gd name="T0" fmla="*/ 2147483647 w 156"/>
                <a:gd name="T1" fmla="*/ 0 h 177"/>
                <a:gd name="T2" fmla="*/ 2147483647 w 156"/>
                <a:gd name="T3" fmla="*/ 2147483647 h 177"/>
                <a:gd name="T4" fmla="*/ 2147483647 w 156"/>
                <a:gd name="T5" fmla="*/ 2147483647 h 177"/>
                <a:gd name="T6" fmla="*/ 2147483647 w 156"/>
                <a:gd name="T7" fmla="*/ 2147483647 h 177"/>
                <a:gd name="T8" fmla="*/ 2147483647 w 156"/>
                <a:gd name="T9" fmla="*/ 2147483647 h 177"/>
                <a:gd name="T10" fmla="*/ 2147483647 w 156"/>
                <a:gd name="T11" fmla="*/ 2147483647 h 177"/>
                <a:gd name="T12" fmla="*/ 2147483647 w 156"/>
                <a:gd name="T13" fmla="*/ 2147483647 h 177"/>
                <a:gd name="T14" fmla="*/ 2147483647 w 156"/>
                <a:gd name="T15" fmla="*/ 2147483647 h 177"/>
                <a:gd name="T16" fmla="*/ 2147483647 w 156"/>
                <a:gd name="T17" fmla="*/ 2147483647 h 177"/>
                <a:gd name="T18" fmla="*/ 2147483647 w 156"/>
                <a:gd name="T19" fmla="*/ 2147483647 h 177"/>
                <a:gd name="T20" fmla="*/ 2147483647 w 156"/>
                <a:gd name="T21" fmla="*/ 2147483647 h 177"/>
                <a:gd name="T22" fmla="*/ 2147483647 w 156"/>
                <a:gd name="T23" fmla="*/ 2147483647 h 177"/>
                <a:gd name="T24" fmla="*/ 2147483647 w 156"/>
                <a:gd name="T25" fmla="*/ 2147483647 h 177"/>
                <a:gd name="T26" fmla="*/ 2147483647 w 156"/>
                <a:gd name="T27" fmla="*/ 2147483647 h 177"/>
                <a:gd name="T28" fmla="*/ 2147483647 w 156"/>
                <a:gd name="T29" fmla="*/ 2147483647 h 177"/>
                <a:gd name="T30" fmla="*/ 2147483647 w 156"/>
                <a:gd name="T31" fmla="*/ 2147483647 h 177"/>
                <a:gd name="T32" fmla="*/ 2147483647 w 156"/>
                <a:gd name="T33" fmla="*/ 0 h 177"/>
                <a:gd name="T34" fmla="*/ 2147483647 w 156"/>
                <a:gd name="T35" fmla="*/ 2147483647 h 177"/>
                <a:gd name="T36" fmla="*/ 2147483647 w 156"/>
                <a:gd name="T37" fmla="*/ 2147483647 h 177"/>
                <a:gd name="T38" fmla="*/ 2147483647 w 156"/>
                <a:gd name="T39" fmla="*/ 2147483647 h 177"/>
                <a:gd name="T40" fmla="*/ 2147483647 w 156"/>
                <a:gd name="T41" fmla="*/ 2147483647 h 177"/>
                <a:gd name="T42" fmla="*/ 2147483647 w 156"/>
                <a:gd name="T43" fmla="*/ 2147483647 h 177"/>
                <a:gd name="T44" fmla="*/ 2147483647 w 156"/>
                <a:gd name="T45" fmla="*/ 2147483647 h 177"/>
                <a:gd name="T46" fmla="*/ 2147483647 w 156"/>
                <a:gd name="T47" fmla="*/ 2147483647 h 177"/>
                <a:gd name="T48" fmla="*/ 2147483647 w 156"/>
                <a:gd name="T49" fmla="*/ 2147483647 h 177"/>
                <a:gd name="T50" fmla="*/ 2147483647 w 156"/>
                <a:gd name="T51" fmla="*/ 2147483647 h 177"/>
                <a:gd name="T52" fmla="*/ 2147483647 w 156"/>
                <a:gd name="T53" fmla="*/ 2147483647 h 177"/>
                <a:gd name="T54" fmla="*/ 2147483647 w 156"/>
                <a:gd name="T55" fmla="*/ 2147483647 h 177"/>
                <a:gd name="T56" fmla="*/ 2147483647 w 156"/>
                <a:gd name="T57" fmla="*/ 2147483647 h 177"/>
                <a:gd name="T58" fmla="*/ 2147483647 w 156"/>
                <a:gd name="T59" fmla="*/ 2147483647 h 177"/>
                <a:gd name="T60" fmla="*/ 2147483647 w 156"/>
                <a:gd name="T61" fmla="*/ 2147483647 h 177"/>
                <a:gd name="T62" fmla="*/ 2147483647 w 156"/>
                <a:gd name="T63" fmla="*/ 2147483647 h 177"/>
                <a:gd name="T64" fmla="*/ 2147483647 w 156"/>
                <a:gd name="T65" fmla="*/ 2147483647 h 177"/>
                <a:gd name="T66" fmla="*/ 2147483647 w 156"/>
                <a:gd name="T67" fmla="*/ 2147483647 h 177"/>
                <a:gd name="T68" fmla="*/ 2147483647 w 156"/>
                <a:gd name="T69" fmla="*/ 2147483647 h 177"/>
                <a:gd name="T70" fmla="*/ 2147483647 w 156"/>
                <a:gd name="T71" fmla="*/ 2147483647 h 177"/>
                <a:gd name="T72" fmla="*/ 2147483647 w 156"/>
                <a:gd name="T73" fmla="*/ 2147483647 h 177"/>
                <a:gd name="T74" fmla="*/ 2147483647 w 156"/>
                <a:gd name="T75" fmla="*/ 2147483647 h 177"/>
                <a:gd name="T76" fmla="*/ 2147483647 w 156"/>
                <a:gd name="T77" fmla="*/ 2147483647 h 177"/>
                <a:gd name="T78" fmla="*/ 2147483647 w 156"/>
                <a:gd name="T79" fmla="*/ 2147483647 h 177"/>
                <a:gd name="T80" fmla="*/ 2147483647 w 156"/>
                <a:gd name="T81" fmla="*/ 2147483647 h 177"/>
                <a:gd name="T82" fmla="*/ 2147483647 w 156"/>
                <a:gd name="T83" fmla="*/ 2147483647 h 177"/>
                <a:gd name="T84" fmla="*/ 2147483647 w 156"/>
                <a:gd name="T85" fmla="*/ 2147483647 h 177"/>
                <a:gd name="T86" fmla="*/ 2147483647 w 156"/>
                <a:gd name="T87" fmla="*/ 2147483647 h 177"/>
                <a:gd name="T88" fmla="*/ 2147483647 w 156"/>
                <a:gd name="T89" fmla="*/ 2147483647 h 177"/>
                <a:gd name="T90" fmla="*/ 2147483647 w 156"/>
                <a:gd name="T91" fmla="*/ 2147483647 h 177"/>
                <a:gd name="T92" fmla="*/ 2147483647 w 156"/>
                <a:gd name="T93" fmla="*/ 2147483647 h 177"/>
                <a:gd name="T94" fmla="*/ 0 w 156"/>
                <a:gd name="T95" fmla="*/ 2147483647 h 177"/>
                <a:gd name="T96" fmla="*/ 2147483647 w 156"/>
                <a:gd name="T97" fmla="*/ 2147483647 h 177"/>
                <a:gd name="T98" fmla="*/ 2147483647 w 156"/>
                <a:gd name="T99" fmla="*/ 2147483647 h 177"/>
                <a:gd name="T100" fmla="*/ 2147483647 w 156"/>
                <a:gd name="T101" fmla="*/ 2147483647 h 177"/>
                <a:gd name="T102" fmla="*/ 2147483647 w 156"/>
                <a:gd name="T103" fmla="*/ 2147483647 h 17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56" h="177">
                  <a:moveTo>
                    <a:pt x="78" y="0"/>
                  </a:moveTo>
                  <a:lnTo>
                    <a:pt x="62" y="4"/>
                  </a:lnTo>
                  <a:lnTo>
                    <a:pt x="52" y="14"/>
                  </a:lnTo>
                  <a:lnTo>
                    <a:pt x="47" y="29"/>
                  </a:lnTo>
                  <a:lnTo>
                    <a:pt x="49" y="40"/>
                  </a:lnTo>
                  <a:lnTo>
                    <a:pt x="53" y="53"/>
                  </a:lnTo>
                  <a:lnTo>
                    <a:pt x="59" y="66"/>
                  </a:lnTo>
                  <a:lnTo>
                    <a:pt x="68" y="75"/>
                  </a:lnTo>
                  <a:lnTo>
                    <a:pt x="78" y="79"/>
                  </a:lnTo>
                  <a:lnTo>
                    <a:pt x="88" y="75"/>
                  </a:lnTo>
                  <a:lnTo>
                    <a:pt x="97" y="66"/>
                  </a:lnTo>
                  <a:lnTo>
                    <a:pt x="102" y="53"/>
                  </a:lnTo>
                  <a:lnTo>
                    <a:pt x="107" y="40"/>
                  </a:lnTo>
                  <a:lnTo>
                    <a:pt x="108" y="29"/>
                  </a:lnTo>
                  <a:lnTo>
                    <a:pt x="104" y="14"/>
                  </a:lnTo>
                  <a:lnTo>
                    <a:pt x="94" y="4"/>
                  </a:lnTo>
                  <a:lnTo>
                    <a:pt x="78" y="0"/>
                  </a:lnTo>
                  <a:close/>
                  <a:moveTo>
                    <a:pt x="14" y="105"/>
                  </a:moveTo>
                  <a:lnTo>
                    <a:pt x="17" y="102"/>
                  </a:lnTo>
                  <a:lnTo>
                    <a:pt x="20" y="99"/>
                  </a:lnTo>
                  <a:lnTo>
                    <a:pt x="24" y="97"/>
                  </a:lnTo>
                  <a:lnTo>
                    <a:pt x="32" y="94"/>
                  </a:lnTo>
                  <a:lnTo>
                    <a:pt x="40" y="91"/>
                  </a:lnTo>
                  <a:lnTo>
                    <a:pt x="49" y="86"/>
                  </a:lnTo>
                  <a:lnTo>
                    <a:pt x="53" y="85"/>
                  </a:lnTo>
                  <a:lnTo>
                    <a:pt x="56" y="98"/>
                  </a:lnTo>
                  <a:lnTo>
                    <a:pt x="60" y="112"/>
                  </a:lnTo>
                  <a:lnTo>
                    <a:pt x="65" y="128"/>
                  </a:lnTo>
                  <a:lnTo>
                    <a:pt x="69" y="140"/>
                  </a:lnTo>
                  <a:lnTo>
                    <a:pt x="73" y="105"/>
                  </a:lnTo>
                  <a:lnTo>
                    <a:pt x="78" y="102"/>
                  </a:lnTo>
                  <a:lnTo>
                    <a:pt x="84" y="105"/>
                  </a:lnTo>
                  <a:lnTo>
                    <a:pt x="86" y="140"/>
                  </a:lnTo>
                  <a:lnTo>
                    <a:pt x="92" y="128"/>
                  </a:lnTo>
                  <a:lnTo>
                    <a:pt x="97" y="112"/>
                  </a:lnTo>
                  <a:lnTo>
                    <a:pt x="99" y="98"/>
                  </a:lnTo>
                  <a:lnTo>
                    <a:pt x="102" y="85"/>
                  </a:lnTo>
                  <a:lnTo>
                    <a:pt x="135" y="98"/>
                  </a:lnTo>
                  <a:lnTo>
                    <a:pt x="135" y="99"/>
                  </a:lnTo>
                  <a:lnTo>
                    <a:pt x="137" y="101"/>
                  </a:lnTo>
                  <a:lnTo>
                    <a:pt x="138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7" y="122"/>
                  </a:lnTo>
                  <a:lnTo>
                    <a:pt x="151" y="141"/>
                  </a:lnTo>
                  <a:lnTo>
                    <a:pt x="154" y="161"/>
                  </a:lnTo>
                  <a:lnTo>
                    <a:pt x="156" y="177"/>
                  </a:lnTo>
                  <a:lnTo>
                    <a:pt x="0" y="177"/>
                  </a:lnTo>
                  <a:lnTo>
                    <a:pt x="1" y="161"/>
                  </a:lnTo>
                  <a:lnTo>
                    <a:pt x="4" y="141"/>
                  </a:lnTo>
                  <a:lnTo>
                    <a:pt x="8" y="122"/>
                  </a:lnTo>
                  <a:lnTo>
                    <a:pt x="14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600">
                <a:solidFill>
                  <a:srgbClr val="646464"/>
                </a:solidFill>
              </a:endParaRPr>
            </a:p>
          </p:txBody>
        </p:sp>
      </p:grpSp>
      <p:sp>
        <p:nvSpPr>
          <p:cNvPr id="34" name="Bent Arrow 33"/>
          <p:cNvSpPr/>
          <p:nvPr/>
        </p:nvSpPr>
        <p:spPr>
          <a:xfrm flipV="1">
            <a:off x="7408197" y="3222081"/>
            <a:ext cx="1044000" cy="524860"/>
          </a:xfrm>
          <a:prstGeom prst="bentArrow">
            <a:avLst/>
          </a:prstGeom>
          <a:solidFill>
            <a:srgbClr val="64646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5" name="Bent Arrow 34"/>
          <p:cNvSpPr/>
          <p:nvPr/>
        </p:nvSpPr>
        <p:spPr>
          <a:xfrm flipH="1" flipV="1">
            <a:off x="9304171" y="3222081"/>
            <a:ext cx="1044000" cy="524860"/>
          </a:xfrm>
          <a:prstGeom prst="bentArrow">
            <a:avLst/>
          </a:prstGeom>
          <a:solidFill>
            <a:srgbClr val="64646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142" name="Group 141"/>
          <p:cNvGrpSpPr/>
          <p:nvPr/>
        </p:nvGrpSpPr>
        <p:grpSpPr>
          <a:xfrm>
            <a:off x="9217180" y="1414885"/>
            <a:ext cx="500436" cy="879215"/>
            <a:chOff x="9217180" y="1414885"/>
            <a:chExt cx="500436" cy="879215"/>
          </a:xfrm>
        </p:grpSpPr>
        <p:grpSp>
          <p:nvGrpSpPr>
            <p:cNvPr id="38" name="Group 37"/>
            <p:cNvGrpSpPr/>
            <p:nvPr/>
          </p:nvGrpSpPr>
          <p:grpSpPr>
            <a:xfrm>
              <a:off x="9296098" y="1640119"/>
              <a:ext cx="349445" cy="653981"/>
              <a:chOff x="1012797" y="1813852"/>
              <a:chExt cx="529462" cy="990880"/>
            </a:xfrm>
          </p:grpSpPr>
          <p:cxnSp>
            <p:nvCxnSpPr>
              <p:cNvPr id="47" name="Straight Connector 46"/>
              <p:cNvCxnSpPr/>
              <p:nvPr/>
            </p:nvCxnSpPr>
            <p:spPr>
              <a:xfrm flipV="1">
                <a:off x="1012797" y="1933195"/>
                <a:ext cx="262985" cy="87153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/>
            </p:nvCxnSpPr>
            <p:spPr>
              <a:xfrm flipH="1" flipV="1">
                <a:off x="1275783" y="1933194"/>
                <a:ext cx="266472" cy="871533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 flipH="1">
                <a:off x="1012797" y="2500629"/>
                <a:ext cx="435003" cy="304098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 flipH="1" flipV="1">
                <a:off x="1117685" y="2507540"/>
                <a:ext cx="424574" cy="29719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/>
            </p:nvCxnSpPr>
            <p:spPr>
              <a:xfrm>
                <a:off x="1186202" y="2252663"/>
                <a:ext cx="244729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 flipH="1">
                <a:off x="1119219" y="2252663"/>
                <a:ext cx="244698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 flipH="1">
                <a:off x="1211419" y="2085461"/>
                <a:ext cx="97148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>
                <a:off x="1241568" y="2085461"/>
                <a:ext cx="102949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Oval 54"/>
              <p:cNvSpPr>
                <a:spLocks noChangeAspect="1"/>
              </p:cNvSpPr>
              <p:nvPr/>
            </p:nvSpPr>
            <p:spPr>
              <a:xfrm>
                <a:off x="1204054" y="1813852"/>
                <a:ext cx="144000" cy="144000"/>
              </a:xfrm>
              <a:prstGeom prst="ellipse">
                <a:avLst/>
              </a:prstGeom>
              <a:solidFill>
                <a:srgbClr val="646464"/>
              </a:solidFill>
              <a:ln w="9525"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9217181" y="1414886"/>
              <a:ext cx="500435" cy="555036"/>
              <a:chOff x="738566" y="1243910"/>
              <a:chExt cx="758235" cy="840963"/>
            </a:xfrm>
          </p:grpSpPr>
          <p:sp>
            <p:nvSpPr>
              <p:cNvPr id="44" name="Arc 43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5" name="Arc 44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6" name="Arc 45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 flipH="1">
              <a:off x="9217180" y="1414885"/>
              <a:ext cx="500435" cy="555036"/>
              <a:chOff x="738566" y="1243910"/>
              <a:chExt cx="758235" cy="840963"/>
            </a:xfrm>
          </p:grpSpPr>
          <p:sp>
            <p:nvSpPr>
              <p:cNvPr id="41" name="Arc 40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2" name="Arc 41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3" name="Arc 42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grpSp>
        <p:nvGrpSpPr>
          <p:cNvPr id="56" name="Group 55"/>
          <p:cNvGrpSpPr>
            <a:grpSpLocks noChangeAspect="1"/>
          </p:cNvGrpSpPr>
          <p:nvPr/>
        </p:nvGrpSpPr>
        <p:grpSpPr>
          <a:xfrm>
            <a:off x="10791639" y="1405397"/>
            <a:ext cx="500436" cy="879215"/>
            <a:chOff x="893225" y="1472588"/>
            <a:chExt cx="758236" cy="1332144"/>
          </a:xfrm>
        </p:grpSpPr>
        <p:grpSp>
          <p:nvGrpSpPr>
            <p:cNvPr id="57" name="Group 56"/>
            <p:cNvGrpSpPr/>
            <p:nvPr/>
          </p:nvGrpSpPr>
          <p:grpSpPr>
            <a:xfrm>
              <a:off x="1012797" y="1813852"/>
              <a:ext cx="529462" cy="990880"/>
              <a:chOff x="1012797" y="1813852"/>
              <a:chExt cx="529462" cy="990880"/>
            </a:xfrm>
          </p:grpSpPr>
          <p:cxnSp>
            <p:nvCxnSpPr>
              <p:cNvPr id="66" name="Straight Connector 65"/>
              <p:cNvCxnSpPr/>
              <p:nvPr/>
            </p:nvCxnSpPr>
            <p:spPr>
              <a:xfrm flipV="1">
                <a:off x="1012797" y="1933195"/>
                <a:ext cx="262985" cy="87153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>
              <a:xfrm flipH="1" flipV="1">
                <a:off x="1275783" y="1933194"/>
                <a:ext cx="266472" cy="871533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>
              <a:xfrm flipH="1">
                <a:off x="1012797" y="2500629"/>
                <a:ext cx="435003" cy="304098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>
              <a:xfrm flipH="1" flipV="1">
                <a:off x="1117685" y="2507540"/>
                <a:ext cx="424574" cy="297192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>
              <a:xfrm>
                <a:off x="1186202" y="2252663"/>
                <a:ext cx="244729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/>
            </p:nvCxnSpPr>
            <p:spPr>
              <a:xfrm flipH="1">
                <a:off x="1119219" y="2252663"/>
                <a:ext cx="244698" cy="193089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/>
            </p:nvCxnSpPr>
            <p:spPr>
              <a:xfrm flipH="1">
                <a:off x="1211419" y="2085461"/>
                <a:ext cx="97148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/>
            </p:nvCxnSpPr>
            <p:spPr>
              <a:xfrm>
                <a:off x="1241568" y="2085461"/>
                <a:ext cx="102949" cy="111155"/>
              </a:xfrm>
              <a:prstGeom prst="line">
                <a:avLst/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Oval 73"/>
              <p:cNvSpPr>
                <a:spLocks noChangeAspect="1"/>
              </p:cNvSpPr>
              <p:nvPr/>
            </p:nvSpPr>
            <p:spPr>
              <a:xfrm>
                <a:off x="1204054" y="1813852"/>
                <a:ext cx="144000" cy="144000"/>
              </a:xfrm>
              <a:prstGeom prst="ellipse">
                <a:avLst/>
              </a:prstGeom>
              <a:solidFill>
                <a:srgbClr val="646464"/>
              </a:solidFill>
              <a:ln w="9525">
                <a:solidFill>
                  <a:srgbClr val="6464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893226" y="1472589"/>
              <a:ext cx="758235" cy="840963"/>
              <a:chOff x="738566" y="1243910"/>
              <a:chExt cx="758235" cy="840963"/>
            </a:xfrm>
          </p:grpSpPr>
          <p:sp>
            <p:nvSpPr>
              <p:cNvPr id="63" name="Arc 62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64" name="Arc 63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65" name="Arc 64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 flipH="1">
              <a:off x="893225" y="1472588"/>
              <a:ext cx="758235" cy="840963"/>
              <a:chOff x="738566" y="1243910"/>
              <a:chExt cx="758235" cy="840963"/>
            </a:xfrm>
          </p:grpSpPr>
          <p:sp>
            <p:nvSpPr>
              <p:cNvPr id="60" name="Arc 59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61" name="Arc 60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62" name="Arc 61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sp>
        <p:nvSpPr>
          <p:cNvPr id="75" name="TextBox 74"/>
          <p:cNvSpPr txBox="1"/>
          <p:nvPr/>
        </p:nvSpPr>
        <p:spPr>
          <a:xfrm>
            <a:off x="9940135" y="1492211"/>
            <a:ext cx="628985" cy="821763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6000" dirty="0" smtClean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9712219" y="2229818"/>
            <a:ext cx="99568" cy="285463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9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1300475" y="2236358"/>
            <a:ext cx="99568" cy="272382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b="1" dirty="0" smtClean="0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153" name="Group 152"/>
          <p:cNvGrpSpPr/>
          <p:nvPr/>
        </p:nvGrpSpPr>
        <p:grpSpPr>
          <a:xfrm>
            <a:off x="6274510" y="1496743"/>
            <a:ext cx="664234" cy="846673"/>
            <a:chOff x="6240220" y="1496743"/>
            <a:chExt cx="664234" cy="846673"/>
          </a:xfrm>
        </p:grpSpPr>
        <p:grpSp>
          <p:nvGrpSpPr>
            <p:cNvPr id="134" name="Group 55"/>
            <p:cNvGrpSpPr>
              <a:grpSpLocks/>
            </p:cNvGrpSpPr>
            <p:nvPr/>
          </p:nvGrpSpPr>
          <p:grpSpPr bwMode="auto">
            <a:xfrm>
              <a:off x="6240220" y="1597291"/>
              <a:ext cx="474663" cy="746125"/>
              <a:chOff x="5092293" y="1052736"/>
              <a:chExt cx="474865" cy="745726"/>
            </a:xfrm>
            <a:solidFill>
              <a:srgbClr val="646464"/>
            </a:solidFill>
          </p:grpSpPr>
          <p:sp>
            <p:nvSpPr>
              <p:cNvPr id="135" name="Freeform 25"/>
              <p:cNvSpPr>
                <a:spLocks noEditPoints="1"/>
              </p:cNvSpPr>
              <p:nvPr/>
            </p:nvSpPr>
            <p:spPr bwMode="auto">
              <a:xfrm>
                <a:off x="5092293" y="1052736"/>
                <a:ext cx="474865" cy="745726"/>
              </a:xfrm>
              <a:custGeom>
                <a:avLst/>
                <a:gdLst>
                  <a:gd name="T0" fmla="*/ 2147483647 w 277"/>
                  <a:gd name="T1" fmla="*/ 2147483647 h 435"/>
                  <a:gd name="T2" fmla="*/ 2147483647 w 277"/>
                  <a:gd name="T3" fmla="*/ 2147483647 h 435"/>
                  <a:gd name="T4" fmla="*/ 2147483647 w 277"/>
                  <a:gd name="T5" fmla="*/ 0 h 435"/>
                  <a:gd name="T6" fmla="*/ 2147483647 w 277"/>
                  <a:gd name="T7" fmla="*/ 2147483647 h 435"/>
                  <a:gd name="T8" fmla="*/ 2147483647 w 277"/>
                  <a:gd name="T9" fmla="*/ 2147483647 h 435"/>
                  <a:gd name="T10" fmla="*/ 0 w 277"/>
                  <a:gd name="T11" fmla="*/ 2147483647 h 435"/>
                  <a:gd name="T12" fmla="*/ 2147483647 w 277"/>
                  <a:gd name="T13" fmla="*/ 2147483647 h 435"/>
                  <a:gd name="T14" fmla="*/ 2147483647 w 277"/>
                  <a:gd name="T15" fmla="*/ 2147483647 h 435"/>
                  <a:gd name="T16" fmla="*/ 2147483647 w 277"/>
                  <a:gd name="T17" fmla="*/ 2147483647 h 435"/>
                  <a:gd name="T18" fmla="*/ 2147483647 w 277"/>
                  <a:gd name="T19" fmla="*/ 2147483647 h 435"/>
                  <a:gd name="T20" fmla="*/ 2147483647 w 277"/>
                  <a:gd name="T21" fmla="*/ 2147483647 h 435"/>
                  <a:gd name="T22" fmla="*/ 2147483647 w 277"/>
                  <a:gd name="T23" fmla="*/ 2147483647 h 435"/>
                  <a:gd name="T24" fmla="*/ 2147483647 w 277"/>
                  <a:gd name="T25" fmla="*/ 2147483647 h 435"/>
                  <a:gd name="T26" fmla="*/ 2147483647 w 277"/>
                  <a:gd name="T27" fmla="*/ 2147483647 h 435"/>
                  <a:gd name="T28" fmla="*/ 2147483647 w 277"/>
                  <a:gd name="T29" fmla="*/ 2147483647 h 435"/>
                  <a:gd name="T30" fmla="*/ 2147483647 w 277"/>
                  <a:gd name="T31" fmla="*/ 2147483647 h 435"/>
                  <a:gd name="T32" fmla="*/ 2147483647 w 277"/>
                  <a:gd name="T33" fmla="*/ 2147483647 h 435"/>
                  <a:gd name="T34" fmla="*/ 2147483647 w 277"/>
                  <a:gd name="T35" fmla="*/ 2147483647 h 435"/>
                  <a:gd name="T36" fmla="*/ 2147483647 w 277"/>
                  <a:gd name="T37" fmla="*/ 2147483647 h 435"/>
                  <a:gd name="T38" fmla="*/ 2147483647 w 277"/>
                  <a:gd name="T39" fmla="*/ 2147483647 h 435"/>
                  <a:gd name="T40" fmla="*/ 2147483647 w 277"/>
                  <a:gd name="T41" fmla="*/ 2147483647 h 435"/>
                  <a:gd name="T42" fmla="*/ 2147483647 w 277"/>
                  <a:gd name="T43" fmla="*/ 2147483647 h 435"/>
                  <a:gd name="T44" fmla="*/ 2147483647 w 277"/>
                  <a:gd name="T45" fmla="*/ 2147483647 h 435"/>
                  <a:gd name="T46" fmla="*/ 2147483647 w 277"/>
                  <a:gd name="T47" fmla="*/ 2147483647 h 435"/>
                  <a:gd name="T48" fmla="*/ 2147483647 w 277"/>
                  <a:gd name="T49" fmla="*/ 2147483647 h 435"/>
                  <a:gd name="T50" fmla="*/ 2147483647 w 277"/>
                  <a:gd name="T51" fmla="*/ 2147483647 h 435"/>
                  <a:gd name="T52" fmla="*/ 2147483647 w 277"/>
                  <a:gd name="T53" fmla="*/ 2147483647 h 435"/>
                  <a:gd name="T54" fmla="*/ 2147483647 w 277"/>
                  <a:gd name="T55" fmla="*/ 2147483647 h 435"/>
                  <a:gd name="T56" fmla="*/ 2147483647 w 277"/>
                  <a:gd name="T57" fmla="*/ 2147483647 h 435"/>
                  <a:gd name="T58" fmla="*/ 2147483647 w 277"/>
                  <a:gd name="T59" fmla="*/ 2147483647 h 435"/>
                  <a:gd name="T60" fmla="*/ 2147483647 w 277"/>
                  <a:gd name="T61" fmla="*/ 2147483647 h 435"/>
                  <a:gd name="T62" fmla="*/ 2147483647 w 277"/>
                  <a:gd name="T63" fmla="*/ 2147483647 h 435"/>
                  <a:gd name="T64" fmla="*/ 2147483647 w 277"/>
                  <a:gd name="T65" fmla="*/ 2147483647 h 435"/>
                  <a:gd name="T66" fmla="*/ 2147483647 w 277"/>
                  <a:gd name="T67" fmla="*/ 2147483647 h 435"/>
                  <a:gd name="T68" fmla="*/ 2147483647 w 277"/>
                  <a:gd name="T69" fmla="*/ 2147483647 h 435"/>
                  <a:gd name="T70" fmla="*/ 2147483647 w 277"/>
                  <a:gd name="T71" fmla="*/ 2147483647 h 435"/>
                  <a:gd name="T72" fmla="*/ 2147483647 w 277"/>
                  <a:gd name="T73" fmla="*/ 2147483647 h 435"/>
                  <a:gd name="T74" fmla="*/ 2147483647 w 277"/>
                  <a:gd name="T75" fmla="*/ 2147483647 h 435"/>
                  <a:gd name="T76" fmla="*/ 2147483647 w 277"/>
                  <a:gd name="T77" fmla="*/ 2147483647 h 435"/>
                  <a:gd name="T78" fmla="*/ 2147483647 w 277"/>
                  <a:gd name="T79" fmla="*/ 2147483647 h 435"/>
                  <a:gd name="T80" fmla="*/ 2147483647 w 277"/>
                  <a:gd name="T81" fmla="*/ 2147483647 h 43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77" h="435">
                    <a:moveTo>
                      <a:pt x="277" y="394"/>
                    </a:moveTo>
                    <a:lnTo>
                      <a:pt x="277" y="41"/>
                    </a:lnTo>
                    <a:lnTo>
                      <a:pt x="274" y="26"/>
                    </a:lnTo>
                    <a:lnTo>
                      <a:pt x="266" y="11"/>
                    </a:lnTo>
                    <a:lnTo>
                      <a:pt x="251" y="2"/>
                    </a:lnTo>
                    <a:lnTo>
                      <a:pt x="235" y="0"/>
                    </a:lnTo>
                    <a:lnTo>
                      <a:pt x="42" y="0"/>
                    </a:lnTo>
                    <a:lnTo>
                      <a:pt x="26" y="2"/>
                    </a:lnTo>
                    <a:lnTo>
                      <a:pt x="13" y="11"/>
                    </a:lnTo>
                    <a:lnTo>
                      <a:pt x="3" y="26"/>
                    </a:lnTo>
                    <a:lnTo>
                      <a:pt x="0" y="41"/>
                    </a:lnTo>
                    <a:lnTo>
                      <a:pt x="0" y="394"/>
                    </a:lnTo>
                    <a:lnTo>
                      <a:pt x="3" y="409"/>
                    </a:lnTo>
                    <a:lnTo>
                      <a:pt x="13" y="424"/>
                    </a:lnTo>
                    <a:lnTo>
                      <a:pt x="26" y="432"/>
                    </a:lnTo>
                    <a:lnTo>
                      <a:pt x="42" y="435"/>
                    </a:lnTo>
                    <a:lnTo>
                      <a:pt x="235" y="435"/>
                    </a:lnTo>
                    <a:lnTo>
                      <a:pt x="251" y="432"/>
                    </a:lnTo>
                    <a:lnTo>
                      <a:pt x="266" y="424"/>
                    </a:lnTo>
                    <a:lnTo>
                      <a:pt x="274" y="409"/>
                    </a:lnTo>
                    <a:lnTo>
                      <a:pt x="277" y="394"/>
                    </a:lnTo>
                    <a:close/>
                    <a:moveTo>
                      <a:pt x="117" y="26"/>
                    </a:moveTo>
                    <a:lnTo>
                      <a:pt x="114" y="24"/>
                    </a:lnTo>
                    <a:lnTo>
                      <a:pt x="114" y="23"/>
                    </a:lnTo>
                    <a:lnTo>
                      <a:pt x="114" y="20"/>
                    </a:lnTo>
                    <a:lnTo>
                      <a:pt x="117" y="18"/>
                    </a:lnTo>
                    <a:lnTo>
                      <a:pt x="160" y="18"/>
                    </a:lnTo>
                    <a:lnTo>
                      <a:pt x="163" y="20"/>
                    </a:lnTo>
                    <a:lnTo>
                      <a:pt x="165" y="23"/>
                    </a:lnTo>
                    <a:lnTo>
                      <a:pt x="163" y="24"/>
                    </a:lnTo>
                    <a:lnTo>
                      <a:pt x="160" y="26"/>
                    </a:lnTo>
                    <a:lnTo>
                      <a:pt x="117" y="26"/>
                    </a:lnTo>
                    <a:close/>
                    <a:moveTo>
                      <a:pt x="250" y="352"/>
                    </a:moveTo>
                    <a:lnTo>
                      <a:pt x="250" y="297"/>
                    </a:lnTo>
                    <a:lnTo>
                      <a:pt x="250" y="249"/>
                    </a:lnTo>
                    <a:lnTo>
                      <a:pt x="250" y="204"/>
                    </a:lnTo>
                    <a:lnTo>
                      <a:pt x="250" y="57"/>
                    </a:lnTo>
                    <a:lnTo>
                      <a:pt x="248" y="50"/>
                    </a:lnTo>
                    <a:lnTo>
                      <a:pt x="246" y="46"/>
                    </a:lnTo>
                    <a:lnTo>
                      <a:pt x="241" y="40"/>
                    </a:lnTo>
                    <a:lnTo>
                      <a:pt x="235" y="37"/>
                    </a:lnTo>
                    <a:lnTo>
                      <a:pt x="230" y="37"/>
                    </a:lnTo>
                    <a:lnTo>
                      <a:pt x="48" y="37"/>
                    </a:lnTo>
                    <a:lnTo>
                      <a:pt x="42" y="37"/>
                    </a:lnTo>
                    <a:lnTo>
                      <a:pt x="36" y="40"/>
                    </a:lnTo>
                    <a:lnTo>
                      <a:pt x="32" y="46"/>
                    </a:lnTo>
                    <a:lnTo>
                      <a:pt x="29" y="50"/>
                    </a:lnTo>
                    <a:lnTo>
                      <a:pt x="28" y="57"/>
                    </a:lnTo>
                    <a:lnTo>
                      <a:pt x="28" y="112"/>
                    </a:lnTo>
                    <a:lnTo>
                      <a:pt x="28" y="160"/>
                    </a:lnTo>
                    <a:lnTo>
                      <a:pt x="28" y="249"/>
                    </a:lnTo>
                    <a:lnTo>
                      <a:pt x="28" y="297"/>
                    </a:lnTo>
                    <a:lnTo>
                      <a:pt x="28" y="352"/>
                    </a:lnTo>
                    <a:lnTo>
                      <a:pt x="29" y="359"/>
                    </a:lnTo>
                    <a:lnTo>
                      <a:pt x="32" y="365"/>
                    </a:lnTo>
                    <a:lnTo>
                      <a:pt x="36" y="369"/>
                    </a:lnTo>
                    <a:lnTo>
                      <a:pt x="42" y="372"/>
                    </a:lnTo>
                    <a:lnTo>
                      <a:pt x="48" y="372"/>
                    </a:lnTo>
                    <a:lnTo>
                      <a:pt x="230" y="372"/>
                    </a:lnTo>
                    <a:lnTo>
                      <a:pt x="235" y="372"/>
                    </a:lnTo>
                    <a:lnTo>
                      <a:pt x="241" y="369"/>
                    </a:lnTo>
                    <a:lnTo>
                      <a:pt x="246" y="365"/>
                    </a:lnTo>
                    <a:lnTo>
                      <a:pt x="248" y="359"/>
                    </a:lnTo>
                    <a:lnTo>
                      <a:pt x="250" y="352"/>
                    </a:lnTo>
                    <a:close/>
                    <a:moveTo>
                      <a:pt x="117" y="412"/>
                    </a:moveTo>
                    <a:lnTo>
                      <a:pt x="113" y="412"/>
                    </a:lnTo>
                    <a:lnTo>
                      <a:pt x="110" y="409"/>
                    </a:lnTo>
                    <a:lnTo>
                      <a:pt x="107" y="407"/>
                    </a:lnTo>
                    <a:lnTo>
                      <a:pt x="106" y="402"/>
                    </a:lnTo>
                    <a:lnTo>
                      <a:pt x="107" y="398"/>
                    </a:lnTo>
                    <a:lnTo>
                      <a:pt x="110" y="395"/>
                    </a:lnTo>
                    <a:lnTo>
                      <a:pt x="113" y="392"/>
                    </a:lnTo>
                    <a:lnTo>
                      <a:pt x="117" y="391"/>
                    </a:lnTo>
                    <a:lnTo>
                      <a:pt x="160" y="391"/>
                    </a:lnTo>
                    <a:lnTo>
                      <a:pt x="165" y="392"/>
                    </a:lnTo>
                    <a:lnTo>
                      <a:pt x="169" y="395"/>
                    </a:lnTo>
                    <a:lnTo>
                      <a:pt x="171" y="398"/>
                    </a:lnTo>
                    <a:lnTo>
                      <a:pt x="172" y="402"/>
                    </a:lnTo>
                    <a:lnTo>
                      <a:pt x="171" y="407"/>
                    </a:lnTo>
                    <a:lnTo>
                      <a:pt x="169" y="409"/>
                    </a:lnTo>
                    <a:lnTo>
                      <a:pt x="165" y="412"/>
                    </a:lnTo>
                    <a:lnTo>
                      <a:pt x="160" y="412"/>
                    </a:lnTo>
                    <a:lnTo>
                      <a:pt x="117" y="4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nb-NO" sz="1600">
                  <a:solidFill>
                    <a:srgbClr val="646464"/>
                  </a:solidFill>
                </a:endParaRPr>
              </a:p>
            </p:txBody>
          </p:sp>
          <p:sp>
            <p:nvSpPr>
              <p:cNvPr id="136" name="Freeform 26"/>
              <p:cNvSpPr>
                <a:spLocks/>
              </p:cNvSpPr>
              <p:nvPr/>
            </p:nvSpPr>
            <p:spPr bwMode="auto">
              <a:xfrm>
                <a:off x="5226009" y="1577315"/>
                <a:ext cx="207432" cy="39430"/>
              </a:xfrm>
              <a:custGeom>
                <a:avLst/>
                <a:gdLst>
                  <a:gd name="T0" fmla="*/ 2147483647 w 121"/>
                  <a:gd name="T1" fmla="*/ 2147483647 h 23"/>
                  <a:gd name="T2" fmla="*/ 2147483647 w 121"/>
                  <a:gd name="T3" fmla="*/ 2147483647 h 23"/>
                  <a:gd name="T4" fmla="*/ 2147483647 w 121"/>
                  <a:gd name="T5" fmla="*/ 2147483647 h 23"/>
                  <a:gd name="T6" fmla="*/ 0 w 121"/>
                  <a:gd name="T7" fmla="*/ 2147483647 h 23"/>
                  <a:gd name="T8" fmla="*/ 0 w 121"/>
                  <a:gd name="T9" fmla="*/ 2147483647 h 23"/>
                  <a:gd name="T10" fmla="*/ 0 w 121"/>
                  <a:gd name="T11" fmla="*/ 2147483647 h 23"/>
                  <a:gd name="T12" fmla="*/ 2147483647 w 121"/>
                  <a:gd name="T13" fmla="*/ 2147483647 h 23"/>
                  <a:gd name="T14" fmla="*/ 2147483647 w 121"/>
                  <a:gd name="T15" fmla="*/ 2147483647 h 23"/>
                  <a:gd name="T16" fmla="*/ 2147483647 w 121"/>
                  <a:gd name="T17" fmla="*/ 0 h 23"/>
                  <a:gd name="T18" fmla="*/ 2147483647 w 121"/>
                  <a:gd name="T19" fmla="*/ 0 h 23"/>
                  <a:gd name="T20" fmla="*/ 2147483647 w 121"/>
                  <a:gd name="T21" fmla="*/ 2147483647 h 23"/>
                  <a:gd name="T22" fmla="*/ 2147483647 w 121"/>
                  <a:gd name="T23" fmla="*/ 2147483647 h 23"/>
                  <a:gd name="T24" fmla="*/ 2147483647 w 121"/>
                  <a:gd name="T25" fmla="*/ 2147483647 h 23"/>
                  <a:gd name="T26" fmla="*/ 2147483647 w 121"/>
                  <a:gd name="T27" fmla="*/ 2147483647 h 23"/>
                  <a:gd name="T28" fmla="*/ 2147483647 w 121"/>
                  <a:gd name="T29" fmla="*/ 2147483647 h 23"/>
                  <a:gd name="T30" fmla="*/ 2147483647 w 121"/>
                  <a:gd name="T31" fmla="*/ 2147483647 h 23"/>
                  <a:gd name="T32" fmla="*/ 2147483647 w 121"/>
                  <a:gd name="T33" fmla="*/ 2147483647 h 23"/>
                  <a:gd name="T34" fmla="*/ 2147483647 w 121"/>
                  <a:gd name="T35" fmla="*/ 2147483647 h 23"/>
                  <a:gd name="T36" fmla="*/ 2147483647 w 121"/>
                  <a:gd name="T37" fmla="*/ 2147483647 h 2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121" h="23">
                    <a:moveTo>
                      <a:pt x="10" y="23"/>
                    </a:moveTo>
                    <a:lnTo>
                      <a:pt x="6" y="21"/>
                    </a:lnTo>
                    <a:lnTo>
                      <a:pt x="3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4"/>
                    </a:lnTo>
                    <a:lnTo>
                      <a:pt x="6" y="1"/>
                    </a:lnTo>
                    <a:lnTo>
                      <a:pt x="10" y="0"/>
                    </a:lnTo>
                    <a:lnTo>
                      <a:pt x="111" y="0"/>
                    </a:lnTo>
                    <a:lnTo>
                      <a:pt x="116" y="1"/>
                    </a:lnTo>
                    <a:lnTo>
                      <a:pt x="118" y="4"/>
                    </a:lnTo>
                    <a:lnTo>
                      <a:pt x="121" y="7"/>
                    </a:lnTo>
                    <a:lnTo>
                      <a:pt x="121" y="11"/>
                    </a:lnTo>
                    <a:lnTo>
                      <a:pt x="121" y="15"/>
                    </a:lnTo>
                    <a:lnTo>
                      <a:pt x="118" y="18"/>
                    </a:lnTo>
                    <a:lnTo>
                      <a:pt x="116" y="21"/>
                    </a:lnTo>
                    <a:lnTo>
                      <a:pt x="111" y="23"/>
                    </a:lnTo>
                    <a:lnTo>
                      <a:pt x="10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nb-NO" sz="160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" name="Freeform 27"/>
              <p:cNvSpPr>
                <a:spLocks noEditPoints="1"/>
              </p:cNvSpPr>
              <p:nvPr/>
            </p:nvSpPr>
            <p:spPr bwMode="auto">
              <a:xfrm>
                <a:off x="5196867" y="1215595"/>
                <a:ext cx="267432" cy="303434"/>
              </a:xfrm>
              <a:custGeom>
                <a:avLst/>
                <a:gdLst>
                  <a:gd name="T0" fmla="*/ 2147483647 w 156"/>
                  <a:gd name="T1" fmla="*/ 0 h 177"/>
                  <a:gd name="T2" fmla="*/ 2147483647 w 156"/>
                  <a:gd name="T3" fmla="*/ 2147483647 h 177"/>
                  <a:gd name="T4" fmla="*/ 2147483647 w 156"/>
                  <a:gd name="T5" fmla="*/ 2147483647 h 177"/>
                  <a:gd name="T6" fmla="*/ 2147483647 w 156"/>
                  <a:gd name="T7" fmla="*/ 2147483647 h 177"/>
                  <a:gd name="T8" fmla="*/ 2147483647 w 156"/>
                  <a:gd name="T9" fmla="*/ 2147483647 h 177"/>
                  <a:gd name="T10" fmla="*/ 2147483647 w 156"/>
                  <a:gd name="T11" fmla="*/ 2147483647 h 177"/>
                  <a:gd name="T12" fmla="*/ 2147483647 w 156"/>
                  <a:gd name="T13" fmla="*/ 2147483647 h 177"/>
                  <a:gd name="T14" fmla="*/ 2147483647 w 156"/>
                  <a:gd name="T15" fmla="*/ 2147483647 h 177"/>
                  <a:gd name="T16" fmla="*/ 2147483647 w 156"/>
                  <a:gd name="T17" fmla="*/ 2147483647 h 177"/>
                  <a:gd name="T18" fmla="*/ 2147483647 w 156"/>
                  <a:gd name="T19" fmla="*/ 2147483647 h 177"/>
                  <a:gd name="T20" fmla="*/ 2147483647 w 156"/>
                  <a:gd name="T21" fmla="*/ 2147483647 h 177"/>
                  <a:gd name="T22" fmla="*/ 2147483647 w 156"/>
                  <a:gd name="T23" fmla="*/ 2147483647 h 177"/>
                  <a:gd name="T24" fmla="*/ 2147483647 w 156"/>
                  <a:gd name="T25" fmla="*/ 2147483647 h 177"/>
                  <a:gd name="T26" fmla="*/ 2147483647 w 156"/>
                  <a:gd name="T27" fmla="*/ 2147483647 h 177"/>
                  <a:gd name="T28" fmla="*/ 2147483647 w 156"/>
                  <a:gd name="T29" fmla="*/ 2147483647 h 177"/>
                  <a:gd name="T30" fmla="*/ 2147483647 w 156"/>
                  <a:gd name="T31" fmla="*/ 2147483647 h 177"/>
                  <a:gd name="T32" fmla="*/ 2147483647 w 156"/>
                  <a:gd name="T33" fmla="*/ 0 h 177"/>
                  <a:gd name="T34" fmla="*/ 2147483647 w 156"/>
                  <a:gd name="T35" fmla="*/ 2147483647 h 177"/>
                  <a:gd name="T36" fmla="*/ 2147483647 w 156"/>
                  <a:gd name="T37" fmla="*/ 2147483647 h 177"/>
                  <a:gd name="T38" fmla="*/ 2147483647 w 156"/>
                  <a:gd name="T39" fmla="*/ 2147483647 h 177"/>
                  <a:gd name="T40" fmla="*/ 2147483647 w 156"/>
                  <a:gd name="T41" fmla="*/ 2147483647 h 177"/>
                  <a:gd name="T42" fmla="*/ 2147483647 w 156"/>
                  <a:gd name="T43" fmla="*/ 2147483647 h 177"/>
                  <a:gd name="T44" fmla="*/ 2147483647 w 156"/>
                  <a:gd name="T45" fmla="*/ 2147483647 h 177"/>
                  <a:gd name="T46" fmla="*/ 2147483647 w 156"/>
                  <a:gd name="T47" fmla="*/ 2147483647 h 177"/>
                  <a:gd name="T48" fmla="*/ 2147483647 w 156"/>
                  <a:gd name="T49" fmla="*/ 2147483647 h 177"/>
                  <a:gd name="T50" fmla="*/ 2147483647 w 156"/>
                  <a:gd name="T51" fmla="*/ 2147483647 h 177"/>
                  <a:gd name="T52" fmla="*/ 2147483647 w 156"/>
                  <a:gd name="T53" fmla="*/ 2147483647 h 177"/>
                  <a:gd name="T54" fmla="*/ 2147483647 w 156"/>
                  <a:gd name="T55" fmla="*/ 2147483647 h 177"/>
                  <a:gd name="T56" fmla="*/ 2147483647 w 156"/>
                  <a:gd name="T57" fmla="*/ 2147483647 h 177"/>
                  <a:gd name="T58" fmla="*/ 2147483647 w 156"/>
                  <a:gd name="T59" fmla="*/ 2147483647 h 177"/>
                  <a:gd name="T60" fmla="*/ 2147483647 w 156"/>
                  <a:gd name="T61" fmla="*/ 2147483647 h 177"/>
                  <a:gd name="T62" fmla="*/ 2147483647 w 156"/>
                  <a:gd name="T63" fmla="*/ 2147483647 h 177"/>
                  <a:gd name="T64" fmla="*/ 2147483647 w 156"/>
                  <a:gd name="T65" fmla="*/ 2147483647 h 177"/>
                  <a:gd name="T66" fmla="*/ 2147483647 w 156"/>
                  <a:gd name="T67" fmla="*/ 2147483647 h 177"/>
                  <a:gd name="T68" fmla="*/ 2147483647 w 156"/>
                  <a:gd name="T69" fmla="*/ 2147483647 h 177"/>
                  <a:gd name="T70" fmla="*/ 2147483647 w 156"/>
                  <a:gd name="T71" fmla="*/ 2147483647 h 177"/>
                  <a:gd name="T72" fmla="*/ 2147483647 w 156"/>
                  <a:gd name="T73" fmla="*/ 2147483647 h 177"/>
                  <a:gd name="T74" fmla="*/ 2147483647 w 156"/>
                  <a:gd name="T75" fmla="*/ 2147483647 h 177"/>
                  <a:gd name="T76" fmla="*/ 2147483647 w 156"/>
                  <a:gd name="T77" fmla="*/ 2147483647 h 177"/>
                  <a:gd name="T78" fmla="*/ 2147483647 w 156"/>
                  <a:gd name="T79" fmla="*/ 2147483647 h 177"/>
                  <a:gd name="T80" fmla="*/ 2147483647 w 156"/>
                  <a:gd name="T81" fmla="*/ 2147483647 h 177"/>
                  <a:gd name="T82" fmla="*/ 2147483647 w 156"/>
                  <a:gd name="T83" fmla="*/ 2147483647 h 177"/>
                  <a:gd name="T84" fmla="*/ 2147483647 w 156"/>
                  <a:gd name="T85" fmla="*/ 2147483647 h 177"/>
                  <a:gd name="T86" fmla="*/ 2147483647 w 156"/>
                  <a:gd name="T87" fmla="*/ 2147483647 h 177"/>
                  <a:gd name="T88" fmla="*/ 2147483647 w 156"/>
                  <a:gd name="T89" fmla="*/ 2147483647 h 177"/>
                  <a:gd name="T90" fmla="*/ 2147483647 w 156"/>
                  <a:gd name="T91" fmla="*/ 2147483647 h 177"/>
                  <a:gd name="T92" fmla="*/ 2147483647 w 156"/>
                  <a:gd name="T93" fmla="*/ 2147483647 h 177"/>
                  <a:gd name="T94" fmla="*/ 0 w 156"/>
                  <a:gd name="T95" fmla="*/ 2147483647 h 177"/>
                  <a:gd name="T96" fmla="*/ 2147483647 w 156"/>
                  <a:gd name="T97" fmla="*/ 2147483647 h 177"/>
                  <a:gd name="T98" fmla="*/ 2147483647 w 156"/>
                  <a:gd name="T99" fmla="*/ 2147483647 h 177"/>
                  <a:gd name="T100" fmla="*/ 2147483647 w 156"/>
                  <a:gd name="T101" fmla="*/ 2147483647 h 177"/>
                  <a:gd name="T102" fmla="*/ 2147483647 w 156"/>
                  <a:gd name="T103" fmla="*/ 2147483647 h 17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56" h="177">
                    <a:moveTo>
                      <a:pt x="78" y="0"/>
                    </a:moveTo>
                    <a:lnTo>
                      <a:pt x="62" y="4"/>
                    </a:lnTo>
                    <a:lnTo>
                      <a:pt x="52" y="14"/>
                    </a:lnTo>
                    <a:lnTo>
                      <a:pt x="47" y="29"/>
                    </a:lnTo>
                    <a:lnTo>
                      <a:pt x="49" y="40"/>
                    </a:lnTo>
                    <a:lnTo>
                      <a:pt x="53" y="53"/>
                    </a:lnTo>
                    <a:lnTo>
                      <a:pt x="59" y="66"/>
                    </a:lnTo>
                    <a:lnTo>
                      <a:pt x="68" y="75"/>
                    </a:lnTo>
                    <a:lnTo>
                      <a:pt x="78" y="79"/>
                    </a:lnTo>
                    <a:lnTo>
                      <a:pt x="88" y="75"/>
                    </a:lnTo>
                    <a:lnTo>
                      <a:pt x="97" y="66"/>
                    </a:lnTo>
                    <a:lnTo>
                      <a:pt x="102" y="53"/>
                    </a:lnTo>
                    <a:lnTo>
                      <a:pt x="107" y="40"/>
                    </a:lnTo>
                    <a:lnTo>
                      <a:pt x="108" y="29"/>
                    </a:lnTo>
                    <a:lnTo>
                      <a:pt x="104" y="14"/>
                    </a:lnTo>
                    <a:lnTo>
                      <a:pt x="94" y="4"/>
                    </a:lnTo>
                    <a:lnTo>
                      <a:pt x="78" y="0"/>
                    </a:lnTo>
                    <a:close/>
                    <a:moveTo>
                      <a:pt x="14" y="105"/>
                    </a:moveTo>
                    <a:lnTo>
                      <a:pt x="17" y="102"/>
                    </a:lnTo>
                    <a:lnTo>
                      <a:pt x="20" y="99"/>
                    </a:lnTo>
                    <a:lnTo>
                      <a:pt x="24" y="97"/>
                    </a:lnTo>
                    <a:lnTo>
                      <a:pt x="32" y="94"/>
                    </a:lnTo>
                    <a:lnTo>
                      <a:pt x="40" y="91"/>
                    </a:lnTo>
                    <a:lnTo>
                      <a:pt x="49" y="86"/>
                    </a:lnTo>
                    <a:lnTo>
                      <a:pt x="53" y="85"/>
                    </a:lnTo>
                    <a:lnTo>
                      <a:pt x="56" y="98"/>
                    </a:lnTo>
                    <a:lnTo>
                      <a:pt x="60" y="112"/>
                    </a:lnTo>
                    <a:lnTo>
                      <a:pt x="65" y="128"/>
                    </a:lnTo>
                    <a:lnTo>
                      <a:pt x="69" y="140"/>
                    </a:lnTo>
                    <a:lnTo>
                      <a:pt x="73" y="105"/>
                    </a:lnTo>
                    <a:lnTo>
                      <a:pt x="78" y="102"/>
                    </a:lnTo>
                    <a:lnTo>
                      <a:pt x="84" y="105"/>
                    </a:lnTo>
                    <a:lnTo>
                      <a:pt x="86" y="140"/>
                    </a:lnTo>
                    <a:lnTo>
                      <a:pt x="92" y="128"/>
                    </a:lnTo>
                    <a:lnTo>
                      <a:pt x="97" y="112"/>
                    </a:lnTo>
                    <a:lnTo>
                      <a:pt x="99" y="98"/>
                    </a:lnTo>
                    <a:lnTo>
                      <a:pt x="102" y="85"/>
                    </a:lnTo>
                    <a:lnTo>
                      <a:pt x="135" y="98"/>
                    </a:lnTo>
                    <a:lnTo>
                      <a:pt x="135" y="99"/>
                    </a:lnTo>
                    <a:lnTo>
                      <a:pt x="137" y="101"/>
                    </a:lnTo>
                    <a:lnTo>
                      <a:pt x="138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7" y="122"/>
                    </a:lnTo>
                    <a:lnTo>
                      <a:pt x="151" y="141"/>
                    </a:lnTo>
                    <a:lnTo>
                      <a:pt x="154" y="161"/>
                    </a:lnTo>
                    <a:lnTo>
                      <a:pt x="156" y="177"/>
                    </a:lnTo>
                    <a:lnTo>
                      <a:pt x="0" y="177"/>
                    </a:lnTo>
                    <a:lnTo>
                      <a:pt x="1" y="161"/>
                    </a:lnTo>
                    <a:lnTo>
                      <a:pt x="4" y="141"/>
                    </a:lnTo>
                    <a:lnTo>
                      <a:pt x="8" y="122"/>
                    </a:lnTo>
                    <a:lnTo>
                      <a:pt x="14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nb-NO" sz="1600">
                  <a:solidFill>
                    <a:srgbClr val="646464"/>
                  </a:solidFill>
                </a:endParaRPr>
              </a:p>
            </p:txBody>
          </p:sp>
        </p:grpSp>
        <p:grpSp>
          <p:nvGrpSpPr>
            <p:cNvPr id="138" name="Group 137"/>
            <p:cNvGrpSpPr>
              <a:grpSpLocks noChangeAspect="1"/>
            </p:cNvGrpSpPr>
            <p:nvPr/>
          </p:nvGrpSpPr>
          <p:grpSpPr>
            <a:xfrm flipH="1">
              <a:off x="6547411" y="1496743"/>
              <a:ext cx="357043" cy="396000"/>
              <a:chOff x="738566" y="1243910"/>
              <a:chExt cx="758235" cy="840963"/>
            </a:xfrm>
          </p:grpSpPr>
          <p:sp>
            <p:nvSpPr>
              <p:cNvPr id="139" name="Arc 138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0" name="Arc 139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1" name="Arc 140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grpSp>
        <p:nvGrpSpPr>
          <p:cNvPr id="203" name="Group 202"/>
          <p:cNvGrpSpPr/>
          <p:nvPr/>
        </p:nvGrpSpPr>
        <p:grpSpPr>
          <a:xfrm>
            <a:off x="8048040" y="4309399"/>
            <a:ext cx="878293" cy="822908"/>
            <a:chOff x="8990944" y="4396118"/>
            <a:chExt cx="878293" cy="686855"/>
          </a:xfrm>
        </p:grpSpPr>
        <p:sp>
          <p:nvSpPr>
            <p:cNvPr id="201" name="Double Brace 200"/>
            <p:cNvSpPr/>
            <p:nvPr/>
          </p:nvSpPr>
          <p:spPr>
            <a:xfrm>
              <a:off x="9039633" y="4430333"/>
              <a:ext cx="829604" cy="627352"/>
            </a:xfrm>
            <a:prstGeom prst="bracePair">
              <a:avLst>
                <a:gd name="adj" fmla="val 16295"/>
              </a:avLst>
            </a:prstGeom>
            <a:ln w="38100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8990944" y="4396118"/>
              <a:ext cx="494551" cy="686855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8054576" y="1496743"/>
            <a:ext cx="664234" cy="846673"/>
            <a:chOff x="7917416" y="1487374"/>
            <a:chExt cx="664234" cy="846673"/>
          </a:xfrm>
        </p:grpSpPr>
        <p:grpSp>
          <p:nvGrpSpPr>
            <p:cNvPr id="144" name="Group 55"/>
            <p:cNvGrpSpPr>
              <a:grpSpLocks/>
            </p:cNvGrpSpPr>
            <p:nvPr/>
          </p:nvGrpSpPr>
          <p:grpSpPr bwMode="auto">
            <a:xfrm>
              <a:off x="7917416" y="1587922"/>
              <a:ext cx="474663" cy="746125"/>
              <a:chOff x="5092293" y="1052736"/>
              <a:chExt cx="474865" cy="745726"/>
            </a:xfrm>
            <a:solidFill>
              <a:srgbClr val="646464"/>
            </a:solidFill>
          </p:grpSpPr>
          <p:sp>
            <p:nvSpPr>
              <p:cNvPr id="145" name="Freeform 25"/>
              <p:cNvSpPr>
                <a:spLocks noEditPoints="1"/>
              </p:cNvSpPr>
              <p:nvPr/>
            </p:nvSpPr>
            <p:spPr bwMode="auto">
              <a:xfrm>
                <a:off x="5092293" y="1052736"/>
                <a:ext cx="474865" cy="745726"/>
              </a:xfrm>
              <a:custGeom>
                <a:avLst/>
                <a:gdLst>
                  <a:gd name="T0" fmla="*/ 2147483647 w 277"/>
                  <a:gd name="T1" fmla="*/ 2147483647 h 435"/>
                  <a:gd name="T2" fmla="*/ 2147483647 w 277"/>
                  <a:gd name="T3" fmla="*/ 2147483647 h 435"/>
                  <a:gd name="T4" fmla="*/ 2147483647 w 277"/>
                  <a:gd name="T5" fmla="*/ 0 h 435"/>
                  <a:gd name="T6" fmla="*/ 2147483647 w 277"/>
                  <a:gd name="T7" fmla="*/ 2147483647 h 435"/>
                  <a:gd name="T8" fmla="*/ 2147483647 w 277"/>
                  <a:gd name="T9" fmla="*/ 2147483647 h 435"/>
                  <a:gd name="T10" fmla="*/ 0 w 277"/>
                  <a:gd name="T11" fmla="*/ 2147483647 h 435"/>
                  <a:gd name="T12" fmla="*/ 2147483647 w 277"/>
                  <a:gd name="T13" fmla="*/ 2147483647 h 435"/>
                  <a:gd name="T14" fmla="*/ 2147483647 w 277"/>
                  <a:gd name="T15" fmla="*/ 2147483647 h 435"/>
                  <a:gd name="T16" fmla="*/ 2147483647 w 277"/>
                  <a:gd name="T17" fmla="*/ 2147483647 h 435"/>
                  <a:gd name="T18" fmla="*/ 2147483647 w 277"/>
                  <a:gd name="T19" fmla="*/ 2147483647 h 435"/>
                  <a:gd name="T20" fmla="*/ 2147483647 w 277"/>
                  <a:gd name="T21" fmla="*/ 2147483647 h 435"/>
                  <a:gd name="T22" fmla="*/ 2147483647 w 277"/>
                  <a:gd name="T23" fmla="*/ 2147483647 h 435"/>
                  <a:gd name="T24" fmla="*/ 2147483647 w 277"/>
                  <a:gd name="T25" fmla="*/ 2147483647 h 435"/>
                  <a:gd name="T26" fmla="*/ 2147483647 w 277"/>
                  <a:gd name="T27" fmla="*/ 2147483647 h 435"/>
                  <a:gd name="T28" fmla="*/ 2147483647 w 277"/>
                  <a:gd name="T29" fmla="*/ 2147483647 h 435"/>
                  <a:gd name="T30" fmla="*/ 2147483647 w 277"/>
                  <a:gd name="T31" fmla="*/ 2147483647 h 435"/>
                  <a:gd name="T32" fmla="*/ 2147483647 w 277"/>
                  <a:gd name="T33" fmla="*/ 2147483647 h 435"/>
                  <a:gd name="T34" fmla="*/ 2147483647 w 277"/>
                  <a:gd name="T35" fmla="*/ 2147483647 h 435"/>
                  <a:gd name="T36" fmla="*/ 2147483647 w 277"/>
                  <a:gd name="T37" fmla="*/ 2147483647 h 435"/>
                  <a:gd name="T38" fmla="*/ 2147483647 w 277"/>
                  <a:gd name="T39" fmla="*/ 2147483647 h 435"/>
                  <a:gd name="T40" fmla="*/ 2147483647 w 277"/>
                  <a:gd name="T41" fmla="*/ 2147483647 h 435"/>
                  <a:gd name="T42" fmla="*/ 2147483647 w 277"/>
                  <a:gd name="T43" fmla="*/ 2147483647 h 435"/>
                  <a:gd name="T44" fmla="*/ 2147483647 w 277"/>
                  <a:gd name="T45" fmla="*/ 2147483647 h 435"/>
                  <a:gd name="T46" fmla="*/ 2147483647 w 277"/>
                  <a:gd name="T47" fmla="*/ 2147483647 h 435"/>
                  <a:gd name="T48" fmla="*/ 2147483647 w 277"/>
                  <a:gd name="T49" fmla="*/ 2147483647 h 435"/>
                  <a:gd name="T50" fmla="*/ 2147483647 w 277"/>
                  <a:gd name="T51" fmla="*/ 2147483647 h 435"/>
                  <a:gd name="T52" fmla="*/ 2147483647 w 277"/>
                  <a:gd name="T53" fmla="*/ 2147483647 h 435"/>
                  <a:gd name="T54" fmla="*/ 2147483647 w 277"/>
                  <a:gd name="T55" fmla="*/ 2147483647 h 435"/>
                  <a:gd name="T56" fmla="*/ 2147483647 w 277"/>
                  <a:gd name="T57" fmla="*/ 2147483647 h 435"/>
                  <a:gd name="T58" fmla="*/ 2147483647 w 277"/>
                  <a:gd name="T59" fmla="*/ 2147483647 h 435"/>
                  <a:gd name="T60" fmla="*/ 2147483647 w 277"/>
                  <a:gd name="T61" fmla="*/ 2147483647 h 435"/>
                  <a:gd name="T62" fmla="*/ 2147483647 w 277"/>
                  <a:gd name="T63" fmla="*/ 2147483647 h 435"/>
                  <a:gd name="T64" fmla="*/ 2147483647 w 277"/>
                  <a:gd name="T65" fmla="*/ 2147483647 h 435"/>
                  <a:gd name="T66" fmla="*/ 2147483647 w 277"/>
                  <a:gd name="T67" fmla="*/ 2147483647 h 435"/>
                  <a:gd name="T68" fmla="*/ 2147483647 w 277"/>
                  <a:gd name="T69" fmla="*/ 2147483647 h 435"/>
                  <a:gd name="T70" fmla="*/ 2147483647 w 277"/>
                  <a:gd name="T71" fmla="*/ 2147483647 h 435"/>
                  <a:gd name="T72" fmla="*/ 2147483647 w 277"/>
                  <a:gd name="T73" fmla="*/ 2147483647 h 435"/>
                  <a:gd name="T74" fmla="*/ 2147483647 w 277"/>
                  <a:gd name="T75" fmla="*/ 2147483647 h 435"/>
                  <a:gd name="T76" fmla="*/ 2147483647 w 277"/>
                  <a:gd name="T77" fmla="*/ 2147483647 h 435"/>
                  <a:gd name="T78" fmla="*/ 2147483647 w 277"/>
                  <a:gd name="T79" fmla="*/ 2147483647 h 435"/>
                  <a:gd name="T80" fmla="*/ 2147483647 w 277"/>
                  <a:gd name="T81" fmla="*/ 2147483647 h 43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77" h="435">
                    <a:moveTo>
                      <a:pt x="277" y="394"/>
                    </a:moveTo>
                    <a:lnTo>
                      <a:pt x="277" y="41"/>
                    </a:lnTo>
                    <a:lnTo>
                      <a:pt x="274" y="26"/>
                    </a:lnTo>
                    <a:lnTo>
                      <a:pt x="266" y="11"/>
                    </a:lnTo>
                    <a:lnTo>
                      <a:pt x="251" y="2"/>
                    </a:lnTo>
                    <a:lnTo>
                      <a:pt x="235" y="0"/>
                    </a:lnTo>
                    <a:lnTo>
                      <a:pt x="42" y="0"/>
                    </a:lnTo>
                    <a:lnTo>
                      <a:pt x="26" y="2"/>
                    </a:lnTo>
                    <a:lnTo>
                      <a:pt x="13" y="11"/>
                    </a:lnTo>
                    <a:lnTo>
                      <a:pt x="3" y="26"/>
                    </a:lnTo>
                    <a:lnTo>
                      <a:pt x="0" y="41"/>
                    </a:lnTo>
                    <a:lnTo>
                      <a:pt x="0" y="394"/>
                    </a:lnTo>
                    <a:lnTo>
                      <a:pt x="3" y="409"/>
                    </a:lnTo>
                    <a:lnTo>
                      <a:pt x="13" y="424"/>
                    </a:lnTo>
                    <a:lnTo>
                      <a:pt x="26" y="432"/>
                    </a:lnTo>
                    <a:lnTo>
                      <a:pt x="42" y="435"/>
                    </a:lnTo>
                    <a:lnTo>
                      <a:pt x="235" y="435"/>
                    </a:lnTo>
                    <a:lnTo>
                      <a:pt x="251" y="432"/>
                    </a:lnTo>
                    <a:lnTo>
                      <a:pt x="266" y="424"/>
                    </a:lnTo>
                    <a:lnTo>
                      <a:pt x="274" y="409"/>
                    </a:lnTo>
                    <a:lnTo>
                      <a:pt x="277" y="394"/>
                    </a:lnTo>
                    <a:close/>
                    <a:moveTo>
                      <a:pt x="117" y="26"/>
                    </a:moveTo>
                    <a:lnTo>
                      <a:pt x="114" y="24"/>
                    </a:lnTo>
                    <a:lnTo>
                      <a:pt x="114" y="23"/>
                    </a:lnTo>
                    <a:lnTo>
                      <a:pt x="114" y="20"/>
                    </a:lnTo>
                    <a:lnTo>
                      <a:pt x="117" y="18"/>
                    </a:lnTo>
                    <a:lnTo>
                      <a:pt x="160" y="18"/>
                    </a:lnTo>
                    <a:lnTo>
                      <a:pt x="163" y="20"/>
                    </a:lnTo>
                    <a:lnTo>
                      <a:pt x="165" y="23"/>
                    </a:lnTo>
                    <a:lnTo>
                      <a:pt x="163" y="24"/>
                    </a:lnTo>
                    <a:lnTo>
                      <a:pt x="160" y="26"/>
                    </a:lnTo>
                    <a:lnTo>
                      <a:pt x="117" y="26"/>
                    </a:lnTo>
                    <a:close/>
                    <a:moveTo>
                      <a:pt x="250" y="352"/>
                    </a:moveTo>
                    <a:lnTo>
                      <a:pt x="250" y="297"/>
                    </a:lnTo>
                    <a:lnTo>
                      <a:pt x="250" y="249"/>
                    </a:lnTo>
                    <a:lnTo>
                      <a:pt x="250" y="204"/>
                    </a:lnTo>
                    <a:lnTo>
                      <a:pt x="250" y="57"/>
                    </a:lnTo>
                    <a:lnTo>
                      <a:pt x="248" y="50"/>
                    </a:lnTo>
                    <a:lnTo>
                      <a:pt x="246" y="46"/>
                    </a:lnTo>
                    <a:lnTo>
                      <a:pt x="241" y="40"/>
                    </a:lnTo>
                    <a:lnTo>
                      <a:pt x="235" y="37"/>
                    </a:lnTo>
                    <a:lnTo>
                      <a:pt x="230" y="37"/>
                    </a:lnTo>
                    <a:lnTo>
                      <a:pt x="48" y="37"/>
                    </a:lnTo>
                    <a:lnTo>
                      <a:pt x="42" y="37"/>
                    </a:lnTo>
                    <a:lnTo>
                      <a:pt x="36" y="40"/>
                    </a:lnTo>
                    <a:lnTo>
                      <a:pt x="32" y="46"/>
                    </a:lnTo>
                    <a:lnTo>
                      <a:pt x="29" y="50"/>
                    </a:lnTo>
                    <a:lnTo>
                      <a:pt x="28" y="57"/>
                    </a:lnTo>
                    <a:lnTo>
                      <a:pt x="28" y="112"/>
                    </a:lnTo>
                    <a:lnTo>
                      <a:pt x="28" y="160"/>
                    </a:lnTo>
                    <a:lnTo>
                      <a:pt x="28" y="249"/>
                    </a:lnTo>
                    <a:lnTo>
                      <a:pt x="28" y="297"/>
                    </a:lnTo>
                    <a:lnTo>
                      <a:pt x="28" y="352"/>
                    </a:lnTo>
                    <a:lnTo>
                      <a:pt x="29" y="359"/>
                    </a:lnTo>
                    <a:lnTo>
                      <a:pt x="32" y="365"/>
                    </a:lnTo>
                    <a:lnTo>
                      <a:pt x="36" y="369"/>
                    </a:lnTo>
                    <a:lnTo>
                      <a:pt x="42" y="372"/>
                    </a:lnTo>
                    <a:lnTo>
                      <a:pt x="48" y="372"/>
                    </a:lnTo>
                    <a:lnTo>
                      <a:pt x="230" y="372"/>
                    </a:lnTo>
                    <a:lnTo>
                      <a:pt x="235" y="372"/>
                    </a:lnTo>
                    <a:lnTo>
                      <a:pt x="241" y="369"/>
                    </a:lnTo>
                    <a:lnTo>
                      <a:pt x="246" y="365"/>
                    </a:lnTo>
                    <a:lnTo>
                      <a:pt x="248" y="359"/>
                    </a:lnTo>
                    <a:lnTo>
                      <a:pt x="250" y="352"/>
                    </a:lnTo>
                    <a:close/>
                    <a:moveTo>
                      <a:pt x="117" y="412"/>
                    </a:moveTo>
                    <a:lnTo>
                      <a:pt x="113" y="412"/>
                    </a:lnTo>
                    <a:lnTo>
                      <a:pt x="110" y="409"/>
                    </a:lnTo>
                    <a:lnTo>
                      <a:pt x="107" y="407"/>
                    </a:lnTo>
                    <a:lnTo>
                      <a:pt x="106" y="402"/>
                    </a:lnTo>
                    <a:lnTo>
                      <a:pt x="107" y="398"/>
                    </a:lnTo>
                    <a:lnTo>
                      <a:pt x="110" y="395"/>
                    </a:lnTo>
                    <a:lnTo>
                      <a:pt x="113" y="392"/>
                    </a:lnTo>
                    <a:lnTo>
                      <a:pt x="117" y="391"/>
                    </a:lnTo>
                    <a:lnTo>
                      <a:pt x="160" y="391"/>
                    </a:lnTo>
                    <a:lnTo>
                      <a:pt x="165" y="392"/>
                    </a:lnTo>
                    <a:lnTo>
                      <a:pt x="169" y="395"/>
                    </a:lnTo>
                    <a:lnTo>
                      <a:pt x="171" y="398"/>
                    </a:lnTo>
                    <a:lnTo>
                      <a:pt x="172" y="402"/>
                    </a:lnTo>
                    <a:lnTo>
                      <a:pt x="171" y="407"/>
                    </a:lnTo>
                    <a:lnTo>
                      <a:pt x="169" y="409"/>
                    </a:lnTo>
                    <a:lnTo>
                      <a:pt x="165" y="412"/>
                    </a:lnTo>
                    <a:lnTo>
                      <a:pt x="160" y="412"/>
                    </a:lnTo>
                    <a:lnTo>
                      <a:pt x="117" y="4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nb-NO" sz="1600">
                  <a:solidFill>
                    <a:srgbClr val="646464"/>
                  </a:solidFill>
                </a:endParaRPr>
              </a:p>
            </p:txBody>
          </p:sp>
          <p:sp>
            <p:nvSpPr>
              <p:cNvPr id="146" name="Freeform 26"/>
              <p:cNvSpPr>
                <a:spLocks/>
              </p:cNvSpPr>
              <p:nvPr/>
            </p:nvSpPr>
            <p:spPr bwMode="auto">
              <a:xfrm>
                <a:off x="5226009" y="1577315"/>
                <a:ext cx="207432" cy="39430"/>
              </a:xfrm>
              <a:custGeom>
                <a:avLst/>
                <a:gdLst>
                  <a:gd name="T0" fmla="*/ 2147483647 w 121"/>
                  <a:gd name="T1" fmla="*/ 2147483647 h 23"/>
                  <a:gd name="T2" fmla="*/ 2147483647 w 121"/>
                  <a:gd name="T3" fmla="*/ 2147483647 h 23"/>
                  <a:gd name="T4" fmla="*/ 2147483647 w 121"/>
                  <a:gd name="T5" fmla="*/ 2147483647 h 23"/>
                  <a:gd name="T6" fmla="*/ 0 w 121"/>
                  <a:gd name="T7" fmla="*/ 2147483647 h 23"/>
                  <a:gd name="T8" fmla="*/ 0 w 121"/>
                  <a:gd name="T9" fmla="*/ 2147483647 h 23"/>
                  <a:gd name="T10" fmla="*/ 0 w 121"/>
                  <a:gd name="T11" fmla="*/ 2147483647 h 23"/>
                  <a:gd name="T12" fmla="*/ 2147483647 w 121"/>
                  <a:gd name="T13" fmla="*/ 2147483647 h 23"/>
                  <a:gd name="T14" fmla="*/ 2147483647 w 121"/>
                  <a:gd name="T15" fmla="*/ 2147483647 h 23"/>
                  <a:gd name="T16" fmla="*/ 2147483647 w 121"/>
                  <a:gd name="T17" fmla="*/ 0 h 23"/>
                  <a:gd name="T18" fmla="*/ 2147483647 w 121"/>
                  <a:gd name="T19" fmla="*/ 0 h 23"/>
                  <a:gd name="T20" fmla="*/ 2147483647 w 121"/>
                  <a:gd name="T21" fmla="*/ 2147483647 h 23"/>
                  <a:gd name="T22" fmla="*/ 2147483647 w 121"/>
                  <a:gd name="T23" fmla="*/ 2147483647 h 23"/>
                  <a:gd name="T24" fmla="*/ 2147483647 w 121"/>
                  <a:gd name="T25" fmla="*/ 2147483647 h 23"/>
                  <a:gd name="T26" fmla="*/ 2147483647 w 121"/>
                  <a:gd name="T27" fmla="*/ 2147483647 h 23"/>
                  <a:gd name="T28" fmla="*/ 2147483647 w 121"/>
                  <a:gd name="T29" fmla="*/ 2147483647 h 23"/>
                  <a:gd name="T30" fmla="*/ 2147483647 w 121"/>
                  <a:gd name="T31" fmla="*/ 2147483647 h 23"/>
                  <a:gd name="T32" fmla="*/ 2147483647 w 121"/>
                  <a:gd name="T33" fmla="*/ 2147483647 h 23"/>
                  <a:gd name="T34" fmla="*/ 2147483647 w 121"/>
                  <a:gd name="T35" fmla="*/ 2147483647 h 23"/>
                  <a:gd name="T36" fmla="*/ 2147483647 w 121"/>
                  <a:gd name="T37" fmla="*/ 2147483647 h 2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121" h="23">
                    <a:moveTo>
                      <a:pt x="10" y="23"/>
                    </a:moveTo>
                    <a:lnTo>
                      <a:pt x="6" y="21"/>
                    </a:lnTo>
                    <a:lnTo>
                      <a:pt x="3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4"/>
                    </a:lnTo>
                    <a:lnTo>
                      <a:pt x="6" y="1"/>
                    </a:lnTo>
                    <a:lnTo>
                      <a:pt x="10" y="0"/>
                    </a:lnTo>
                    <a:lnTo>
                      <a:pt x="111" y="0"/>
                    </a:lnTo>
                    <a:lnTo>
                      <a:pt x="116" y="1"/>
                    </a:lnTo>
                    <a:lnTo>
                      <a:pt x="118" y="4"/>
                    </a:lnTo>
                    <a:lnTo>
                      <a:pt x="121" y="7"/>
                    </a:lnTo>
                    <a:lnTo>
                      <a:pt x="121" y="11"/>
                    </a:lnTo>
                    <a:lnTo>
                      <a:pt x="121" y="15"/>
                    </a:lnTo>
                    <a:lnTo>
                      <a:pt x="118" y="18"/>
                    </a:lnTo>
                    <a:lnTo>
                      <a:pt x="116" y="21"/>
                    </a:lnTo>
                    <a:lnTo>
                      <a:pt x="111" y="23"/>
                    </a:lnTo>
                    <a:lnTo>
                      <a:pt x="10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nb-NO" sz="1600">
                  <a:solidFill>
                    <a:srgbClr val="646464"/>
                  </a:solidFill>
                </a:endParaRPr>
              </a:p>
            </p:txBody>
          </p:sp>
          <p:sp>
            <p:nvSpPr>
              <p:cNvPr id="147" name="Freeform 27"/>
              <p:cNvSpPr>
                <a:spLocks noEditPoints="1"/>
              </p:cNvSpPr>
              <p:nvPr/>
            </p:nvSpPr>
            <p:spPr bwMode="auto">
              <a:xfrm>
                <a:off x="5196867" y="1215595"/>
                <a:ext cx="267432" cy="303434"/>
              </a:xfrm>
              <a:custGeom>
                <a:avLst/>
                <a:gdLst>
                  <a:gd name="T0" fmla="*/ 2147483647 w 156"/>
                  <a:gd name="T1" fmla="*/ 0 h 177"/>
                  <a:gd name="T2" fmla="*/ 2147483647 w 156"/>
                  <a:gd name="T3" fmla="*/ 2147483647 h 177"/>
                  <a:gd name="T4" fmla="*/ 2147483647 w 156"/>
                  <a:gd name="T5" fmla="*/ 2147483647 h 177"/>
                  <a:gd name="T6" fmla="*/ 2147483647 w 156"/>
                  <a:gd name="T7" fmla="*/ 2147483647 h 177"/>
                  <a:gd name="T8" fmla="*/ 2147483647 w 156"/>
                  <a:gd name="T9" fmla="*/ 2147483647 h 177"/>
                  <a:gd name="T10" fmla="*/ 2147483647 w 156"/>
                  <a:gd name="T11" fmla="*/ 2147483647 h 177"/>
                  <a:gd name="T12" fmla="*/ 2147483647 w 156"/>
                  <a:gd name="T13" fmla="*/ 2147483647 h 177"/>
                  <a:gd name="T14" fmla="*/ 2147483647 w 156"/>
                  <a:gd name="T15" fmla="*/ 2147483647 h 177"/>
                  <a:gd name="T16" fmla="*/ 2147483647 w 156"/>
                  <a:gd name="T17" fmla="*/ 2147483647 h 177"/>
                  <a:gd name="T18" fmla="*/ 2147483647 w 156"/>
                  <a:gd name="T19" fmla="*/ 2147483647 h 177"/>
                  <a:gd name="T20" fmla="*/ 2147483647 w 156"/>
                  <a:gd name="T21" fmla="*/ 2147483647 h 177"/>
                  <a:gd name="T22" fmla="*/ 2147483647 w 156"/>
                  <a:gd name="T23" fmla="*/ 2147483647 h 177"/>
                  <a:gd name="T24" fmla="*/ 2147483647 w 156"/>
                  <a:gd name="T25" fmla="*/ 2147483647 h 177"/>
                  <a:gd name="T26" fmla="*/ 2147483647 w 156"/>
                  <a:gd name="T27" fmla="*/ 2147483647 h 177"/>
                  <a:gd name="T28" fmla="*/ 2147483647 w 156"/>
                  <a:gd name="T29" fmla="*/ 2147483647 h 177"/>
                  <a:gd name="T30" fmla="*/ 2147483647 w 156"/>
                  <a:gd name="T31" fmla="*/ 2147483647 h 177"/>
                  <a:gd name="T32" fmla="*/ 2147483647 w 156"/>
                  <a:gd name="T33" fmla="*/ 0 h 177"/>
                  <a:gd name="T34" fmla="*/ 2147483647 w 156"/>
                  <a:gd name="T35" fmla="*/ 2147483647 h 177"/>
                  <a:gd name="T36" fmla="*/ 2147483647 w 156"/>
                  <a:gd name="T37" fmla="*/ 2147483647 h 177"/>
                  <a:gd name="T38" fmla="*/ 2147483647 w 156"/>
                  <a:gd name="T39" fmla="*/ 2147483647 h 177"/>
                  <a:gd name="T40" fmla="*/ 2147483647 w 156"/>
                  <a:gd name="T41" fmla="*/ 2147483647 h 177"/>
                  <a:gd name="T42" fmla="*/ 2147483647 w 156"/>
                  <a:gd name="T43" fmla="*/ 2147483647 h 177"/>
                  <a:gd name="T44" fmla="*/ 2147483647 w 156"/>
                  <a:gd name="T45" fmla="*/ 2147483647 h 177"/>
                  <a:gd name="T46" fmla="*/ 2147483647 w 156"/>
                  <a:gd name="T47" fmla="*/ 2147483647 h 177"/>
                  <a:gd name="T48" fmla="*/ 2147483647 w 156"/>
                  <a:gd name="T49" fmla="*/ 2147483647 h 177"/>
                  <a:gd name="T50" fmla="*/ 2147483647 w 156"/>
                  <a:gd name="T51" fmla="*/ 2147483647 h 177"/>
                  <a:gd name="T52" fmla="*/ 2147483647 w 156"/>
                  <a:gd name="T53" fmla="*/ 2147483647 h 177"/>
                  <a:gd name="T54" fmla="*/ 2147483647 w 156"/>
                  <a:gd name="T55" fmla="*/ 2147483647 h 177"/>
                  <a:gd name="T56" fmla="*/ 2147483647 w 156"/>
                  <a:gd name="T57" fmla="*/ 2147483647 h 177"/>
                  <a:gd name="T58" fmla="*/ 2147483647 w 156"/>
                  <a:gd name="T59" fmla="*/ 2147483647 h 177"/>
                  <a:gd name="T60" fmla="*/ 2147483647 w 156"/>
                  <a:gd name="T61" fmla="*/ 2147483647 h 177"/>
                  <a:gd name="T62" fmla="*/ 2147483647 w 156"/>
                  <a:gd name="T63" fmla="*/ 2147483647 h 177"/>
                  <a:gd name="T64" fmla="*/ 2147483647 w 156"/>
                  <a:gd name="T65" fmla="*/ 2147483647 h 177"/>
                  <a:gd name="T66" fmla="*/ 2147483647 w 156"/>
                  <a:gd name="T67" fmla="*/ 2147483647 h 177"/>
                  <a:gd name="T68" fmla="*/ 2147483647 w 156"/>
                  <a:gd name="T69" fmla="*/ 2147483647 h 177"/>
                  <a:gd name="T70" fmla="*/ 2147483647 w 156"/>
                  <a:gd name="T71" fmla="*/ 2147483647 h 177"/>
                  <a:gd name="T72" fmla="*/ 2147483647 w 156"/>
                  <a:gd name="T73" fmla="*/ 2147483647 h 177"/>
                  <a:gd name="T74" fmla="*/ 2147483647 w 156"/>
                  <a:gd name="T75" fmla="*/ 2147483647 h 177"/>
                  <a:gd name="T76" fmla="*/ 2147483647 w 156"/>
                  <a:gd name="T77" fmla="*/ 2147483647 h 177"/>
                  <a:gd name="T78" fmla="*/ 2147483647 w 156"/>
                  <a:gd name="T79" fmla="*/ 2147483647 h 177"/>
                  <a:gd name="T80" fmla="*/ 2147483647 w 156"/>
                  <a:gd name="T81" fmla="*/ 2147483647 h 177"/>
                  <a:gd name="T82" fmla="*/ 2147483647 w 156"/>
                  <a:gd name="T83" fmla="*/ 2147483647 h 177"/>
                  <a:gd name="T84" fmla="*/ 2147483647 w 156"/>
                  <a:gd name="T85" fmla="*/ 2147483647 h 177"/>
                  <a:gd name="T86" fmla="*/ 2147483647 w 156"/>
                  <a:gd name="T87" fmla="*/ 2147483647 h 177"/>
                  <a:gd name="T88" fmla="*/ 2147483647 w 156"/>
                  <a:gd name="T89" fmla="*/ 2147483647 h 177"/>
                  <a:gd name="T90" fmla="*/ 2147483647 w 156"/>
                  <a:gd name="T91" fmla="*/ 2147483647 h 177"/>
                  <a:gd name="T92" fmla="*/ 2147483647 w 156"/>
                  <a:gd name="T93" fmla="*/ 2147483647 h 177"/>
                  <a:gd name="T94" fmla="*/ 0 w 156"/>
                  <a:gd name="T95" fmla="*/ 2147483647 h 177"/>
                  <a:gd name="T96" fmla="*/ 2147483647 w 156"/>
                  <a:gd name="T97" fmla="*/ 2147483647 h 177"/>
                  <a:gd name="T98" fmla="*/ 2147483647 w 156"/>
                  <a:gd name="T99" fmla="*/ 2147483647 h 177"/>
                  <a:gd name="T100" fmla="*/ 2147483647 w 156"/>
                  <a:gd name="T101" fmla="*/ 2147483647 h 177"/>
                  <a:gd name="T102" fmla="*/ 2147483647 w 156"/>
                  <a:gd name="T103" fmla="*/ 2147483647 h 17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56" h="177">
                    <a:moveTo>
                      <a:pt x="78" y="0"/>
                    </a:moveTo>
                    <a:lnTo>
                      <a:pt x="62" y="4"/>
                    </a:lnTo>
                    <a:lnTo>
                      <a:pt x="52" y="14"/>
                    </a:lnTo>
                    <a:lnTo>
                      <a:pt x="47" y="29"/>
                    </a:lnTo>
                    <a:lnTo>
                      <a:pt x="49" y="40"/>
                    </a:lnTo>
                    <a:lnTo>
                      <a:pt x="53" y="53"/>
                    </a:lnTo>
                    <a:lnTo>
                      <a:pt x="59" y="66"/>
                    </a:lnTo>
                    <a:lnTo>
                      <a:pt x="68" y="75"/>
                    </a:lnTo>
                    <a:lnTo>
                      <a:pt x="78" y="79"/>
                    </a:lnTo>
                    <a:lnTo>
                      <a:pt x="88" y="75"/>
                    </a:lnTo>
                    <a:lnTo>
                      <a:pt x="97" y="66"/>
                    </a:lnTo>
                    <a:lnTo>
                      <a:pt x="102" y="53"/>
                    </a:lnTo>
                    <a:lnTo>
                      <a:pt x="107" y="40"/>
                    </a:lnTo>
                    <a:lnTo>
                      <a:pt x="108" y="29"/>
                    </a:lnTo>
                    <a:lnTo>
                      <a:pt x="104" y="14"/>
                    </a:lnTo>
                    <a:lnTo>
                      <a:pt x="94" y="4"/>
                    </a:lnTo>
                    <a:lnTo>
                      <a:pt x="78" y="0"/>
                    </a:lnTo>
                    <a:close/>
                    <a:moveTo>
                      <a:pt x="14" y="105"/>
                    </a:moveTo>
                    <a:lnTo>
                      <a:pt x="17" y="102"/>
                    </a:lnTo>
                    <a:lnTo>
                      <a:pt x="20" y="99"/>
                    </a:lnTo>
                    <a:lnTo>
                      <a:pt x="24" y="97"/>
                    </a:lnTo>
                    <a:lnTo>
                      <a:pt x="32" y="94"/>
                    </a:lnTo>
                    <a:lnTo>
                      <a:pt x="40" y="91"/>
                    </a:lnTo>
                    <a:lnTo>
                      <a:pt x="49" y="86"/>
                    </a:lnTo>
                    <a:lnTo>
                      <a:pt x="53" y="85"/>
                    </a:lnTo>
                    <a:lnTo>
                      <a:pt x="56" y="98"/>
                    </a:lnTo>
                    <a:lnTo>
                      <a:pt x="60" y="112"/>
                    </a:lnTo>
                    <a:lnTo>
                      <a:pt x="65" y="128"/>
                    </a:lnTo>
                    <a:lnTo>
                      <a:pt x="69" y="140"/>
                    </a:lnTo>
                    <a:lnTo>
                      <a:pt x="73" y="105"/>
                    </a:lnTo>
                    <a:lnTo>
                      <a:pt x="78" y="102"/>
                    </a:lnTo>
                    <a:lnTo>
                      <a:pt x="84" y="105"/>
                    </a:lnTo>
                    <a:lnTo>
                      <a:pt x="86" y="140"/>
                    </a:lnTo>
                    <a:lnTo>
                      <a:pt x="92" y="128"/>
                    </a:lnTo>
                    <a:lnTo>
                      <a:pt x="97" y="112"/>
                    </a:lnTo>
                    <a:lnTo>
                      <a:pt x="99" y="98"/>
                    </a:lnTo>
                    <a:lnTo>
                      <a:pt x="102" y="85"/>
                    </a:lnTo>
                    <a:lnTo>
                      <a:pt x="135" y="98"/>
                    </a:lnTo>
                    <a:lnTo>
                      <a:pt x="135" y="99"/>
                    </a:lnTo>
                    <a:lnTo>
                      <a:pt x="137" y="101"/>
                    </a:lnTo>
                    <a:lnTo>
                      <a:pt x="138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7" y="122"/>
                    </a:lnTo>
                    <a:lnTo>
                      <a:pt x="151" y="141"/>
                    </a:lnTo>
                    <a:lnTo>
                      <a:pt x="154" y="161"/>
                    </a:lnTo>
                    <a:lnTo>
                      <a:pt x="156" y="177"/>
                    </a:lnTo>
                    <a:lnTo>
                      <a:pt x="0" y="177"/>
                    </a:lnTo>
                    <a:lnTo>
                      <a:pt x="1" y="161"/>
                    </a:lnTo>
                    <a:lnTo>
                      <a:pt x="4" y="141"/>
                    </a:lnTo>
                    <a:lnTo>
                      <a:pt x="8" y="122"/>
                    </a:lnTo>
                    <a:lnTo>
                      <a:pt x="14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nb-NO" sz="1600">
                  <a:solidFill>
                    <a:srgbClr val="646464"/>
                  </a:solidFill>
                </a:endParaRPr>
              </a:p>
            </p:txBody>
          </p:sp>
        </p:grpSp>
        <p:grpSp>
          <p:nvGrpSpPr>
            <p:cNvPr id="148" name="Group 147"/>
            <p:cNvGrpSpPr>
              <a:grpSpLocks noChangeAspect="1"/>
            </p:cNvGrpSpPr>
            <p:nvPr/>
          </p:nvGrpSpPr>
          <p:grpSpPr>
            <a:xfrm flipH="1">
              <a:off x="8224607" y="1487374"/>
              <a:ext cx="357043" cy="396000"/>
              <a:chOff x="738566" y="1243910"/>
              <a:chExt cx="758235" cy="840963"/>
            </a:xfrm>
          </p:grpSpPr>
          <p:sp>
            <p:nvSpPr>
              <p:cNvPr id="149" name="Arc 148"/>
              <p:cNvSpPr>
                <a:spLocks noChangeAspect="1"/>
              </p:cNvSpPr>
              <p:nvPr/>
            </p:nvSpPr>
            <p:spPr>
              <a:xfrm rot="13500000">
                <a:off x="943716" y="1538019"/>
                <a:ext cx="280321" cy="252745"/>
              </a:xfrm>
              <a:prstGeom prst="arc">
                <a:avLst>
                  <a:gd name="adj1" fmla="val 15767438"/>
                  <a:gd name="adj2" fmla="val 700776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50" name="Arc 149"/>
              <p:cNvSpPr>
                <a:spLocks noChangeAspect="1"/>
              </p:cNvSpPr>
              <p:nvPr/>
            </p:nvSpPr>
            <p:spPr>
              <a:xfrm rot="13500000">
                <a:off x="817721" y="1411646"/>
                <a:ext cx="560642" cy="505490"/>
              </a:xfrm>
              <a:prstGeom prst="arc">
                <a:avLst>
                  <a:gd name="adj1" fmla="val 16476798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51" name="Arc 150"/>
              <p:cNvSpPr>
                <a:spLocks noChangeAspect="1"/>
              </p:cNvSpPr>
              <p:nvPr/>
            </p:nvSpPr>
            <p:spPr>
              <a:xfrm rot="13500000">
                <a:off x="697202" y="1285274"/>
                <a:ext cx="840963" cy="758235"/>
              </a:xfrm>
              <a:prstGeom prst="arc">
                <a:avLst>
                  <a:gd name="adj1" fmla="val 16578546"/>
                  <a:gd name="adj2" fmla="val 0"/>
                </a:avLst>
              </a:prstGeom>
              <a:ln w="38100" cap="rnd">
                <a:solidFill>
                  <a:srgbClr val="646464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grpSp>
        <p:nvGrpSpPr>
          <p:cNvPr id="156" name="Group 155"/>
          <p:cNvGrpSpPr/>
          <p:nvPr/>
        </p:nvGrpSpPr>
        <p:grpSpPr>
          <a:xfrm>
            <a:off x="6987741" y="1359065"/>
            <a:ext cx="926399" cy="763086"/>
            <a:chOff x="6912676" y="1359065"/>
            <a:chExt cx="926399" cy="763086"/>
          </a:xfrm>
        </p:grpSpPr>
        <p:grpSp>
          <p:nvGrpSpPr>
            <p:cNvPr id="143" name="Group 142"/>
            <p:cNvGrpSpPr/>
            <p:nvPr/>
          </p:nvGrpSpPr>
          <p:grpSpPr>
            <a:xfrm>
              <a:off x="7123875" y="1359065"/>
              <a:ext cx="504000" cy="504000"/>
              <a:chOff x="7111979" y="1359065"/>
              <a:chExt cx="504000" cy="504000"/>
            </a:xfrm>
          </p:grpSpPr>
          <p:sp>
            <p:nvSpPr>
              <p:cNvPr id="99" name="Pie 98"/>
              <p:cNvSpPr>
                <a:spLocks noChangeAspect="1"/>
              </p:cNvSpPr>
              <p:nvPr/>
            </p:nvSpPr>
            <p:spPr>
              <a:xfrm rot="5400000">
                <a:off x="7111979" y="1359065"/>
                <a:ext cx="504000" cy="504000"/>
              </a:xfrm>
              <a:prstGeom prst="pie">
                <a:avLst>
                  <a:gd name="adj1" fmla="val 10818417"/>
                  <a:gd name="adj2" fmla="val 3728520"/>
                </a:avLst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Oval 97"/>
              <p:cNvSpPr>
                <a:spLocks noChangeAspect="1"/>
              </p:cNvSpPr>
              <p:nvPr/>
            </p:nvSpPr>
            <p:spPr>
              <a:xfrm>
                <a:off x="7129979" y="1375304"/>
                <a:ext cx="468000" cy="468000"/>
              </a:xfrm>
              <a:prstGeom prst="ellipse">
                <a:avLst/>
              </a:prstGeom>
              <a:noFill/>
              <a:ln w="38100" cap="rnd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15" name="Straight Connector 114"/>
              <p:cNvCxnSpPr/>
              <p:nvPr/>
            </p:nvCxnSpPr>
            <p:spPr>
              <a:xfrm>
                <a:off x="7363979" y="1375304"/>
                <a:ext cx="0" cy="36000"/>
              </a:xfrm>
              <a:prstGeom prst="line">
                <a:avLst/>
              </a:prstGeom>
              <a:ln w="15875" cap="sq">
                <a:solidFill>
                  <a:schemeClr val="accent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/>
            </p:nvCxnSpPr>
            <p:spPr>
              <a:xfrm>
                <a:off x="7363979" y="1801381"/>
                <a:ext cx="0" cy="36000"/>
              </a:xfrm>
              <a:prstGeom prst="line">
                <a:avLst/>
              </a:prstGeom>
              <a:ln w="15875" cap="sq">
                <a:solidFill>
                  <a:schemeClr val="accent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/>
              <p:cNvCxnSpPr/>
              <p:nvPr/>
            </p:nvCxnSpPr>
            <p:spPr>
              <a:xfrm>
                <a:off x="7561979" y="1609933"/>
                <a:ext cx="36000" cy="0"/>
              </a:xfrm>
              <a:prstGeom prst="line">
                <a:avLst/>
              </a:prstGeom>
              <a:ln w="15875" cap="sq">
                <a:solidFill>
                  <a:schemeClr val="accent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/>
              <p:cNvCxnSpPr/>
              <p:nvPr/>
            </p:nvCxnSpPr>
            <p:spPr>
              <a:xfrm>
                <a:off x="7129979" y="1609304"/>
                <a:ext cx="36000" cy="0"/>
              </a:xfrm>
              <a:prstGeom prst="line">
                <a:avLst/>
              </a:prstGeom>
              <a:ln w="15875" cap="sq">
                <a:solidFill>
                  <a:schemeClr val="accent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/>
              <p:cNvCxnSpPr/>
              <p:nvPr/>
            </p:nvCxnSpPr>
            <p:spPr>
              <a:xfrm>
                <a:off x="7366360" y="1481974"/>
                <a:ext cx="0" cy="12600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 flipH="1">
                <a:off x="7237272" y="1609933"/>
                <a:ext cx="126000" cy="68400"/>
              </a:xfrm>
              <a:prstGeom prst="line">
                <a:avLst/>
              </a:prstGeom>
              <a:ln w="19050" cap="rnd">
                <a:solidFill>
                  <a:schemeClr val="accent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5" name="Straight Arrow Connector 154"/>
            <p:cNvCxnSpPr/>
            <p:nvPr/>
          </p:nvCxnSpPr>
          <p:spPr>
            <a:xfrm>
              <a:off x="6912676" y="2122151"/>
              <a:ext cx="926399" cy="0"/>
            </a:xfrm>
            <a:prstGeom prst="straightConnector1">
              <a:avLst/>
            </a:prstGeom>
            <a:ln w="38100" cap="sq">
              <a:solidFill>
                <a:srgbClr val="646464"/>
              </a:solidFill>
              <a:prstDash val="sysDot"/>
              <a:headEnd type="triangl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9" name="Group 168"/>
          <p:cNvGrpSpPr>
            <a:grpSpLocks noChangeAspect="1"/>
          </p:cNvGrpSpPr>
          <p:nvPr/>
        </p:nvGrpSpPr>
        <p:grpSpPr>
          <a:xfrm>
            <a:off x="9167604" y="4414853"/>
            <a:ext cx="284631" cy="612000"/>
            <a:chOff x="10518021" y="3968839"/>
            <a:chExt cx="416747" cy="896091"/>
          </a:xfrm>
        </p:grpSpPr>
        <p:sp>
          <p:nvSpPr>
            <p:cNvPr id="165" name="Freeform 1645"/>
            <p:cNvSpPr>
              <a:spLocks/>
            </p:cNvSpPr>
            <p:nvPr/>
          </p:nvSpPr>
          <p:spPr bwMode="auto">
            <a:xfrm>
              <a:off x="10518021" y="4139364"/>
              <a:ext cx="416747" cy="725566"/>
            </a:xfrm>
            <a:custGeom>
              <a:avLst/>
              <a:gdLst>
                <a:gd name="T0" fmla="*/ 2147483647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2147483647 h 281"/>
                <a:gd name="T38" fmla="*/ 2147483647 w 162"/>
                <a:gd name="T39" fmla="*/ 2147483647 h 281"/>
                <a:gd name="T40" fmla="*/ 2147483647 w 162"/>
                <a:gd name="T41" fmla="*/ 2147483647 h 281"/>
                <a:gd name="T42" fmla="*/ 2147483647 w 162"/>
                <a:gd name="T43" fmla="*/ 2147483647 h 281"/>
                <a:gd name="T44" fmla="*/ 2147483647 w 162"/>
                <a:gd name="T45" fmla="*/ 2147483647 h 281"/>
                <a:gd name="T46" fmla="*/ 2147483647 w 162"/>
                <a:gd name="T47" fmla="*/ 2147483647 h 281"/>
                <a:gd name="T48" fmla="*/ 2147483647 w 162"/>
                <a:gd name="T49" fmla="*/ 2147483647 h 281"/>
                <a:gd name="T50" fmla="*/ 2147483647 w 162"/>
                <a:gd name="T51" fmla="*/ 2147483647 h 281"/>
                <a:gd name="T52" fmla="*/ 2147483647 w 162"/>
                <a:gd name="T53" fmla="*/ 2147483647 h 281"/>
                <a:gd name="T54" fmla="*/ 0 w 162"/>
                <a:gd name="T55" fmla="*/ 2147483647 h 281"/>
                <a:gd name="T56" fmla="*/ 0 w 162"/>
                <a:gd name="T57" fmla="*/ 2147483647 h 281"/>
                <a:gd name="T58" fmla="*/ 2147483647 w 162"/>
                <a:gd name="T59" fmla="*/ 2147483647 h 281"/>
                <a:gd name="T60" fmla="*/ 2147483647 w 162"/>
                <a:gd name="T61" fmla="*/ 2147483647 h 281"/>
                <a:gd name="T62" fmla="*/ 2147483647 w 162"/>
                <a:gd name="T63" fmla="*/ 2147483647 h 281"/>
                <a:gd name="T64" fmla="*/ 2147483647 w 162"/>
                <a:gd name="T65" fmla="*/ 2147483647 h 281"/>
                <a:gd name="T66" fmla="*/ 2147483647 w 162"/>
                <a:gd name="T67" fmla="*/ 2147483647 h 281"/>
                <a:gd name="T68" fmla="*/ 2147483647 w 162"/>
                <a:gd name="T69" fmla="*/ 2147483647 h 281"/>
                <a:gd name="T70" fmla="*/ 2147483647 w 162"/>
                <a:gd name="T71" fmla="*/ 2147483647 h 281"/>
                <a:gd name="T72" fmla="*/ 2147483647 w 162"/>
                <a:gd name="T73" fmla="*/ 2147483647 h 281"/>
                <a:gd name="T74" fmla="*/ 2147483647 w 162"/>
                <a:gd name="T75" fmla="*/ 2147483647 h 281"/>
                <a:gd name="T76" fmla="*/ 2147483647 w 162"/>
                <a:gd name="T77" fmla="*/ 2147483647 h 281"/>
                <a:gd name="T78" fmla="*/ 2147483647 w 162"/>
                <a:gd name="T79" fmla="*/ 0 h 28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4444 w 10000"/>
                <a:gd name="connsiteY64" fmla="*/ 1512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247 w 10000"/>
                <a:gd name="connsiteY73" fmla="*/ 622 h 10053"/>
                <a:gd name="connsiteX74" fmla="*/ 5309 w 10000"/>
                <a:gd name="connsiteY74" fmla="*/ 729 h 10053"/>
                <a:gd name="connsiteX75" fmla="*/ 5309 w 10000"/>
                <a:gd name="connsiteY75" fmla="*/ 800 h 10053"/>
                <a:gd name="connsiteX76" fmla="*/ 5185 w 10000"/>
                <a:gd name="connsiteY76" fmla="*/ 872 h 10053"/>
                <a:gd name="connsiteX77" fmla="*/ 5123 w 10000"/>
                <a:gd name="connsiteY77" fmla="*/ 943 h 10053"/>
                <a:gd name="connsiteX78" fmla="*/ 4808 w 10000"/>
                <a:gd name="connsiteY78" fmla="*/ 0 h 10053"/>
                <a:gd name="connsiteX79" fmla="*/ 6728 w 10000"/>
                <a:gd name="connsiteY79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247 w 10000"/>
                <a:gd name="connsiteY73" fmla="*/ 622 h 10053"/>
                <a:gd name="connsiteX74" fmla="*/ 5309 w 10000"/>
                <a:gd name="connsiteY74" fmla="*/ 729 h 10053"/>
                <a:gd name="connsiteX75" fmla="*/ 5309 w 10000"/>
                <a:gd name="connsiteY75" fmla="*/ 800 h 10053"/>
                <a:gd name="connsiteX76" fmla="*/ 5185 w 10000"/>
                <a:gd name="connsiteY76" fmla="*/ 872 h 10053"/>
                <a:gd name="connsiteX77" fmla="*/ 5123 w 10000"/>
                <a:gd name="connsiteY77" fmla="*/ 943 h 10053"/>
                <a:gd name="connsiteX78" fmla="*/ 4808 w 10000"/>
                <a:gd name="connsiteY78" fmla="*/ 0 h 10053"/>
                <a:gd name="connsiteX79" fmla="*/ 6728 w 10000"/>
                <a:gd name="connsiteY79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247 w 10000"/>
                <a:gd name="connsiteY73" fmla="*/ 622 h 10053"/>
                <a:gd name="connsiteX74" fmla="*/ 5309 w 10000"/>
                <a:gd name="connsiteY74" fmla="*/ 729 h 10053"/>
                <a:gd name="connsiteX75" fmla="*/ 5309 w 10000"/>
                <a:gd name="connsiteY75" fmla="*/ 800 h 10053"/>
                <a:gd name="connsiteX76" fmla="*/ 5185 w 10000"/>
                <a:gd name="connsiteY76" fmla="*/ 872 h 10053"/>
                <a:gd name="connsiteX77" fmla="*/ 4952 w 10000"/>
                <a:gd name="connsiteY77" fmla="*/ 317 h 10053"/>
                <a:gd name="connsiteX78" fmla="*/ 4808 w 10000"/>
                <a:gd name="connsiteY78" fmla="*/ 0 h 10053"/>
                <a:gd name="connsiteX79" fmla="*/ 6728 w 10000"/>
                <a:gd name="connsiteY79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247 w 10000"/>
                <a:gd name="connsiteY73" fmla="*/ 622 h 10053"/>
                <a:gd name="connsiteX74" fmla="*/ 5309 w 10000"/>
                <a:gd name="connsiteY74" fmla="*/ 800 h 10053"/>
                <a:gd name="connsiteX75" fmla="*/ 5185 w 10000"/>
                <a:gd name="connsiteY75" fmla="*/ 872 h 10053"/>
                <a:gd name="connsiteX76" fmla="*/ 4952 w 10000"/>
                <a:gd name="connsiteY76" fmla="*/ 317 h 10053"/>
                <a:gd name="connsiteX77" fmla="*/ 4808 w 10000"/>
                <a:gd name="connsiteY77" fmla="*/ 0 h 10053"/>
                <a:gd name="connsiteX78" fmla="*/ 6728 w 10000"/>
                <a:gd name="connsiteY78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309 w 10000"/>
                <a:gd name="connsiteY73" fmla="*/ 800 h 10053"/>
                <a:gd name="connsiteX74" fmla="*/ 5185 w 10000"/>
                <a:gd name="connsiteY74" fmla="*/ 872 h 10053"/>
                <a:gd name="connsiteX75" fmla="*/ 4952 w 10000"/>
                <a:gd name="connsiteY75" fmla="*/ 317 h 10053"/>
                <a:gd name="connsiteX76" fmla="*/ 4808 w 10000"/>
                <a:gd name="connsiteY76" fmla="*/ 0 h 10053"/>
                <a:gd name="connsiteX77" fmla="*/ 6728 w 10000"/>
                <a:gd name="connsiteY77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309 w 10000"/>
                <a:gd name="connsiteY72" fmla="*/ 800 h 10053"/>
                <a:gd name="connsiteX73" fmla="*/ 5185 w 10000"/>
                <a:gd name="connsiteY73" fmla="*/ 872 h 10053"/>
                <a:gd name="connsiteX74" fmla="*/ 4952 w 10000"/>
                <a:gd name="connsiteY74" fmla="*/ 317 h 10053"/>
                <a:gd name="connsiteX75" fmla="*/ 4808 w 10000"/>
                <a:gd name="connsiteY75" fmla="*/ 0 h 10053"/>
                <a:gd name="connsiteX76" fmla="*/ 6728 w 10000"/>
                <a:gd name="connsiteY76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938 w 10000"/>
                <a:gd name="connsiteY70" fmla="*/ 480 h 10053"/>
                <a:gd name="connsiteX71" fmla="*/ 5309 w 10000"/>
                <a:gd name="connsiteY71" fmla="*/ 800 h 10053"/>
                <a:gd name="connsiteX72" fmla="*/ 5185 w 10000"/>
                <a:gd name="connsiteY72" fmla="*/ 872 h 10053"/>
                <a:gd name="connsiteX73" fmla="*/ 4952 w 10000"/>
                <a:gd name="connsiteY73" fmla="*/ 317 h 10053"/>
                <a:gd name="connsiteX74" fmla="*/ 4808 w 10000"/>
                <a:gd name="connsiteY74" fmla="*/ 0 h 10053"/>
                <a:gd name="connsiteX75" fmla="*/ 6728 w 10000"/>
                <a:gd name="connsiteY75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938 w 10000"/>
                <a:gd name="connsiteY69" fmla="*/ 480 h 10053"/>
                <a:gd name="connsiteX70" fmla="*/ 5309 w 10000"/>
                <a:gd name="connsiteY70" fmla="*/ 800 h 10053"/>
                <a:gd name="connsiteX71" fmla="*/ 5185 w 10000"/>
                <a:gd name="connsiteY71" fmla="*/ 872 h 10053"/>
                <a:gd name="connsiteX72" fmla="*/ 4952 w 10000"/>
                <a:gd name="connsiteY72" fmla="*/ 317 h 10053"/>
                <a:gd name="connsiteX73" fmla="*/ 4808 w 10000"/>
                <a:gd name="connsiteY73" fmla="*/ 0 h 10053"/>
                <a:gd name="connsiteX74" fmla="*/ 6728 w 10000"/>
                <a:gd name="connsiteY74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938 w 10000"/>
                <a:gd name="connsiteY68" fmla="*/ 480 h 10053"/>
                <a:gd name="connsiteX69" fmla="*/ 5309 w 10000"/>
                <a:gd name="connsiteY69" fmla="*/ 800 h 10053"/>
                <a:gd name="connsiteX70" fmla="*/ 5185 w 10000"/>
                <a:gd name="connsiteY70" fmla="*/ 872 h 10053"/>
                <a:gd name="connsiteX71" fmla="*/ 4952 w 10000"/>
                <a:gd name="connsiteY71" fmla="*/ 317 h 10053"/>
                <a:gd name="connsiteX72" fmla="*/ 4808 w 10000"/>
                <a:gd name="connsiteY72" fmla="*/ 0 h 10053"/>
                <a:gd name="connsiteX73" fmla="*/ 6728 w 10000"/>
                <a:gd name="connsiteY73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938 w 10000"/>
                <a:gd name="connsiteY67" fmla="*/ 480 h 10053"/>
                <a:gd name="connsiteX68" fmla="*/ 5309 w 10000"/>
                <a:gd name="connsiteY68" fmla="*/ 800 h 10053"/>
                <a:gd name="connsiteX69" fmla="*/ 5185 w 10000"/>
                <a:gd name="connsiteY69" fmla="*/ 872 h 10053"/>
                <a:gd name="connsiteX70" fmla="*/ 4952 w 10000"/>
                <a:gd name="connsiteY70" fmla="*/ 317 h 10053"/>
                <a:gd name="connsiteX71" fmla="*/ 4808 w 10000"/>
                <a:gd name="connsiteY71" fmla="*/ 0 h 10053"/>
                <a:gd name="connsiteX72" fmla="*/ 6728 w 10000"/>
                <a:gd name="connsiteY72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938 w 10000"/>
                <a:gd name="connsiteY66" fmla="*/ 480 h 10053"/>
                <a:gd name="connsiteX67" fmla="*/ 5309 w 10000"/>
                <a:gd name="connsiteY67" fmla="*/ 800 h 10053"/>
                <a:gd name="connsiteX68" fmla="*/ 5185 w 10000"/>
                <a:gd name="connsiteY68" fmla="*/ 872 h 10053"/>
                <a:gd name="connsiteX69" fmla="*/ 4952 w 10000"/>
                <a:gd name="connsiteY69" fmla="*/ 317 h 10053"/>
                <a:gd name="connsiteX70" fmla="*/ 4808 w 10000"/>
                <a:gd name="connsiteY70" fmla="*/ 0 h 10053"/>
                <a:gd name="connsiteX71" fmla="*/ 6728 w 10000"/>
                <a:gd name="connsiteY71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938 w 10000"/>
                <a:gd name="connsiteY66" fmla="*/ 480 h 10053"/>
                <a:gd name="connsiteX67" fmla="*/ 5309 w 10000"/>
                <a:gd name="connsiteY67" fmla="*/ 800 h 10053"/>
                <a:gd name="connsiteX68" fmla="*/ 4952 w 10000"/>
                <a:gd name="connsiteY68" fmla="*/ 317 h 10053"/>
                <a:gd name="connsiteX69" fmla="*/ 4808 w 10000"/>
                <a:gd name="connsiteY69" fmla="*/ 0 h 10053"/>
                <a:gd name="connsiteX70" fmla="*/ 6728 w 10000"/>
                <a:gd name="connsiteY70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938 w 10000"/>
                <a:gd name="connsiteY66" fmla="*/ 480 h 10053"/>
                <a:gd name="connsiteX67" fmla="*/ 4952 w 10000"/>
                <a:gd name="connsiteY67" fmla="*/ 317 h 10053"/>
                <a:gd name="connsiteX68" fmla="*/ 4808 w 10000"/>
                <a:gd name="connsiteY68" fmla="*/ 0 h 10053"/>
                <a:gd name="connsiteX69" fmla="*/ 6728 w 10000"/>
                <a:gd name="connsiteY69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938 w 10000"/>
                <a:gd name="connsiteY65" fmla="*/ 480 h 10053"/>
                <a:gd name="connsiteX66" fmla="*/ 4952 w 10000"/>
                <a:gd name="connsiteY66" fmla="*/ 317 h 10053"/>
                <a:gd name="connsiteX67" fmla="*/ 4808 w 10000"/>
                <a:gd name="connsiteY67" fmla="*/ 0 h 10053"/>
                <a:gd name="connsiteX68" fmla="*/ 6728 w 10000"/>
                <a:gd name="connsiteY68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952 w 10000"/>
                <a:gd name="connsiteY65" fmla="*/ 317 h 10053"/>
                <a:gd name="connsiteX66" fmla="*/ 4808 w 10000"/>
                <a:gd name="connsiteY66" fmla="*/ 0 h 10053"/>
                <a:gd name="connsiteX67" fmla="*/ 6728 w 10000"/>
                <a:gd name="connsiteY67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808 w 10000"/>
                <a:gd name="connsiteY65" fmla="*/ 0 h 10053"/>
                <a:gd name="connsiteX66" fmla="*/ 6728 w 10000"/>
                <a:gd name="connsiteY66" fmla="*/ 53 h 10053"/>
                <a:gd name="connsiteX0" fmla="*/ 6328 w 10000"/>
                <a:gd name="connsiteY0" fmla="*/ 20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808 w 10000"/>
                <a:gd name="connsiteY65" fmla="*/ 0 h 10053"/>
                <a:gd name="connsiteX66" fmla="*/ 6328 w 10000"/>
                <a:gd name="connsiteY66" fmla="*/ 20 h 10053"/>
                <a:gd name="connsiteX0" fmla="*/ 6328 w 10000"/>
                <a:gd name="connsiteY0" fmla="*/ 20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979 w 10000"/>
                <a:gd name="connsiteY65" fmla="*/ 0 h 10053"/>
                <a:gd name="connsiteX66" fmla="*/ 6328 w 10000"/>
                <a:gd name="connsiteY66" fmla="*/ 20 h 10053"/>
                <a:gd name="connsiteX0" fmla="*/ 6328 w 10000"/>
                <a:gd name="connsiteY0" fmla="*/ 250 h 10283"/>
                <a:gd name="connsiteX1" fmla="*/ 6852 w 10000"/>
                <a:gd name="connsiteY1" fmla="*/ 319 h 10283"/>
                <a:gd name="connsiteX2" fmla="*/ 7160 w 10000"/>
                <a:gd name="connsiteY2" fmla="*/ 461 h 10283"/>
                <a:gd name="connsiteX3" fmla="*/ 7531 w 10000"/>
                <a:gd name="connsiteY3" fmla="*/ 603 h 10283"/>
                <a:gd name="connsiteX4" fmla="*/ 7963 w 10000"/>
                <a:gd name="connsiteY4" fmla="*/ 781 h 10283"/>
                <a:gd name="connsiteX5" fmla="*/ 8086 w 10000"/>
                <a:gd name="connsiteY5" fmla="*/ 888 h 10283"/>
                <a:gd name="connsiteX6" fmla="*/ 9938 w 10000"/>
                <a:gd name="connsiteY6" fmla="*/ 4126 h 10283"/>
                <a:gd name="connsiteX7" fmla="*/ 10000 w 10000"/>
                <a:gd name="connsiteY7" fmla="*/ 4233 h 10283"/>
                <a:gd name="connsiteX8" fmla="*/ 9938 w 10000"/>
                <a:gd name="connsiteY8" fmla="*/ 4411 h 10283"/>
                <a:gd name="connsiteX9" fmla="*/ 9815 w 10000"/>
                <a:gd name="connsiteY9" fmla="*/ 4553 h 10283"/>
                <a:gd name="connsiteX10" fmla="*/ 9630 w 10000"/>
                <a:gd name="connsiteY10" fmla="*/ 4660 h 10283"/>
                <a:gd name="connsiteX11" fmla="*/ 9383 w 10000"/>
                <a:gd name="connsiteY11" fmla="*/ 4731 h 10283"/>
                <a:gd name="connsiteX12" fmla="*/ 9136 w 10000"/>
                <a:gd name="connsiteY12" fmla="*/ 4731 h 10283"/>
                <a:gd name="connsiteX13" fmla="*/ 8827 w 10000"/>
                <a:gd name="connsiteY13" fmla="*/ 4731 h 10283"/>
                <a:gd name="connsiteX14" fmla="*/ 8642 w 10000"/>
                <a:gd name="connsiteY14" fmla="*/ 4660 h 10283"/>
                <a:gd name="connsiteX15" fmla="*/ 8457 w 10000"/>
                <a:gd name="connsiteY15" fmla="*/ 4553 h 10283"/>
                <a:gd name="connsiteX16" fmla="*/ 8333 w 10000"/>
                <a:gd name="connsiteY16" fmla="*/ 4411 h 10283"/>
                <a:gd name="connsiteX17" fmla="*/ 7531 w 10000"/>
                <a:gd name="connsiteY17" fmla="*/ 3023 h 10283"/>
                <a:gd name="connsiteX18" fmla="*/ 7531 w 10000"/>
                <a:gd name="connsiteY18" fmla="*/ 9607 h 10283"/>
                <a:gd name="connsiteX19" fmla="*/ 7469 w 10000"/>
                <a:gd name="connsiteY19" fmla="*/ 9785 h 10283"/>
                <a:gd name="connsiteX20" fmla="*/ 7407 w 10000"/>
                <a:gd name="connsiteY20" fmla="*/ 9927 h 10283"/>
                <a:gd name="connsiteX21" fmla="*/ 7160 w 10000"/>
                <a:gd name="connsiteY21" fmla="*/ 10105 h 10283"/>
                <a:gd name="connsiteX22" fmla="*/ 6914 w 10000"/>
                <a:gd name="connsiteY22" fmla="*/ 10212 h 10283"/>
                <a:gd name="connsiteX23" fmla="*/ 6728 w 10000"/>
                <a:gd name="connsiteY23" fmla="*/ 10283 h 10283"/>
                <a:gd name="connsiteX24" fmla="*/ 6420 w 10000"/>
                <a:gd name="connsiteY24" fmla="*/ 10283 h 10283"/>
                <a:gd name="connsiteX25" fmla="*/ 6111 w 10000"/>
                <a:gd name="connsiteY25" fmla="*/ 10283 h 10283"/>
                <a:gd name="connsiteX26" fmla="*/ 5864 w 10000"/>
                <a:gd name="connsiteY26" fmla="*/ 10212 h 10283"/>
                <a:gd name="connsiteX27" fmla="*/ 5617 w 10000"/>
                <a:gd name="connsiteY27" fmla="*/ 10105 h 10283"/>
                <a:gd name="connsiteX28" fmla="*/ 5494 w 10000"/>
                <a:gd name="connsiteY28" fmla="*/ 9927 h 10283"/>
                <a:gd name="connsiteX29" fmla="*/ 5309 w 10000"/>
                <a:gd name="connsiteY29" fmla="*/ 9785 h 10283"/>
                <a:gd name="connsiteX30" fmla="*/ 5309 w 10000"/>
                <a:gd name="connsiteY30" fmla="*/ 9607 h 10283"/>
                <a:gd name="connsiteX31" fmla="*/ 5309 w 10000"/>
                <a:gd name="connsiteY31" fmla="*/ 5870 h 10283"/>
                <a:gd name="connsiteX32" fmla="*/ 4568 w 10000"/>
                <a:gd name="connsiteY32" fmla="*/ 5870 h 10283"/>
                <a:gd name="connsiteX33" fmla="*/ 4568 w 10000"/>
                <a:gd name="connsiteY33" fmla="*/ 9607 h 10283"/>
                <a:gd name="connsiteX34" fmla="*/ 4568 w 10000"/>
                <a:gd name="connsiteY34" fmla="*/ 9785 h 10283"/>
                <a:gd name="connsiteX35" fmla="*/ 4444 w 10000"/>
                <a:gd name="connsiteY35" fmla="*/ 9963 h 10283"/>
                <a:gd name="connsiteX36" fmla="*/ 4259 w 10000"/>
                <a:gd name="connsiteY36" fmla="*/ 10105 h 10283"/>
                <a:gd name="connsiteX37" fmla="*/ 4012 w 10000"/>
                <a:gd name="connsiteY37" fmla="*/ 10212 h 10283"/>
                <a:gd name="connsiteX38" fmla="*/ 3827 w 10000"/>
                <a:gd name="connsiteY38" fmla="*/ 10283 h 10283"/>
                <a:gd name="connsiteX39" fmla="*/ 3519 w 10000"/>
                <a:gd name="connsiteY39" fmla="*/ 10283 h 10283"/>
                <a:gd name="connsiteX40" fmla="*/ 3210 w 10000"/>
                <a:gd name="connsiteY40" fmla="*/ 10283 h 10283"/>
                <a:gd name="connsiteX41" fmla="*/ 2963 w 10000"/>
                <a:gd name="connsiteY41" fmla="*/ 10212 h 10283"/>
                <a:gd name="connsiteX42" fmla="*/ 2716 w 10000"/>
                <a:gd name="connsiteY42" fmla="*/ 10105 h 10283"/>
                <a:gd name="connsiteX43" fmla="*/ 2593 w 10000"/>
                <a:gd name="connsiteY43" fmla="*/ 9963 h 10283"/>
                <a:gd name="connsiteX44" fmla="*/ 2407 w 10000"/>
                <a:gd name="connsiteY44" fmla="*/ 9785 h 10283"/>
                <a:gd name="connsiteX45" fmla="*/ 2407 w 10000"/>
                <a:gd name="connsiteY45" fmla="*/ 9607 h 10283"/>
                <a:gd name="connsiteX46" fmla="*/ 2407 w 10000"/>
                <a:gd name="connsiteY46" fmla="*/ 2952 h 10283"/>
                <a:gd name="connsiteX47" fmla="*/ 1605 w 10000"/>
                <a:gd name="connsiteY47" fmla="*/ 4376 h 10283"/>
                <a:gd name="connsiteX48" fmla="*/ 1481 w 10000"/>
                <a:gd name="connsiteY48" fmla="*/ 4518 h 10283"/>
                <a:gd name="connsiteX49" fmla="*/ 1296 w 10000"/>
                <a:gd name="connsiteY49" fmla="*/ 4589 h 10283"/>
                <a:gd name="connsiteX50" fmla="*/ 1049 w 10000"/>
                <a:gd name="connsiteY50" fmla="*/ 4696 h 10283"/>
                <a:gd name="connsiteX51" fmla="*/ 802 w 10000"/>
                <a:gd name="connsiteY51" fmla="*/ 4696 h 10283"/>
                <a:gd name="connsiteX52" fmla="*/ 494 w 10000"/>
                <a:gd name="connsiteY52" fmla="*/ 4696 h 10283"/>
                <a:gd name="connsiteX53" fmla="*/ 309 w 10000"/>
                <a:gd name="connsiteY53" fmla="*/ 4589 h 10283"/>
                <a:gd name="connsiteX54" fmla="*/ 123 w 10000"/>
                <a:gd name="connsiteY54" fmla="*/ 4518 h 10283"/>
                <a:gd name="connsiteX55" fmla="*/ 0 w 10000"/>
                <a:gd name="connsiteY55" fmla="*/ 4376 h 10283"/>
                <a:gd name="connsiteX56" fmla="*/ 0 w 10000"/>
                <a:gd name="connsiteY56" fmla="*/ 4198 h 10283"/>
                <a:gd name="connsiteX57" fmla="*/ 0 w 10000"/>
                <a:gd name="connsiteY57" fmla="*/ 4055 h 10283"/>
                <a:gd name="connsiteX58" fmla="*/ 1790 w 10000"/>
                <a:gd name="connsiteY58" fmla="*/ 852 h 10283"/>
                <a:gd name="connsiteX59" fmla="*/ 2037 w 10000"/>
                <a:gd name="connsiteY59" fmla="*/ 710 h 10283"/>
                <a:gd name="connsiteX60" fmla="*/ 2346 w 10000"/>
                <a:gd name="connsiteY60" fmla="*/ 603 h 10283"/>
                <a:gd name="connsiteX61" fmla="*/ 2716 w 10000"/>
                <a:gd name="connsiteY61" fmla="*/ 461 h 10283"/>
                <a:gd name="connsiteX62" fmla="*/ 3025 w 10000"/>
                <a:gd name="connsiteY62" fmla="*/ 354 h 10283"/>
                <a:gd name="connsiteX63" fmla="*/ 3210 w 10000"/>
                <a:gd name="connsiteY63" fmla="*/ 319 h 10283"/>
                <a:gd name="connsiteX64" fmla="*/ 5244 w 10000"/>
                <a:gd name="connsiteY64" fmla="*/ 260 h 10283"/>
                <a:gd name="connsiteX65" fmla="*/ 6065 w 10000"/>
                <a:gd name="connsiteY65" fmla="*/ 0 h 10283"/>
                <a:gd name="connsiteX66" fmla="*/ 6328 w 10000"/>
                <a:gd name="connsiteY66" fmla="*/ 250 h 10283"/>
                <a:gd name="connsiteX0" fmla="*/ 6328 w 10000"/>
                <a:gd name="connsiteY0" fmla="*/ 250 h 10283"/>
                <a:gd name="connsiteX1" fmla="*/ 6852 w 10000"/>
                <a:gd name="connsiteY1" fmla="*/ 319 h 10283"/>
                <a:gd name="connsiteX2" fmla="*/ 7160 w 10000"/>
                <a:gd name="connsiteY2" fmla="*/ 461 h 10283"/>
                <a:gd name="connsiteX3" fmla="*/ 7531 w 10000"/>
                <a:gd name="connsiteY3" fmla="*/ 603 h 10283"/>
                <a:gd name="connsiteX4" fmla="*/ 7963 w 10000"/>
                <a:gd name="connsiteY4" fmla="*/ 781 h 10283"/>
                <a:gd name="connsiteX5" fmla="*/ 8086 w 10000"/>
                <a:gd name="connsiteY5" fmla="*/ 888 h 10283"/>
                <a:gd name="connsiteX6" fmla="*/ 9938 w 10000"/>
                <a:gd name="connsiteY6" fmla="*/ 4126 h 10283"/>
                <a:gd name="connsiteX7" fmla="*/ 10000 w 10000"/>
                <a:gd name="connsiteY7" fmla="*/ 4233 h 10283"/>
                <a:gd name="connsiteX8" fmla="*/ 9938 w 10000"/>
                <a:gd name="connsiteY8" fmla="*/ 4411 h 10283"/>
                <a:gd name="connsiteX9" fmla="*/ 9815 w 10000"/>
                <a:gd name="connsiteY9" fmla="*/ 4553 h 10283"/>
                <a:gd name="connsiteX10" fmla="*/ 9630 w 10000"/>
                <a:gd name="connsiteY10" fmla="*/ 4660 h 10283"/>
                <a:gd name="connsiteX11" fmla="*/ 9383 w 10000"/>
                <a:gd name="connsiteY11" fmla="*/ 4731 h 10283"/>
                <a:gd name="connsiteX12" fmla="*/ 9136 w 10000"/>
                <a:gd name="connsiteY12" fmla="*/ 4731 h 10283"/>
                <a:gd name="connsiteX13" fmla="*/ 8827 w 10000"/>
                <a:gd name="connsiteY13" fmla="*/ 4731 h 10283"/>
                <a:gd name="connsiteX14" fmla="*/ 8642 w 10000"/>
                <a:gd name="connsiteY14" fmla="*/ 4660 h 10283"/>
                <a:gd name="connsiteX15" fmla="*/ 8457 w 10000"/>
                <a:gd name="connsiteY15" fmla="*/ 4553 h 10283"/>
                <a:gd name="connsiteX16" fmla="*/ 8333 w 10000"/>
                <a:gd name="connsiteY16" fmla="*/ 4411 h 10283"/>
                <a:gd name="connsiteX17" fmla="*/ 7531 w 10000"/>
                <a:gd name="connsiteY17" fmla="*/ 3023 h 10283"/>
                <a:gd name="connsiteX18" fmla="*/ 7531 w 10000"/>
                <a:gd name="connsiteY18" fmla="*/ 9607 h 10283"/>
                <a:gd name="connsiteX19" fmla="*/ 7469 w 10000"/>
                <a:gd name="connsiteY19" fmla="*/ 9785 h 10283"/>
                <a:gd name="connsiteX20" fmla="*/ 7407 w 10000"/>
                <a:gd name="connsiteY20" fmla="*/ 9927 h 10283"/>
                <a:gd name="connsiteX21" fmla="*/ 7160 w 10000"/>
                <a:gd name="connsiteY21" fmla="*/ 10105 h 10283"/>
                <a:gd name="connsiteX22" fmla="*/ 6914 w 10000"/>
                <a:gd name="connsiteY22" fmla="*/ 10212 h 10283"/>
                <a:gd name="connsiteX23" fmla="*/ 6728 w 10000"/>
                <a:gd name="connsiteY23" fmla="*/ 10283 h 10283"/>
                <a:gd name="connsiteX24" fmla="*/ 6420 w 10000"/>
                <a:gd name="connsiteY24" fmla="*/ 10283 h 10283"/>
                <a:gd name="connsiteX25" fmla="*/ 6111 w 10000"/>
                <a:gd name="connsiteY25" fmla="*/ 10283 h 10283"/>
                <a:gd name="connsiteX26" fmla="*/ 5864 w 10000"/>
                <a:gd name="connsiteY26" fmla="*/ 10212 h 10283"/>
                <a:gd name="connsiteX27" fmla="*/ 5617 w 10000"/>
                <a:gd name="connsiteY27" fmla="*/ 10105 h 10283"/>
                <a:gd name="connsiteX28" fmla="*/ 5494 w 10000"/>
                <a:gd name="connsiteY28" fmla="*/ 9927 h 10283"/>
                <a:gd name="connsiteX29" fmla="*/ 5309 w 10000"/>
                <a:gd name="connsiteY29" fmla="*/ 9785 h 10283"/>
                <a:gd name="connsiteX30" fmla="*/ 5309 w 10000"/>
                <a:gd name="connsiteY30" fmla="*/ 9607 h 10283"/>
                <a:gd name="connsiteX31" fmla="*/ 5309 w 10000"/>
                <a:gd name="connsiteY31" fmla="*/ 5870 h 10283"/>
                <a:gd name="connsiteX32" fmla="*/ 4568 w 10000"/>
                <a:gd name="connsiteY32" fmla="*/ 5870 h 10283"/>
                <a:gd name="connsiteX33" fmla="*/ 4568 w 10000"/>
                <a:gd name="connsiteY33" fmla="*/ 9607 h 10283"/>
                <a:gd name="connsiteX34" fmla="*/ 4568 w 10000"/>
                <a:gd name="connsiteY34" fmla="*/ 9785 h 10283"/>
                <a:gd name="connsiteX35" fmla="*/ 4444 w 10000"/>
                <a:gd name="connsiteY35" fmla="*/ 9963 h 10283"/>
                <a:gd name="connsiteX36" fmla="*/ 4259 w 10000"/>
                <a:gd name="connsiteY36" fmla="*/ 10105 h 10283"/>
                <a:gd name="connsiteX37" fmla="*/ 4012 w 10000"/>
                <a:gd name="connsiteY37" fmla="*/ 10212 h 10283"/>
                <a:gd name="connsiteX38" fmla="*/ 3827 w 10000"/>
                <a:gd name="connsiteY38" fmla="*/ 10283 h 10283"/>
                <a:gd name="connsiteX39" fmla="*/ 3519 w 10000"/>
                <a:gd name="connsiteY39" fmla="*/ 10283 h 10283"/>
                <a:gd name="connsiteX40" fmla="*/ 3210 w 10000"/>
                <a:gd name="connsiteY40" fmla="*/ 10283 h 10283"/>
                <a:gd name="connsiteX41" fmla="*/ 2963 w 10000"/>
                <a:gd name="connsiteY41" fmla="*/ 10212 h 10283"/>
                <a:gd name="connsiteX42" fmla="*/ 2716 w 10000"/>
                <a:gd name="connsiteY42" fmla="*/ 10105 h 10283"/>
                <a:gd name="connsiteX43" fmla="*/ 2593 w 10000"/>
                <a:gd name="connsiteY43" fmla="*/ 9963 h 10283"/>
                <a:gd name="connsiteX44" fmla="*/ 2407 w 10000"/>
                <a:gd name="connsiteY44" fmla="*/ 9785 h 10283"/>
                <a:gd name="connsiteX45" fmla="*/ 2407 w 10000"/>
                <a:gd name="connsiteY45" fmla="*/ 9607 h 10283"/>
                <a:gd name="connsiteX46" fmla="*/ 2407 w 10000"/>
                <a:gd name="connsiteY46" fmla="*/ 2952 h 10283"/>
                <a:gd name="connsiteX47" fmla="*/ 1605 w 10000"/>
                <a:gd name="connsiteY47" fmla="*/ 4376 h 10283"/>
                <a:gd name="connsiteX48" fmla="*/ 1481 w 10000"/>
                <a:gd name="connsiteY48" fmla="*/ 4518 h 10283"/>
                <a:gd name="connsiteX49" fmla="*/ 1296 w 10000"/>
                <a:gd name="connsiteY49" fmla="*/ 4589 h 10283"/>
                <a:gd name="connsiteX50" fmla="*/ 1049 w 10000"/>
                <a:gd name="connsiteY50" fmla="*/ 4696 h 10283"/>
                <a:gd name="connsiteX51" fmla="*/ 802 w 10000"/>
                <a:gd name="connsiteY51" fmla="*/ 4696 h 10283"/>
                <a:gd name="connsiteX52" fmla="*/ 494 w 10000"/>
                <a:gd name="connsiteY52" fmla="*/ 4696 h 10283"/>
                <a:gd name="connsiteX53" fmla="*/ 309 w 10000"/>
                <a:gd name="connsiteY53" fmla="*/ 4589 h 10283"/>
                <a:gd name="connsiteX54" fmla="*/ 123 w 10000"/>
                <a:gd name="connsiteY54" fmla="*/ 4518 h 10283"/>
                <a:gd name="connsiteX55" fmla="*/ 0 w 10000"/>
                <a:gd name="connsiteY55" fmla="*/ 4376 h 10283"/>
                <a:gd name="connsiteX56" fmla="*/ 0 w 10000"/>
                <a:gd name="connsiteY56" fmla="*/ 4198 h 10283"/>
                <a:gd name="connsiteX57" fmla="*/ 0 w 10000"/>
                <a:gd name="connsiteY57" fmla="*/ 4055 h 10283"/>
                <a:gd name="connsiteX58" fmla="*/ 1790 w 10000"/>
                <a:gd name="connsiteY58" fmla="*/ 852 h 10283"/>
                <a:gd name="connsiteX59" fmla="*/ 2037 w 10000"/>
                <a:gd name="connsiteY59" fmla="*/ 710 h 10283"/>
                <a:gd name="connsiteX60" fmla="*/ 2346 w 10000"/>
                <a:gd name="connsiteY60" fmla="*/ 603 h 10283"/>
                <a:gd name="connsiteX61" fmla="*/ 2716 w 10000"/>
                <a:gd name="connsiteY61" fmla="*/ 461 h 10283"/>
                <a:gd name="connsiteX62" fmla="*/ 3025 w 10000"/>
                <a:gd name="connsiteY62" fmla="*/ 354 h 10283"/>
                <a:gd name="connsiteX63" fmla="*/ 3210 w 10000"/>
                <a:gd name="connsiteY63" fmla="*/ 319 h 10283"/>
                <a:gd name="connsiteX64" fmla="*/ 3930 w 10000"/>
                <a:gd name="connsiteY64" fmla="*/ 293 h 10283"/>
                <a:gd name="connsiteX65" fmla="*/ 6065 w 10000"/>
                <a:gd name="connsiteY65" fmla="*/ 0 h 10283"/>
                <a:gd name="connsiteX66" fmla="*/ 6328 w 10000"/>
                <a:gd name="connsiteY66" fmla="*/ 250 h 10283"/>
                <a:gd name="connsiteX0" fmla="*/ 6328 w 10000"/>
                <a:gd name="connsiteY0" fmla="*/ 0 h 10033"/>
                <a:gd name="connsiteX1" fmla="*/ 6852 w 10000"/>
                <a:gd name="connsiteY1" fmla="*/ 69 h 10033"/>
                <a:gd name="connsiteX2" fmla="*/ 7160 w 10000"/>
                <a:gd name="connsiteY2" fmla="*/ 211 h 10033"/>
                <a:gd name="connsiteX3" fmla="*/ 7531 w 10000"/>
                <a:gd name="connsiteY3" fmla="*/ 353 h 10033"/>
                <a:gd name="connsiteX4" fmla="*/ 7963 w 10000"/>
                <a:gd name="connsiteY4" fmla="*/ 531 h 10033"/>
                <a:gd name="connsiteX5" fmla="*/ 8086 w 10000"/>
                <a:gd name="connsiteY5" fmla="*/ 638 h 10033"/>
                <a:gd name="connsiteX6" fmla="*/ 9938 w 10000"/>
                <a:gd name="connsiteY6" fmla="*/ 3876 h 10033"/>
                <a:gd name="connsiteX7" fmla="*/ 10000 w 10000"/>
                <a:gd name="connsiteY7" fmla="*/ 3983 h 10033"/>
                <a:gd name="connsiteX8" fmla="*/ 9938 w 10000"/>
                <a:gd name="connsiteY8" fmla="*/ 4161 h 10033"/>
                <a:gd name="connsiteX9" fmla="*/ 9815 w 10000"/>
                <a:gd name="connsiteY9" fmla="*/ 4303 h 10033"/>
                <a:gd name="connsiteX10" fmla="*/ 9630 w 10000"/>
                <a:gd name="connsiteY10" fmla="*/ 4410 h 10033"/>
                <a:gd name="connsiteX11" fmla="*/ 9383 w 10000"/>
                <a:gd name="connsiteY11" fmla="*/ 4481 h 10033"/>
                <a:gd name="connsiteX12" fmla="*/ 9136 w 10000"/>
                <a:gd name="connsiteY12" fmla="*/ 4481 h 10033"/>
                <a:gd name="connsiteX13" fmla="*/ 8827 w 10000"/>
                <a:gd name="connsiteY13" fmla="*/ 4481 h 10033"/>
                <a:gd name="connsiteX14" fmla="*/ 8642 w 10000"/>
                <a:gd name="connsiteY14" fmla="*/ 4410 h 10033"/>
                <a:gd name="connsiteX15" fmla="*/ 8457 w 10000"/>
                <a:gd name="connsiteY15" fmla="*/ 4303 h 10033"/>
                <a:gd name="connsiteX16" fmla="*/ 8333 w 10000"/>
                <a:gd name="connsiteY16" fmla="*/ 4161 h 10033"/>
                <a:gd name="connsiteX17" fmla="*/ 7531 w 10000"/>
                <a:gd name="connsiteY17" fmla="*/ 2773 h 10033"/>
                <a:gd name="connsiteX18" fmla="*/ 7531 w 10000"/>
                <a:gd name="connsiteY18" fmla="*/ 9357 h 10033"/>
                <a:gd name="connsiteX19" fmla="*/ 7469 w 10000"/>
                <a:gd name="connsiteY19" fmla="*/ 9535 h 10033"/>
                <a:gd name="connsiteX20" fmla="*/ 7407 w 10000"/>
                <a:gd name="connsiteY20" fmla="*/ 9677 h 10033"/>
                <a:gd name="connsiteX21" fmla="*/ 7160 w 10000"/>
                <a:gd name="connsiteY21" fmla="*/ 9855 h 10033"/>
                <a:gd name="connsiteX22" fmla="*/ 6914 w 10000"/>
                <a:gd name="connsiteY22" fmla="*/ 9962 h 10033"/>
                <a:gd name="connsiteX23" fmla="*/ 6728 w 10000"/>
                <a:gd name="connsiteY23" fmla="*/ 10033 h 10033"/>
                <a:gd name="connsiteX24" fmla="*/ 6420 w 10000"/>
                <a:gd name="connsiteY24" fmla="*/ 10033 h 10033"/>
                <a:gd name="connsiteX25" fmla="*/ 6111 w 10000"/>
                <a:gd name="connsiteY25" fmla="*/ 10033 h 10033"/>
                <a:gd name="connsiteX26" fmla="*/ 5864 w 10000"/>
                <a:gd name="connsiteY26" fmla="*/ 9962 h 10033"/>
                <a:gd name="connsiteX27" fmla="*/ 5617 w 10000"/>
                <a:gd name="connsiteY27" fmla="*/ 9855 h 10033"/>
                <a:gd name="connsiteX28" fmla="*/ 5494 w 10000"/>
                <a:gd name="connsiteY28" fmla="*/ 9677 h 10033"/>
                <a:gd name="connsiteX29" fmla="*/ 5309 w 10000"/>
                <a:gd name="connsiteY29" fmla="*/ 9535 h 10033"/>
                <a:gd name="connsiteX30" fmla="*/ 5309 w 10000"/>
                <a:gd name="connsiteY30" fmla="*/ 9357 h 10033"/>
                <a:gd name="connsiteX31" fmla="*/ 5309 w 10000"/>
                <a:gd name="connsiteY31" fmla="*/ 5620 h 10033"/>
                <a:gd name="connsiteX32" fmla="*/ 4568 w 10000"/>
                <a:gd name="connsiteY32" fmla="*/ 5620 h 10033"/>
                <a:gd name="connsiteX33" fmla="*/ 4568 w 10000"/>
                <a:gd name="connsiteY33" fmla="*/ 9357 h 10033"/>
                <a:gd name="connsiteX34" fmla="*/ 4568 w 10000"/>
                <a:gd name="connsiteY34" fmla="*/ 9535 h 10033"/>
                <a:gd name="connsiteX35" fmla="*/ 4444 w 10000"/>
                <a:gd name="connsiteY35" fmla="*/ 9713 h 10033"/>
                <a:gd name="connsiteX36" fmla="*/ 4259 w 10000"/>
                <a:gd name="connsiteY36" fmla="*/ 9855 h 10033"/>
                <a:gd name="connsiteX37" fmla="*/ 4012 w 10000"/>
                <a:gd name="connsiteY37" fmla="*/ 9962 h 10033"/>
                <a:gd name="connsiteX38" fmla="*/ 3827 w 10000"/>
                <a:gd name="connsiteY38" fmla="*/ 10033 h 10033"/>
                <a:gd name="connsiteX39" fmla="*/ 3519 w 10000"/>
                <a:gd name="connsiteY39" fmla="*/ 10033 h 10033"/>
                <a:gd name="connsiteX40" fmla="*/ 3210 w 10000"/>
                <a:gd name="connsiteY40" fmla="*/ 10033 h 10033"/>
                <a:gd name="connsiteX41" fmla="*/ 2963 w 10000"/>
                <a:gd name="connsiteY41" fmla="*/ 9962 h 10033"/>
                <a:gd name="connsiteX42" fmla="*/ 2716 w 10000"/>
                <a:gd name="connsiteY42" fmla="*/ 9855 h 10033"/>
                <a:gd name="connsiteX43" fmla="*/ 2593 w 10000"/>
                <a:gd name="connsiteY43" fmla="*/ 9713 h 10033"/>
                <a:gd name="connsiteX44" fmla="*/ 2407 w 10000"/>
                <a:gd name="connsiteY44" fmla="*/ 9535 h 10033"/>
                <a:gd name="connsiteX45" fmla="*/ 2407 w 10000"/>
                <a:gd name="connsiteY45" fmla="*/ 9357 h 10033"/>
                <a:gd name="connsiteX46" fmla="*/ 2407 w 10000"/>
                <a:gd name="connsiteY46" fmla="*/ 2702 h 10033"/>
                <a:gd name="connsiteX47" fmla="*/ 1605 w 10000"/>
                <a:gd name="connsiteY47" fmla="*/ 4126 h 10033"/>
                <a:gd name="connsiteX48" fmla="*/ 1481 w 10000"/>
                <a:gd name="connsiteY48" fmla="*/ 4268 h 10033"/>
                <a:gd name="connsiteX49" fmla="*/ 1296 w 10000"/>
                <a:gd name="connsiteY49" fmla="*/ 4339 h 10033"/>
                <a:gd name="connsiteX50" fmla="*/ 1049 w 10000"/>
                <a:gd name="connsiteY50" fmla="*/ 4446 h 10033"/>
                <a:gd name="connsiteX51" fmla="*/ 802 w 10000"/>
                <a:gd name="connsiteY51" fmla="*/ 4446 h 10033"/>
                <a:gd name="connsiteX52" fmla="*/ 494 w 10000"/>
                <a:gd name="connsiteY52" fmla="*/ 4446 h 10033"/>
                <a:gd name="connsiteX53" fmla="*/ 309 w 10000"/>
                <a:gd name="connsiteY53" fmla="*/ 4339 h 10033"/>
                <a:gd name="connsiteX54" fmla="*/ 123 w 10000"/>
                <a:gd name="connsiteY54" fmla="*/ 4268 h 10033"/>
                <a:gd name="connsiteX55" fmla="*/ 0 w 10000"/>
                <a:gd name="connsiteY55" fmla="*/ 4126 h 10033"/>
                <a:gd name="connsiteX56" fmla="*/ 0 w 10000"/>
                <a:gd name="connsiteY56" fmla="*/ 3948 h 10033"/>
                <a:gd name="connsiteX57" fmla="*/ 0 w 10000"/>
                <a:gd name="connsiteY57" fmla="*/ 3805 h 10033"/>
                <a:gd name="connsiteX58" fmla="*/ 1790 w 10000"/>
                <a:gd name="connsiteY58" fmla="*/ 602 h 10033"/>
                <a:gd name="connsiteX59" fmla="*/ 2037 w 10000"/>
                <a:gd name="connsiteY59" fmla="*/ 460 h 10033"/>
                <a:gd name="connsiteX60" fmla="*/ 2346 w 10000"/>
                <a:gd name="connsiteY60" fmla="*/ 353 h 10033"/>
                <a:gd name="connsiteX61" fmla="*/ 2716 w 10000"/>
                <a:gd name="connsiteY61" fmla="*/ 211 h 10033"/>
                <a:gd name="connsiteX62" fmla="*/ 3025 w 10000"/>
                <a:gd name="connsiteY62" fmla="*/ 104 h 10033"/>
                <a:gd name="connsiteX63" fmla="*/ 3210 w 10000"/>
                <a:gd name="connsiteY63" fmla="*/ 69 h 10033"/>
                <a:gd name="connsiteX64" fmla="*/ 3930 w 10000"/>
                <a:gd name="connsiteY64" fmla="*/ 43 h 10033"/>
                <a:gd name="connsiteX65" fmla="*/ 5379 w 10000"/>
                <a:gd name="connsiteY65" fmla="*/ 13 h 10033"/>
                <a:gd name="connsiteX66" fmla="*/ 6328 w 10000"/>
                <a:gd name="connsiteY66" fmla="*/ 0 h 10033"/>
                <a:gd name="connsiteX0" fmla="*/ 6328 w 10000"/>
                <a:gd name="connsiteY0" fmla="*/ 0 h 10033"/>
                <a:gd name="connsiteX1" fmla="*/ 6852 w 10000"/>
                <a:gd name="connsiteY1" fmla="*/ 69 h 10033"/>
                <a:gd name="connsiteX2" fmla="*/ 7446 w 10000"/>
                <a:gd name="connsiteY2" fmla="*/ 244 h 10033"/>
                <a:gd name="connsiteX3" fmla="*/ 7531 w 10000"/>
                <a:gd name="connsiteY3" fmla="*/ 353 h 10033"/>
                <a:gd name="connsiteX4" fmla="*/ 7963 w 10000"/>
                <a:gd name="connsiteY4" fmla="*/ 531 h 10033"/>
                <a:gd name="connsiteX5" fmla="*/ 8086 w 10000"/>
                <a:gd name="connsiteY5" fmla="*/ 638 h 10033"/>
                <a:gd name="connsiteX6" fmla="*/ 9938 w 10000"/>
                <a:gd name="connsiteY6" fmla="*/ 3876 h 10033"/>
                <a:gd name="connsiteX7" fmla="*/ 10000 w 10000"/>
                <a:gd name="connsiteY7" fmla="*/ 3983 h 10033"/>
                <a:gd name="connsiteX8" fmla="*/ 9938 w 10000"/>
                <a:gd name="connsiteY8" fmla="*/ 4161 h 10033"/>
                <a:gd name="connsiteX9" fmla="*/ 9815 w 10000"/>
                <a:gd name="connsiteY9" fmla="*/ 4303 h 10033"/>
                <a:gd name="connsiteX10" fmla="*/ 9630 w 10000"/>
                <a:gd name="connsiteY10" fmla="*/ 4410 h 10033"/>
                <a:gd name="connsiteX11" fmla="*/ 9383 w 10000"/>
                <a:gd name="connsiteY11" fmla="*/ 4481 h 10033"/>
                <a:gd name="connsiteX12" fmla="*/ 9136 w 10000"/>
                <a:gd name="connsiteY12" fmla="*/ 4481 h 10033"/>
                <a:gd name="connsiteX13" fmla="*/ 8827 w 10000"/>
                <a:gd name="connsiteY13" fmla="*/ 4481 h 10033"/>
                <a:gd name="connsiteX14" fmla="*/ 8642 w 10000"/>
                <a:gd name="connsiteY14" fmla="*/ 4410 h 10033"/>
                <a:gd name="connsiteX15" fmla="*/ 8457 w 10000"/>
                <a:gd name="connsiteY15" fmla="*/ 4303 h 10033"/>
                <a:gd name="connsiteX16" fmla="*/ 8333 w 10000"/>
                <a:gd name="connsiteY16" fmla="*/ 4161 h 10033"/>
                <a:gd name="connsiteX17" fmla="*/ 7531 w 10000"/>
                <a:gd name="connsiteY17" fmla="*/ 2773 h 10033"/>
                <a:gd name="connsiteX18" fmla="*/ 7531 w 10000"/>
                <a:gd name="connsiteY18" fmla="*/ 9357 h 10033"/>
                <a:gd name="connsiteX19" fmla="*/ 7469 w 10000"/>
                <a:gd name="connsiteY19" fmla="*/ 9535 h 10033"/>
                <a:gd name="connsiteX20" fmla="*/ 7407 w 10000"/>
                <a:gd name="connsiteY20" fmla="*/ 9677 h 10033"/>
                <a:gd name="connsiteX21" fmla="*/ 7160 w 10000"/>
                <a:gd name="connsiteY21" fmla="*/ 9855 h 10033"/>
                <a:gd name="connsiteX22" fmla="*/ 6914 w 10000"/>
                <a:gd name="connsiteY22" fmla="*/ 9962 h 10033"/>
                <a:gd name="connsiteX23" fmla="*/ 6728 w 10000"/>
                <a:gd name="connsiteY23" fmla="*/ 10033 h 10033"/>
                <a:gd name="connsiteX24" fmla="*/ 6420 w 10000"/>
                <a:gd name="connsiteY24" fmla="*/ 10033 h 10033"/>
                <a:gd name="connsiteX25" fmla="*/ 6111 w 10000"/>
                <a:gd name="connsiteY25" fmla="*/ 10033 h 10033"/>
                <a:gd name="connsiteX26" fmla="*/ 5864 w 10000"/>
                <a:gd name="connsiteY26" fmla="*/ 9962 h 10033"/>
                <a:gd name="connsiteX27" fmla="*/ 5617 w 10000"/>
                <a:gd name="connsiteY27" fmla="*/ 9855 h 10033"/>
                <a:gd name="connsiteX28" fmla="*/ 5494 w 10000"/>
                <a:gd name="connsiteY28" fmla="*/ 9677 h 10033"/>
                <a:gd name="connsiteX29" fmla="*/ 5309 w 10000"/>
                <a:gd name="connsiteY29" fmla="*/ 9535 h 10033"/>
                <a:gd name="connsiteX30" fmla="*/ 5309 w 10000"/>
                <a:gd name="connsiteY30" fmla="*/ 9357 h 10033"/>
                <a:gd name="connsiteX31" fmla="*/ 5309 w 10000"/>
                <a:gd name="connsiteY31" fmla="*/ 5620 h 10033"/>
                <a:gd name="connsiteX32" fmla="*/ 4568 w 10000"/>
                <a:gd name="connsiteY32" fmla="*/ 5620 h 10033"/>
                <a:gd name="connsiteX33" fmla="*/ 4568 w 10000"/>
                <a:gd name="connsiteY33" fmla="*/ 9357 h 10033"/>
                <a:gd name="connsiteX34" fmla="*/ 4568 w 10000"/>
                <a:gd name="connsiteY34" fmla="*/ 9535 h 10033"/>
                <a:gd name="connsiteX35" fmla="*/ 4444 w 10000"/>
                <a:gd name="connsiteY35" fmla="*/ 9713 h 10033"/>
                <a:gd name="connsiteX36" fmla="*/ 4259 w 10000"/>
                <a:gd name="connsiteY36" fmla="*/ 9855 h 10033"/>
                <a:gd name="connsiteX37" fmla="*/ 4012 w 10000"/>
                <a:gd name="connsiteY37" fmla="*/ 9962 h 10033"/>
                <a:gd name="connsiteX38" fmla="*/ 3827 w 10000"/>
                <a:gd name="connsiteY38" fmla="*/ 10033 h 10033"/>
                <a:gd name="connsiteX39" fmla="*/ 3519 w 10000"/>
                <a:gd name="connsiteY39" fmla="*/ 10033 h 10033"/>
                <a:gd name="connsiteX40" fmla="*/ 3210 w 10000"/>
                <a:gd name="connsiteY40" fmla="*/ 10033 h 10033"/>
                <a:gd name="connsiteX41" fmla="*/ 2963 w 10000"/>
                <a:gd name="connsiteY41" fmla="*/ 9962 h 10033"/>
                <a:gd name="connsiteX42" fmla="*/ 2716 w 10000"/>
                <a:gd name="connsiteY42" fmla="*/ 9855 h 10033"/>
                <a:gd name="connsiteX43" fmla="*/ 2593 w 10000"/>
                <a:gd name="connsiteY43" fmla="*/ 9713 h 10033"/>
                <a:gd name="connsiteX44" fmla="*/ 2407 w 10000"/>
                <a:gd name="connsiteY44" fmla="*/ 9535 h 10033"/>
                <a:gd name="connsiteX45" fmla="*/ 2407 w 10000"/>
                <a:gd name="connsiteY45" fmla="*/ 9357 h 10033"/>
                <a:gd name="connsiteX46" fmla="*/ 2407 w 10000"/>
                <a:gd name="connsiteY46" fmla="*/ 2702 h 10033"/>
                <a:gd name="connsiteX47" fmla="*/ 1605 w 10000"/>
                <a:gd name="connsiteY47" fmla="*/ 4126 h 10033"/>
                <a:gd name="connsiteX48" fmla="*/ 1481 w 10000"/>
                <a:gd name="connsiteY48" fmla="*/ 4268 h 10033"/>
                <a:gd name="connsiteX49" fmla="*/ 1296 w 10000"/>
                <a:gd name="connsiteY49" fmla="*/ 4339 h 10033"/>
                <a:gd name="connsiteX50" fmla="*/ 1049 w 10000"/>
                <a:gd name="connsiteY50" fmla="*/ 4446 h 10033"/>
                <a:gd name="connsiteX51" fmla="*/ 802 w 10000"/>
                <a:gd name="connsiteY51" fmla="*/ 4446 h 10033"/>
                <a:gd name="connsiteX52" fmla="*/ 494 w 10000"/>
                <a:gd name="connsiteY52" fmla="*/ 4446 h 10033"/>
                <a:gd name="connsiteX53" fmla="*/ 309 w 10000"/>
                <a:gd name="connsiteY53" fmla="*/ 4339 h 10033"/>
                <a:gd name="connsiteX54" fmla="*/ 123 w 10000"/>
                <a:gd name="connsiteY54" fmla="*/ 4268 h 10033"/>
                <a:gd name="connsiteX55" fmla="*/ 0 w 10000"/>
                <a:gd name="connsiteY55" fmla="*/ 4126 h 10033"/>
                <a:gd name="connsiteX56" fmla="*/ 0 w 10000"/>
                <a:gd name="connsiteY56" fmla="*/ 3948 h 10033"/>
                <a:gd name="connsiteX57" fmla="*/ 0 w 10000"/>
                <a:gd name="connsiteY57" fmla="*/ 3805 h 10033"/>
                <a:gd name="connsiteX58" fmla="*/ 1790 w 10000"/>
                <a:gd name="connsiteY58" fmla="*/ 602 h 10033"/>
                <a:gd name="connsiteX59" fmla="*/ 2037 w 10000"/>
                <a:gd name="connsiteY59" fmla="*/ 460 h 10033"/>
                <a:gd name="connsiteX60" fmla="*/ 2346 w 10000"/>
                <a:gd name="connsiteY60" fmla="*/ 353 h 10033"/>
                <a:gd name="connsiteX61" fmla="*/ 2716 w 10000"/>
                <a:gd name="connsiteY61" fmla="*/ 211 h 10033"/>
                <a:gd name="connsiteX62" fmla="*/ 3025 w 10000"/>
                <a:gd name="connsiteY62" fmla="*/ 104 h 10033"/>
                <a:gd name="connsiteX63" fmla="*/ 3210 w 10000"/>
                <a:gd name="connsiteY63" fmla="*/ 69 h 10033"/>
                <a:gd name="connsiteX64" fmla="*/ 3930 w 10000"/>
                <a:gd name="connsiteY64" fmla="*/ 43 h 10033"/>
                <a:gd name="connsiteX65" fmla="*/ 5379 w 10000"/>
                <a:gd name="connsiteY65" fmla="*/ 13 h 10033"/>
                <a:gd name="connsiteX66" fmla="*/ 6328 w 10000"/>
                <a:gd name="connsiteY66" fmla="*/ 0 h 10033"/>
                <a:gd name="connsiteX0" fmla="*/ 6328 w 10000"/>
                <a:gd name="connsiteY0" fmla="*/ 0 h 10033"/>
                <a:gd name="connsiteX1" fmla="*/ 6852 w 10000"/>
                <a:gd name="connsiteY1" fmla="*/ 69 h 10033"/>
                <a:gd name="connsiteX2" fmla="*/ 7446 w 10000"/>
                <a:gd name="connsiteY2" fmla="*/ 244 h 10033"/>
                <a:gd name="connsiteX3" fmla="*/ 7588 w 10000"/>
                <a:gd name="connsiteY3" fmla="*/ 419 h 10033"/>
                <a:gd name="connsiteX4" fmla="*/ 7963 w 10000"/>
                <a:gd name="connsiteY4" fmla="*/ 531 h 10033"/>
                <a:gd name="connsiteX5" fmla="*/ 8086 w 10000"/>
                <a:gd name="connsiteY5" fmla="*/ 638 h 10033"/>
                <a:gd name="connsiteX6" fmla="*/ 9938 w 10000"/>
                <a:gd name="connsiteY6" fmla="*/ 3876 h 10033"/>
                <a:gd name="connsiteX7" fmla="*/ 10000 w 10000"/>
                <a:gd name="connsiteY7" fmla="*/ 3983 h 10033"/>
                <a:gd name="connsiteX8" fmla="*/ 9938 w 10000"/>
                <a:gd name="connsiteY8" fmla="*/ 4161 h 10033"/>
                <a:gd name="connsiteX9" fmla="*/ 9815 w 10000"/>
                <a:gd name="connsiteY9" fmla="*/ 4303 h 10033"/>
                <a:gd name="connsiteX10" fmla="*/ 9630 w 10000"/>
                <a:gd name="connsiteY10" fmla="*/ 4410 h 10033"/>
                <a:gd name="connsiteX11" fmla="*/ 9383 w 10000"/>
                <a:gd name="connsiteY11" fmla="*/ 4481 h 10033"/>
                <a:gd name="connsiteX12" fmla="*/ 9136 w 10000"/>
                <a:gd name="connsiteY12" fmla="*/ 4481 h 10033"/>
                <a:gd name="connsiteX13" fmla="*/ 8827 w 10000"/>
                <a:gd name="connsiteY13" fmla="*/ 4481 h 10033"/>
                <a:gd name="connsiteX14" fmla="*/ 8642 w 10000"/>
                <a:gd name="connsiteY14" fmla="*/ 4410 h 10033"/>
                <a:gd name="connsiteX15" fmla="*/ 8457 w 10000"/>
                <a:gd name="connsiteY15" fmla="*/ 4303 h 10033"/>
                <a:gd name="connsiteX16" fmla="*/ 8333 w 10000"/>
                <a:gd name="connsiteY16" fmla="*/ 4161 h 10033"/>
                <a:gd name="connsiteX17" fmla="*/ 7531 w 10000"/>
                <a:gd name="connsiteY17" fmla="*/ 2773 h 10033"/>
                <a:gd name="connsiteX18" fmla="*/ 7531 w 10000"/>
                <a:gd name="connsiteY18" fmla="*/ 9357 h 10033"/>
                <a:gd name="connsiteX19" fmla="*/ 7469 w 10000"/>
                <a:gd name="connsiteY19" fmla="*/ 9535 h 10033"/>
                <a:gd name="connsiteX20" fmla="*/ 7407 w 10000"/>
                <a:gd name="connsiteY20" fmla="*/ 9677 h 10033"/>
                <a:gd name="connsiteX21" fmla="*/ 7160 w 10000"/>
                <a:gd name="connsiteY21" fmla="*/ 9855 h 10033"/>
                <a:gd name="connsiteX22" fmla="*/ 6914 w 10000"/>
                <a:gd name="connsiteY22" fmla="*/ 9962 h 10033"/>
                <a:gd name="connsiteX23" fmla="*/ 6728 w 10000"/>
                <a:gd name="connsiteY23" fmla="*/ 10033 h 10033"/>
                <a:gd name="connsiteX24" fmla="*/ 6420 w 10000"/>
                <a:gd name="connsiteY24" fmla="*/ 10033 h 10033"/>
                <a:gd name="connsiteX25" fmla="*/ 6111 w 10000"/>
                <a:gd name="connsiteY25" fmla="*/ 10033 h 10033"/>
                <a:gd name="connsiteX26" fmla="*/ 5864 w 10000"/>
                <a:gd name="connsiteY26" fmla="*/ 9962 h 10033"/>
                <a:gd name="connsiteX27" fmla="*/ 5617 w 10000"/>
                <a:gd name="connsiteY27" fmla="*/ 9855 h 10033"/>
                <a:gd name="connsiteX28" fmla="*/ 5494 w 10000"/>
                <a:gd name="connsiteY28" fmla="*/ 9677 h 10033"/>
                <a:gd name="connsiteX29" fmla="*/ 5309 w 10000"/>
                <a:gd name="connsiteY29" fmla="*/ 9535 h 10033"/>
                <a:gd name="connsiteX30" fmla="*/ 5309 w 10000"/>
                <a:gd name="connsiteY30" fmla="*/ 9357 h 10033"/>
                <a:gd name="connsiteX31" fmla="*/ 5309 w 10000"/>
                <a:gd name="connsiteY31" fmla="*/ 5620 h 10033"/>
                <a:gd name="connsiteX32" fmla="*/ 4568 w 10000"/>
                <a:gd name="connsiteY32" fmla="*/ 5620 h 10033"/>
                <a:gd name="connsiteX33" fmla="*/ 4568 w 10000"/>
                <a:gd name="connsiteY33" fmla="*/ 9357 h 10033"/>
                <a:gd name="connsiteX34" fmla="*/ 4568 w 10000"/>
                <a:gd name="connsiteY34" fmla="*/ 9535 h 10033"/>
                <a:gd name="connsiteX35" fmla="*/ 4444 w 10000"/>
                <a:gd name="connsiteY35" fmla="*/ 9713 h 10033"/>
                <a:gd name="connsiteX36" fmla="*/ 4259 w 10000"/>
                <a:gd name="connsiteY36" fmla="*/ 9855 h 10033"/>
                <a:gd name="connsiteX37" fmla="*/ 4012 w 10000"/>
                <a:gd name="connsiteY37" fmla="*/ 9962 h 10033"/>
                <a:gd name="connsiteX38" fmla="*/ 3827 w 10000"/>
                <a:gd name="connsiteY38" fmla="*/ 10033 h 10033"/>
                <a:gd name="connsiteX39" fmla="*/ 3519 w 10000"/>
                <a:gd name="connsiteY39" fmla="*/ 10033 h 10033"/>
                <a:gd name="connsiteX40" fmla="*/ 3210 w 10000"/>
                <a:gd name="connsiteY40" fmla="*/ 10033 h 10033"/>
                <a:gd name="connsiteX41" fmla="*/ 2963 w 10000"/>
                <a:gd name="connsiteY41" fmla="*/ 9962 h 10033"/>
                <a:gd name="connsiteX42" fmla="*/ 2716 w 10000"/>
                <a:gd name="connsiteY42" fmla="*/ 9855 h 10033"/>
                <a:gd name="connsiteX43" fmla="*/ 2593 w 10000"/>
                <a:gd name="connsiteY43" fmla="*/ 9713 h 10033"/>
                <a:gd name="connsiteX44" fmla="*/ 2407 w 10000"/>
                <a:gd name="connsiteY44" fmla="*/ 9535 h 10033"/>
                <a:gd name="connsiteX45" fmla="*/ 2407 w 10000"/>
                <a:gd name="connsiteY45" fmla="*/ 9357 h 10033"/>
                <a:gd name="connsiteX46" fmla="*/ 2407 w 10000"/>
                <a:gd name="connsiteY46" fmla="*/ 2702 h 10033"/>
                <a:gd name="connsiteX47" fmla="*/ 1605 w 10000"/>
                <a:gd name="connsiteY47" fmla="*/ 4126 h 10033"/>
                <a:gd name="connsiteX48" fmla="*/ 1481 w 10000"/>
                <a:gd name="connsiteY48" fmla="*/ 4268 h 10033"/>
                <a:gd name="connsiteX49" fmla="*/ 1296 w 10000"/>
                <a:gd name="connsiteY49" fmla="*/ 4339 h 10033"/>
                <a:gd name="connsiteX50" fmla="*/ 1049 w 10000"/>
                <a:gd name="connsiteY50" fmla="*/ 4446 h 10033"/>
                <a:gd name="connsiteX51" fmla="*/ 802 w 10000"/>
                <a:gd name="connsiteY51" fmla="*/ 4446 h 10033"/>
                <a:gd name="connsiteX52" fmla="*/ 494 w 10000"/>
                <a:gd name="connsiteY52" fmla="*/ 4446 h 10033"/>
                <a:gd name="connsiteX53" fmla="*/ 309 w 10000"/>
                <a:gd name="connsiteY53" fmla="*/ 4339 h 10033"/>
                <a:gd name="connsiteX54" fmla="*/ 123 w 10000"/>
                <a:gd name="connsiteY54" fmla="*/ 4268 h 10033"/>
                <a:gd name="connsiteX55" fmla="*/ 0 w 10000"/>
                <a:gd name="connsiteY55" fmla="*/ 4126 h 10033"/>
                <a:gd name="connsiteX56" fmla="*/ 0 w 10000"/>
                <a:gd name="connsiteY56" fmla="*/ 3948 h 10033"/>
                <a:gd name="connsiteX57" fmla="*/ 0 w 10000"/>
                <a:gd name="connsiteY57" fmla="*/ 3805 h 10033"/>
                <a:gd name="connsiteX58" fmla="*/ 1790 w 10000"/>
                <a:gd name="connsiteY58" fmla="*/ 602 h 10033"/>
                <a:gd name="connsiteX59" fmla="*/ 2037 w 10000"/>
                <a:gd name="connsiteY59" fmla="*/ 460 h 10033"/>
                <a:gd name="connsiteX60" fmla="*/ 2346 w 10000"/>
                <a:gd name="connsiteY60" fmla="*/ 353 h 10033"/>
                <a:gd name="connsiteX61" fmla="*/ 2716 w 10000"/>
                <a:gd name="connsiteY61" fmla="*/ 211 h 10033"/>
                <a:gd name="connsiteX62" fmla="*/ 3025 w 10000"/>
                <a:gd name="connsiteY62" fmla="*/ 104 h 10033"/>
                <a:gd name="connsiteX63" fmla="*/ 3210 w 10000"/>
                <a:gd name="connsiteY63" fmla="*/ 69 h 10033"/>
                <a:gd name="connsiteX64" fmla="*/ 3930 w 10000"/>
                <a:gd name="connsiteY64" fmla="*/ 43 h 10033"/>
                <a:gd name="connsiteX65" fmla="*/ 5379 w 10000"/>
                <a:gd name="connsiteY65" fmla="*/ 13 h 10033"/>
                <a:gd name="connsiteX66" fmla="*/ 6328 w 10000"/>
                <a:gd name="connsiteY66" fmla="*/ 0 h 10033"/>
                <a:gd name="connsiteX0" fmla="*/ 6328 w 10000"/>
                <a:gd name="connsiteY0" fmla="*/ 0 h 10033"/>
                <a:gd name="connsiteX1" fmla="*/ 6852 w 10000"/>
                <a:gd name="connsiteY1" fmla="*/ 69 h 10033"/>
                <a:gd name="connsiteX2" fmla="*/ 7446 w 10000"/>
                <a:gd name="connsiteY2" fmla="*/ 244 h 10033"/>
                <a:gd name="connsiteX3" fmla="*/ 7759 w 10000"/>
                <a:gd name="connsiteY3" fmla="*/ 452 h 10033"/>
                <a:gd name="connsiteX4" fmla="*/ 7963 w 10000"/>
                <a:gd name="connsiteY4" fmla="*/ 531 h 10033"/>
                <a:gd name="connsiteX5" fmla="*/ 8086 w 10000"/>
                <a:gd name="connsiteY5" fmla="*/ 638 h 10033"/>
                <a:gd name="connsiteX6" fmla="*/ 9938 w 10000"/>
                <a:gd name="connsiteY6" fmla="*/ 3876 h 10033"/>
                <a:gd name="connsiteX7" fmla="*/ 10000 w 10000"/>
                <a:gd name="connsiteY7" fmla="*/ 3983 h 10033"/>
                <a:gd name="connsiteX8" fmla="*/ 9938 w 10000"/>
                <a:gd name="connsiteY8" fmla="*/ 4161 h 10033"/>
                <a:gd name="connsiteX9" fmla="*/ 9815 w 10000"/>
                <a:gd name="connsiteY9" fmla="*/ 4303 h 10033"/>
                <a:gd name="connsiteX10" fmla="*/ 9630 w 10000"/>
                <a:gd name="connsiteY10" fmla="*/ 4410 h 10033"/>
                <a:gd name="connsiteX11" fmla="*/ 9383 w 10000"/>
                <a:gd name="connsiteY11" fmla="*/ 4481 h 10033"/>
                <a:gd name="connsiteX12" fmla="*/ 9136 w 10000"/>
                <a:gd name="connsiteY12" fmla="*/ 4481 h 10033"/>
                <a:gd name="connsiteX13" fmla="*/ 8827 w 10000"/>
                <a:gd name="connsiteY13" fmla="*/ 4481 h 10033"/>
                <a:gd name="connsiteX14" fmla="*/ 8642 w 10000"/>
                <a:gd name="connsiteY14" fmla="*/ 4410 h 10033"/>
                <a:gd name="connsiteX15" fmla="*/ 8457 w 10000"/>
                <a:gd name="connsiteY15" fmla="*/ 4303 h 10033"/>
                <a:gd name="connsiteX16" fmla="*/ 8333 w 10000"/>
                <a:gd name="connsiteY16" fmla="*/ 4161 h 10033"/>
                <a:gd name="connsiteX17" fmla="*/ 7531 w 10000"/>
                <a:gd name="connsiteY17" fmla="*/ 2773 h 10033"/>
                <a:gd name="connsiteX18" fmla="*/ 7531 w 10000"/>
                <a:gd name="connsiteY18" fmla="*/ 9357 h 10033"/>
                <a:gd name="connsiteX19" fmla="*/ 7469 w 10000"/>
                <a:gd name="connsiteY19" fmla="*/ 9535 h 10033"/>
                <a:gd name="connsiteX20" fmla="*/ 7407 w 10000"/>
                <a:gd name="connsiteY20" fmla="*/ 9677 h 10033"/>
                <a:gd name="connsiteX21" fmla="*/ 7160 w 10000"/>
                <a:gd name="connsiteY21" fmla="*/ 9855 h 10033"/>
                <a:gd name="connsiteX22" fmla="*/ 6914 w 10000"/>
                <a:gd name="connsiteY22" fmla="*/ 9962 h 10033"/>
                <a:gd name="connsiteX23" fmla="*/ 6728 w 10000"/>
                <a:gd name="connsiteY23" fmla="*/ 10033 h 10033"/>
                <a:gd name="connsiteX24" fmla="*/ 6420 w 10000"/>
                <a:gd name="connsiteY24" fmla="*/ 10033 h 10033"/>
                <a:gd name="connsiteX25" fmla="*/ 6111 w 10000"/>
                <a:gd name="connsiteY25" fmla="*/ 10033 h 10033"/>
                <a:gd name="connsiteX26" fmla="*/ 5864 w 10000"/>
                <a:gd name="connsiteY26" fmla="*/ 9962 h 10033"/>
                <a:gd name="connsiteX27" fmla="*/ 5617 w 10000"/>
                <a:gd name="connsiteY27" fmla="*/ 9855 h 10033"/>
                <a:gd name="connsiteX28" fmla="*/ 5494 w 10000"/>
                <a:gd name="connsiteY28" fmla="*/ 9677 h 10033"/>
                <a:gd name="connsiteX29" fmla="*/ 5309 w 10000"/>
                <a:gd name="connsiteY29" fmla="*/ 9535 h 10033"/>
                <a:gd name="connsiteX30" fmla="*/ 5309 w 10000"/>
                <a:gd name="connsiteY30" fmla="*/ 9357 h 10033"/>
                <a:gd name="connsiteX31" fmla="*/ 5309 w 10000"/>
                <a:gd name="connsiteY31" fmla="*/ 5620 h 10033"/>
                <a:gd name="connsiteX32" fmla="*/ 4568 w 10000"/>
                <a:gd name="connsiteY32" fmla="*/ 5620 h 10033"/>
                <a:gd name="connsiteX33" fmla="*/ 4568 w 10000"/>
                <a:gd name="connsiteY33" fmla="*/ 9357 h 10033"/>
                <a:gd name="connsiteX34" fmla="*/ 4568 w 10000"/>
                <a:gd name="connsiteY34" fmla="*/ 9535 h 10033"/>
                <a:gd name="connsiteX35" fmla="*/ 4444 w 10000"/>
                <a:gd name="connsiteY35" fmla="*/ 9713 h 10033"/>
                <a:gd name="connsiteX36" fmla="*/ 4259 w 10000"/>
                <a:gd name="connsiteY36" fmla="*/ 9855 h 10033"/>
                <a:gd name="connsiteX37" fmla="*/ 4012 w 10000"/>
                <a:gd name="connsiteY37" fmla="*/ 9962 h 10033"/>
                <a:gd name="connsiteX38" fmla="*/ 3827 w 10000"/>
                <a:gd name="connsiteY38" fmla="*/ 10033 h 10033"/>
                <a:gd name="connsiteX39" fmla="*/ 3519 w 10000"/>
                <a:gd name="connsiteY39" fmla="*/ 10033 h 10033"/>
                <a:gd name="connsiteX40" fmla="*/ 3210 w 10000"/>
                <a:gd name="connsiteY40" fmla="*/ 10033 h 10033"/>
                <a:gd name="connsiteX41" fmla="*/ 2963 w 10000"/>
                <a:gd name="connsiteY41" fmla="*/ 9962 h 10033"/>
                <a:gd name="connsiteX42" fmla="*/ 2716 w 10000"/>
                <a:gd name="connsiteY42" fmla="*/ 9855 h 10033"/>
                <a:gd name="connsiteX43" fmla="*/ 2593 w 10000"/>
                <a:gd name="connsiteY43" fmla="*/ 9713 h 10033"/>
                <a:gd name="connsiteX44" fmla="*/ 2407 w 10000"/>
                <a:gd name="connsiteY44" fmla="*/ 9535 h 10033"/>
                <a:gd name="connsiteX45" fmla="*/ 2407 w 10000"/>
                <a:gd name="connsiteY45" fmla="*/ 9357 h 10033"/>
                <a:gd name="connsiteX46" fmla="*/ 2407 w 10000"/>
                <a:gd name="connsiteY46" fmla="*/ 2702 h 10033"/>
                <a:gd name="connsiteX47" fmla="*/ 1605 w 10000"/>
                <a:gd name="connsiteY47" fmla="*/ 4126 h 10033"/>
                <a:gd name="connsiteX48" fmla="*/ 1481 w 10000"/>
                <a:gd name="connsiteY48" fmla="*/ 4268 h 10033"/>
                <a:gd name="connsiteX49" fmla="*/ 1296 w 10000"/>
                <a:gd name="connsiteY49" fmla="*/ 4339 h 10033"/>
                <a:gd name="connsiteX50" fmla="*/ 1049 w 10000"/>
                <a:gd name="connsiteY50" fmla="*/ 4446 h 10033"/>
                <a:gd name="connsiteX51" fmla="*/ 802 w 10000"/>
                <a:gd name="connsiteY51" fmla="*/ 4446 h 10033"/>
                <a:gd name="connsiteX52" fmla="*/ 494 w 10000"/>
                <a:gd name="connsiteY52" fmla="*/ 4446 h 10033"/>
                <a:gd name="connsiteX53" fmla="*/ 309 w 10000"/>
                <a:gd name="connsiteY53" fmla="*/ 4339 h 10033"/>
                <a:gd name="connsiteX54" fmla="*/ 123 w 10000"/>
                <a:gd name="connsiteY54" fmla="*/ 4268 h 10033"/>
                <a:gd name="connsiteX55" fmla="*/ 0 w 10000"/>
                <a:gd name="connsiteY55" fmla="*/ 4126 h 10033"/>
                <a:gd name="connsiteX56" fmla="*/ 0 w 10000"/>
                <a:gd name="connsiteY56" fmla="*/ 3948 h 10033"/>
                <a:gd name="connsiteX57" fmla="*/ 0 w 10000"/>
                <a:gd name="connsiteY57" fmla="*/ 3805 h 10033"/>
                <a:gd name="connsiteX58" fmla="*/ 1790 w 10000"/>
                <a:gd name="connsiteY58" fmla="*/ 602 h 10033"/>
                <a:gd name="connsiteX59" fmla="*/ 2037 w 10000"/>
                <a:gd name="connsiteY59" fmla="*/ 460 h 10033"/>
                <a:gd name="connsiteX60" fmla="*/ 2346 w 10000"/>
                <a:gd name="connsiteY60" fmla="*/ 353 h 10033"/>
                <a:gd name="connsiteX61" fmla="*/ 2716 w 10000"/>
                <a:gd name="connsiteY61" fmla="*/ 211 h 10033"/>
                <a:gd name="connsiteX62" fmla="*/ 3025 w 10000"/>
                <a:gd name="connsiteY62" fmla="*/ 104 h 10033"/>
                <a:gd name="connsiteX63" fmla="*/ 3210 w 10000"/>
                <a:gd name="connsiteY63" fmla="*/ 69 h 10033"/>
                <a:gd name="connsiteX64" fmla="*/ 3930 w 10000"/>
                <a:gd name="connsiteY64" fmla="*/ 43 h 10033"/>
                <a:gd name="connsiteX65" fmla="*/ 5379 w 10000"/>
                <a:gd name="connsiteY65" fmla="*/ 13 h 10033"/>
                <a:gd name="connsiteX66" fmla="*/ 6328 w 10000"/>
                <a:gd name="connsiteY66" fmla="*/ 0 h 1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0000" h="10033">
                  <a:moveTo>
                    <a:pt x="6328" y="0"/>
                  </a:moveTo>
                  <a:lnTo>
                    <a:pt x="6852" y="69"/>
                  </a:lnTo>
                  <a:lnTo>
                    <a:pt x="7446" y="244"/>
                  </a:lnTo>
                  <a:lnTo>
                    <a:pt x="7759" y="452"/>
                  </a:lnTo>
                  <a:lnTo>
                    <a:pt x="7963" y="531"/>
                  </a:lnTo>
                  <a:lnTo>
                    <a:pt x="8086" y="638"/>
                  </a:lnTo>
                  <a:lnTo>
                    <a:pt x="9938" y="3876"/>
                  </a:lnTo>
                  <a:cubicBezTo>
                    <a:pt x="9959" y="3912"/>
                    <a:pt x="9979" y="3947"/>
                    <a:pt x="10000" y="3983"/>
                  </a:cubicBezTo>
                  <a:cubicBezTo>
                    <a:pt x="9979" y="4042"/>
                    <a:pt x="9959" y="4102"/>
                    <a:pt x="9938" y="4161"/>
                  </a:cubicBezTo>
                  <a:lnTo>
                    <a:pt x="9815" y="4303"/>
                  </a:lnTo>
                  <a:lnTo>
                    <a:pt x="9630" y="4410"/>
                  </a:lnTo>
                  <a:lnTo>
                    <a:pt x="9383" y="4481"/>
                  </a:lnTo>
                  <a:lnTo>
                    <a:pt x="9136" y="4481"/>
                  </a:lnTo>
                  <a:lnTo>
                    <a:pt x="8827" y="4481"/>
                  </a:lnTo>
                  <a:lnTo>
                    <a:pt x="8642" y="4410"/>
                  </a:lnTo>
                  <a:lnTo>
                    <a:pt x="8457" y="4303"/>
                  </a:lnTo>
                  <a:lnTo>
                    <a:pt x="8333" y="4161"/>
                  </a:lnTo>
                  <a:lnTo>
                    <a:pt x="7531" y="2773"/>
                  </a:lnTo>
                  <a:lnTo>
                    <a:pt x="7531" y="9357"/>
                  </a:lnTo>
                  <a:cubicBezTo>
                    <a:pt x="7510" y="9416"/>
                    <a:pt x="7490" y="9476"/>
                    <a:pt x="7469" y="9535"/>
                  </a:cubicBezTo>
                  <a:cubicBezTo>
                    <a:pt x="7448" y="9582"/>
                    <a:pt x="7428" y="9630"/>
                    <a:pt x="7407" y="9677"/>
                  </a:cubicBezTo>
                  <a:lnTo>
                    <a:pt x="7160" y="9855"/>
                  </a:lnTo>
                  <a:lnTo>
                    <a:pt x="6914" y="9962"/>
                  </a:lnTo>
                  <a:lnTo>
                    <a:pt x="6728" y="10033"/>
                  </a:lnTo>
                  <a:lnTo>
                    <a:pt x="6420" y="10033"/>
                  </a:lnTo>
                  <a:lnTo>
                    <a:pt x="6111" y="10033"/>
                  </a:lnTo>
                  <a:lnTo>
                    <a:pt x="5864" y="9962"/>
                  </a:lnTo>
                  <a:lnTo>
                    <a:pt x="5617" y="9855"/>
                  </a:lnTo>
                  <a:lnTo>
                    <a:pt x="5494" y="9677"/>
                  </a:lnTo>
                  <a:lnTo>
                    <a:pt x="5309" y="9535"/>
                  </a:lnTo>
                  <a:lnTo>
                    <a:pt x="5309" y="9357"/>
                  </a:lnTo>
                  <a:lnTo>
                    <a:pt x="5309" y="5620"/>
                  </a:lnTo>
                  <a:lnTo>
                    <a:pt x="4568" y="5620"/>
                  </a:lnTo>
                  <a:lnTo>
                    <a:pt x="4568" y="9357"/>
                  </a:lnTo>
                  <a:lnTo>
                    <a:pt x="4568" y="9535"/>
                  </a:lnTo>
                  <a:lnTo>
                    <a:pt x="4444" y="9713"/>
                  </a:lnTo>
                  <a:lnTo>
                    <a:pt x="4259" y="9855"/>
                  </a:lnTo>
                  <a:lnTo>
                    <a:pt x="4012" y="9962"/>
                  </a:lnTo>
                  <a:lnTo>
                    <a:pt x="3827" y="10033"/>
                  </a:lnTo>
                  <a:lnTo>
                    <a:pt x="3519" y="10033"/>
                  </a:lnTo>
                  <a:lnTo>
                    <a:pt x="3210" y="10033"/>
                  </a:lnTo>
                  <a:lnTo>
                    <a:pt x="2963" y="9962"/>
                  </a:lnTo>
                  <a:lnTo>
                    <a:pt x="2716" y="9855"/>
                  </a:lnTo>
                  <a:lnTo>
                    <a:pt x="2593" y="9713"/>
                  </a:lnTo>
                  <a:lnTo>
                    <a:pt x="2407" y="9535"/>
                  </a:lnTo>
                  <a:lnTo>
                    <a:pt x="2407" y="9357"/>
                  </a:lnTo>
                  <a:lnTo>
                    <a:pt x="2407" y="2702"/>
                  </a:lnTo>
                  <a:lnTo>
                    <a:pt x="1605" y="4126"/>
                  </a:lnTo>
                  <a:lnTo>
                    <a:pt x="1481" y="4268"/>
                  </a:lnTo>
                  <a:lnTo>
                    <a:pt x="1296" y="4339"/>
                  </a:lnTo>
                  <a:lnTo>
                    <a:pt x="1049" y="4446"/>
                  </a:lnTo>
                  <a:lnTo>
                    <a:pt x="802" y="4446"/>
                  </a:lnTo>
                  <a:lnTo>
                    <a:pt x="494" y="4446"/>
                  </a:lnTo>
                  <a:lnTo>
                    <a:pt x="309" y="4339"/>
                  </a:lnTo>
                  <a:lnTo>
                    <a:pt x="123" y="4268"/>
                  </a:lnTo>
                  <a:lnTo>
                    <a:pt x="0" y="4126"/>
                  </a:lnTo>
                  <a:lnTo>
                    <a:pt x="0" y="3948"/>
                  </a:lnTo>
                  <a:lnTo>
                    <a:pt x="0" y="3805"/>
                  </a:lnTo>
                  <a:lnTo>
                    <a:pt x="1790" y="602"/>
                  </a:lnTo>
                  <a:lnTo>
                    <a:pt x="2037" y="460"/>
                  </a:lnTo>
                  <a:lnTo>
                    <a:pt x="2346" y="353"/>
                  </a:lnTo>
                  <a:lnTo>
                    <a:pt x="2716" y="211"/>
                  </a:lnTo>
                  <a:lnTo>
                    <a:pt x="3025" y="104"/>
                  </a:lnTo>
                  <a:lnTo>
                    <a:pt x="3210" y="69"/>
                  </a:lnTo>
                  <a:lnTo>
                    <a:pt x="3930" y="43"/>
                  </a:lnTo>
                  <a:lnTo>
                    <a:pt x="5379" y="13"/>
                  </a:lnTo>
                  <a:lnTo>
                    <a:pt x="632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600">
                <a:solidFill>
                  <a:srgbClr val="646464"/>
                </a:solidFill>
              </a:endParaRPr>
            </a:p>
          </p:txBody>
        </p:sp>
        <p:sp>
          <p:nvSpPr>
            <p:cNvPr id="167" name="Freeform 1644"/>
            <p:cNvSpPr>
              <a:spLocks/>
            </p:cNvSpPr>
            <p:nvPr/>
          </p:nvSpPr>
          <p:spPr bwMode="auto">
            <a:xfrm>
              <a:off x="10653960" y="3968839"/>
              <a:ext cx="144870" cy="1509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algn="ctr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ctr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ctr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ctr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ctr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de-DE" dirty="0">
                <a:solidFill>
                  <a:srgbClr val="646464"/>
                </a:solidFill>
              </a:endParaRPr>
            </a:p>
          </p:txBody>
        </p:sp>
      </p:grpSp>
      <p:grpSp>
        <p:nvGrpSpPr>
          <p:cNvPr id="170" name="Group 169"/>
          <p:cNvGrpSpPr>
            <a:grpSpLocks noChangeAspect="1"/>
          </p:cNvGrpSpPr>
          <p:nvPr/>
        </p:nvGrpSpPr>
        <p:grpSpPr>
          <a:xfrm>
            <a:off x="11095357" y="5124650"/>
            <a:ext cx="283390" cy="612000"/>
            <a:chOff x="10519752" y="5248428"/>
            <a:chExt cx="416747" cy="900006"/>
          </a:xfrm>
        </p:grpSpPr>
        <p:sp>
          <p:nvSpPr>
            <p:cNvPr id="166" name="Freeform 1645"/>
            <p:cNvSpPr>
              <a:spLocks/>
            </p:cNvSpPr>
            <p:nvPr/>
          </p:nvSpPr>
          <p:spPr bwMode="auto">
            <a:xfrm>
              <a:off x="10519752" y="5422868"/>
              <a:ext cx="416747" cy="725566"/>
            </a:xfrm>
            <a:custGeom>
              <a:avLst/>
              <a:gdLst>
                <a:gd name="T0" fmla="*/ 2147483647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2147483647 h 281"/>
                <a:gd name="T38" fmla="*/ 2147483647 w 162"/>
                <a:gd name="T39" fmla="*/ 2147483647 h 281"/>
                <a:gd name="T40" fmla="*/ 2147483647 w 162"/>
                <a:gd name="T41" fmla="*/ 2147483647 h 281"/>
                <a:gd name="T42" fmla="*/ 2147483647 w 162"/>
                <a:gd name="T43" fmla="*/ 2147483647 h 281"/>
                <a:gd name="T44" fmla="*/ 2147483647 w 162"/>
                <a:gd name="T45" fmla="*/ 2147483647 h 281"/>
                <a:gd name="T46" fmla="*/ 2147483647 w 162"/>
                <a:gd name="T47" fmla="*/ 2147483647 h 281"/>
                <a:gd name="T48" fmla="*/ 2147483647 w 162"/>
                <a:gd name="T49" fmla="*/ 2147483647 h 281"/>
                <a:gd name="T50" fmla="*/ 2147483647 w 162"/>
                <a:gd name="T51" fmla="*/ 2147483647 h 281"/>
                <a:gd name="T52" fmla="*/ 2147483647 w 162"/>
                <a:gd name="T53" fmla="*/ 2147483647 h 281"/>
                <a:gd name="T54" fmla="*/ 0 w 162"/>
                <a:gd name="T55" fmla="*/ 2147483647 h 281"/>
                <a:gd name="T56" fmla="*/ 0 w 162"/>
                <a:gd name="T57" fmla="*/ 2147483647 h 281"/>
                <a:gd name="T58" fmla="*/ 2147483647 w 162"/>
                <a:gd name="T59" fmla="*/ 2147483647 h 281"/>
                <a:gd name="T60" fmla="*/ 2147483647 w 162"/>
                <a:gd name="T61" fmla="*/ 2147483647 h 281"/>
                <a:gd name="T62" fmla="*/ 2147483647 w 162"/>
                <a:gd name="T63" fmla="*/ 2147483647 h 281"/>
                <a:gd name="T64" fmla="*/ 2147483647 w 162"/>
                <a:gd name="T65" fmla="*/ 2147483647 h 281"/>
                <a:gd name="T66" fmla="*/ 2147483647 w 162"/>
                <a:gd name="T67" fmla="*/ 2147483647 h 281"/>
                <a:gd name="T68" fmla="*/ 2147483647 w 162"/>
                <a:gd name="T69" fmla="*/ 2147483647 h 281"/>
                <a:gd name="T70" fmla="*/ 2147483647 w 162"/>
                <a:gd name="T71" fmla="*/ 2147483647 h 281"/>
                <a:gd name="T72" fmla="*/ 2147483647 w 162"/>
                <a:gd name="T73" fmla="*/ 2147483647 h 281"/>
                <a:gd name="T74" fmla="*/ 2147483647 w 162"/>
                <a:gd name="T75" fmla="*/ 2147483647 h 281"/>
                <a:gd name="T76" fmla="*/ 2147483647 w 162"/>
                <a:gd name="T77" fmla="*/ 2147483647 h 281"/>
                <a:gd name="T78" fmla="*/ 2147483647 w 162"/>
                <a:gd name="T79" fmla="*/ 0 h 28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4444 w 10000"/>
                <a:gd name="connsiteY64" fmla="*/ 1512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247 w 10000"/>
                <a:gd name="connsiteY73" fmla="*/ 622 h 10053"/>
                <a:gd name="connsiteX74" fmla="*/ 5309 w 10000"/>
                <a:gd name="connsiteY74" fmla="*/ 729 h 10053"/>
                <a:gd name="connsiteX75" fmla="*/ 5309 w 10000"/>
                <a:gd name="connsiteY75" fmla="*/ 800 h 10053"/>
                <a:gd name="connsiteX76" fmla="*/ 5185 w 10000"/>
                <a:gd name="connsiteY76" fmla="*/ 872 h 10053"/>
                <a:gd name="connsiteX77" fmla="*/ 5123 w 10000"/>
                <a:gd name="connsiteY77" fmla="*/ 943 h 10053"/>
                <a:gd name="connsiteX78" fmla="*/ 4808 w 10000"/>
                <a:gd name="connsiteY78" fmla="*/ 0 h 10053"/>
                <a:gd name="connsiteX79" fmla="*/ 6728 w 10000"/>
                <a:gd name="connsiteY79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247 w 10000"/>
                <a:gd name="connsiteY73" fmla="*/ 622 h 10053"/>
                <a:gd name="connsiteX74" fmla="*/ 5309 w 10000"/>
                <a:gd name="connsiteY74" fmla="*/ 729 h 10053"/>
                <a:gd name="connsiteX75" fmla="*/ 5309 w 10000"/>
                <a:gd name="connsiteY75" fmla="*/ 800 h 10053"/>
                <a:gd name="connsiteX76" fmla="*/ 5185 w 10000"/>
                <a:gd name="connsiteY76" fmla="*/ 872 h 10053"/>
                <a:gd name="connsiteX77" fmla="*/ 5123 w 10000"/>
                <a:gd name="connsiteY77" fmla="*/ 943 h 10053"/>
                <a:gd name="connsiteX78" fmla="*/ 4808 w 10000"/>
                <a:gd name="connsiteY78" fmla="*/ 0 h 10053"/>
                <a:gd name="connsiteX79" fmla="*/ 6728 w 10000"/>
                <a:gd name="connsiteY79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247 w 10000"/>
                <a:gd name="connsiteY73" fmla="*/ 622 h 10053"/>
                <a:gd name="connsiteX74" fmla="*/ 5309 w 10000"/>
                <a:gd name="connsiteY74" fmla="*/ 729 h 10053"/>
                <a:gd name="connsiteX75" fmla="*/ 5309 w 10000"/>
                <a:gd name="connsiteY75" fmla="*/ 800 h 10053"/>
                <a:gd name="connsiteX76" fmla="*/ 5185 w 10000"/>
                <a:gd name="connsiteY76" fmla="*/ 872 h 10053"/>
                <a:gd name="connsiteX77" fmla="*/ 4952 w 10000"/>
                <a:gd name="connsiteY77" fmla="*/ 317 h 10053"/>
                <a:gd name="connsiteX78" fmla="*/ 4808 w 10000"/>
                <a:gd name="connsiteY78" fmla="*/ 0 h 10053"/>
                <a:gd name="connsiteX79" fmla="*/ 6728 w 10000"/>
                <a:gd name="connsiteY79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247 w 10000"/>
                <a:gd name="connsiteY73" fmla="*/ 622 h 10053"/>
                <a:gd name="connsiteX74" fmla="*/ 5309 w 10000"/>
                <a:gd name="connsiteY74" fmla="*/ 800 h 10053"/>
                <a:gd name="connsiteX75" fmla="*/ 5185 w 10000"/>
                <a:gd name="connsiteY75" fmla="*/ 872 h 10053"/>
                <a:gd name="connsiteX76" fmla="*/ 4952 w 10000"/>
                <a:gd name="connsiteY76" fmla="*/ 317 h 10053"/>
                <a:gd name="connsiteX77" fmla="*/ 4808 w 10000"/>
                <a:gd name="connsiteY77" fmla="*/ 0 h 10053"/>
                <a:gd name="connsiteX78" fmla="*/ 6728 w 10000"/>
                <a:gd name="connsiteY78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123 w 10000"/>
                <a:gd name="connsiteY72" fmla="*/ 551 h 10053"/>
                <a:gd name="connsiteX73" fmla="*/ 5309 w 10000"/>
                <a:gd name="connsiteY73" fmla="*/ 800 h 10053"/>
                <a:gd name="connsiteX74" fmla="*/ 5185 w 10000"/>
                <a:gd name="connsiteY74" fmla="*/ 872 h 10053"/>
                <a:gd name="connsiteX75" fmla="*/ 4952 w 10000"/>
                <a:gd name="connsiteY75" fmla="*/ 317 h 10053"/>
                <a:gd name="connsiteX76" fmla="*/ 4808 w 10000"/>
                <a:gd name="connsiteY76" fmla="*/ 0 h 10053"/>
                <a:gd name="connsiteX77" fmla="*/ 6728 w 10000"/>
                <a:gd name="connsiteY77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753 w 10000"/>
                <a:gd name="connsiteY70" fmla="*/ 551 h 10053"/>
                <a:gd name="connsiteX71" fmla="*/ 4938 w 10000"/>
                <a:gd name="connsiteY71" fmla="*/ 480 h 10053"/>
                <a:gd name="connsiteX72" fmla="*/ 5309 w 10000"/>
                <a:gd name="connsiteY72" fmla="*/ 800 h 10053"/>
                <a:gd name="connsiteX73" fmla="*/ 5185 w 10000"/>
                <a:gd name="connsiteY73" fmla="*/ 872 h 10053"/>
                <a:gd name="connsiteX74" fmla="*/ 4952 w 10000"/>
                <a:gd name="connsiteY74" fmla="*/ 317 h 10053"/>
                <a:gd name="connsiteX75" fmla="*/ 4808 w 10000"/>
                <a:gd name="connsiteY75" fmla="*/ 0 h 10053"/>
                <a:gd name="connsiteX76" fmla="*/ 6728 w 10000"/>
                <a:gd name="connsiteY76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568 w 10000"/>
                <a:gd name="connsiteY69" fmla="*/ 622 h 10053"/>
                <a:gd name="connsiteX70" fmla="*/ 4938 w 10000"/>
                <a:gd name="connsiteY70" fmla="*/ 480 h 10053"/>
                <a:gd name="connsiteX71" fmla="*/ 5309 w 10000"/>
                <a:gd name="connsiteY71" fmla="*/ 800 h 10053"/>
                <a:gd name="connsiteX72" fmla="*/ 5185 w 10000"/>
                <a:gd name="connsiteY72" fmla="*/ 872 h 10053"/>
                <a:gd name="connsiteX73" fmla="*/ 4952 w 10000"/>
                <a:gd name="connsiteY73" fmla="*/ 317 h 10053"/>
                <a:gd name="connsiteX74" fmla="*/ 4808 w 10000"/>
                <a:gd name="connsiteY74" fmla="*/ 0 h 10053"/>
                <a:gd name="connsiteX75" fmla="*/ 6728 w 10000"/>
                <a:gd name="connsiteY75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506 w 10000"/>
                <a:gd name="connsiteY68" fmla="*/ 729 h 10053"/>
                <a:gd name="connsiteX69" fmla="*/ 4938 w 10000"/>
                <a:gd name="connsiteY69" fmla="*/ 480 h 10053"/>
                <a:gd name="connsiteX70" fmla="*/ 5309 w 10000"/>
                <a:gd name="connsiteY70" fmla="*/ 800 h 10053"/>
                <a:gd name="connsiteX71" fmla="*/ 5185 w 10000"/>
                <a:gd name="connsiteY71" fmla="*/ 872 h 10053"/>
                <a:gd name="connsiteX72" fmla="*/ 4952 w 10000"/>
                <a:gd name="connsiteY72" fmla="*/ 317 h 10053"/>
                <a:gd name="connsiteX73" fmla="*/ 4808 w 10000"/>
                <a:gd name="connsiteY73" fmla="*/ 0 h 10053"/>
                <a:gd name="connsiteX74" fmla="*/ 6728 w 10000"/>
                <a:gd name="connsiteY74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506 w 10000"/>
                <a:gd name="connsiteY67" fmla="*/ 800 h 10053"/>
                <a:gd name="connsiteX68" fmla="*/ 4938 w 10000"/>
                <a:gd name="connsiteY68" fmla="*/ 480 h 10053"/>
                <a:gd name="connsiteX69" fmla="*/ 5309 w 10000"/>
                <a:gd name="connsiteY69" fmla="*/ 800 h 10053"/>
                <a:gd name="connsiteX70" fmla="*/ 5185 w 10000"/>
                <a:gd name="connsiteY70" fmla="*/ 872 h 10053"/>
                <a:gd name="connsiteX71" fmla="*/ 4952 w 10000"/>
                <a:gd name="connsiteY71" fmla="*/ 317 h 10053"/>
                <a:gd name="connsiteX72" fmla="*/ 4808 w 10000"/>
                <a:gd name="connsiteY72" fmla="*/ 0 h 10053"/>
                <a:gd name="connsiteX73" fmla="*/ 6728 w 10000"/>
                <a:gd name="connsiteY73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568 w 10000"/>
                <a:gd name="connsiteY66" fmla="*/ 872 h 10053"/>
                <a:gd name="connsiteX67" fmla="*/ 4938 w 10000"/>
                <a:gd name="connsiteY67" fmla="*/ 480 h 10053"/>
                <a:gd name="connsiteX68" fmla="*/ 5309 w 10000"/>
                <a:gd name="connsiteY68" fmla="*/ 800 h 10053"/>
                <a:gd name="connsiteX69" fmla="*/ 5185 w 10000"/>
                <a:gd name="connsiteY69" fmla="*/ 872 h 10053"/>
                <a:gd name="connsiteX70" fmla="*/ 4952 w 10000"/>
                <a:gd name="connsiteY70" fmla="*/ 317 h 10053"/>
                <a:gd name="connsiteX71" fmla="*/ 4808 w 10000"/>
                <a:gd name="connsiteY71" fmla="*/ 0 h 10053"/>
                <a:gd name="connsiteX72" fmla="*/ 6728 w 10000"/>
                <a:gd name="connsiteY72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938 w 10000"/>
                <a:gd name="connsiteY66" fmla="*/ 480 h 10053"/>
                <a:gd name="connsiteX67" fmla="*/ 5309 w 10000"/>
                <a:gd name="connsiteY67" fmla="*/ 800 h 10053"/>
                <a:gd name="connsiteX68" fmla="*/ 5185 w 10000"/>
                <a:gd name="connsiteY68" fmla="*/ 872 h 10053"/>
                <a:gd name="connsiteX69" fmla="*/ 4952 w 10000"/>
                <a:gd name="connsiteY69" fmla="*/ 317 h 10053"/>
                <a:gd name="connsiteX70" fmla="*/ 4808 w 10000"/>
                <a:gd name="connsiteY70" fmla="*/ 0 h 10053"/>
                <a:gd name="connsiteX71" fmla="*/ 6728 w 10000"/>
                <a:gd name="connsiteY71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938 w 10000"/>
                <a:gd name="connsiteY66" fmla="*/ 480 h 10053"/>
                <a:gd name="connsiteX67" fmla="*/ 5309 w 10000"/>
                <a:gd name="connsiteY67" fmla="*/ 800 h 10053"/>
                <a:gd name="connsiteX68" fmla="*/ 4952 w 10000"/>
                <a:gd name="connsiteY68" fmla="*/ 317 h 10053"/>
                <a:gd name="connsiteX69" fmla="*/ 4808 w 10000"/>
                <a:gd name="connsiteY69" fmla="*/ 0 h 10053"/>
                <a:gd name="connsiteX70" fmla="*/ 6728 w 10000"/>
                <a:gd name="connsiteY70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753 w 10000"/>
                <a:gd name="connsiteY65" fmla="*/ 943 h 10053"/>
                <a:gd name="connsiteX66" fmla="*/ 4938 w 10000"/>
                <a:gd name="connsiteY66" fmla="*/ 480 h 10053"/>
                <a:gd name="connsiteX67" fmla="*/ 4952 w 10000"/>
                <a:gd name="connsiteY67" fmla="*/ 317 h 10053"/>
                <a:gd name="connsiteX68" fmla="*/ 4808 w 10000"/>
                <a:gd name="connsiteY68" fmla="*/ 0 h 10053"/>
                <a:gd name="connsiteX69" fmla="*/ 6728 w 10000"/>
                <a:gd name="connsiteY69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938 w 10000"/>
                <a:gd name="connsiteY65" fmla="*/ 480 h 10053"/>
                <a:gd name="connsiteX66" fmla="*/ 4952 w 10000"/>
                <a:gd name="connsiteY66" fmla="*/ 317 h 10053"/>
                <a:gd name="connsiteX67" fmla="*/ 4808 w 10000"/>
                <a:gd name="connsiteY67" fmla="*/ 0 h 10053"/>
                <a:gd name="connsiteX68" fmla="*/ 6728 w 10000"/>
                <a:gd name="connsiteY68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952 w 10000"/>
                <a:gd name="connsiteY65" fmla="*/ 317 h 10053"/>
                <a:gd name="connsiteX66" fmla="*/ 4808 w 10000"/>
                <a:gd name="connsiteY66" fmla="*/ 0 h 10053"/>
                <a:gd name="connsiteX67" fmla="*/ 6728 w 10000"/>
                <a:gd name="connsiteY67" fmla="*/ 53 h 10053"/>
                <a:gd name="connsiteX0" fmla="*/ 6728 w 10000"/>
                <a:gd name="connsiteY0" fmla="*/ 53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808 w 10000"/>
                <a:gd name="connsiteY65" fmla="*/ 0 h 10053"/>
                <a:gd name="connsiteX66" fmla="*/ 6728 w 10000"/>
                <a:gd name="connsiteY66" fmla="*/ 53 h 10053"/>
                <a:gd name="connsiteX0" fmla="*/ 6328 w 10000"/>
                <a:gd name="connsiteY0" fmla="*/ 20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808 w 10000"/>
                <a:gd name="connsiteY65" fmla="*/ 0 h 10053"/>
                <a:gd name="connsiteX66" fmla="*/ 6328 w 10000"/>
                <a:gd name="connsiteY66" fmla="*/ 20 h 10053"/>
                <a:gd name="connsiteX0" fmla="*/ 6328 w 10000"/>
                <a:gd name="connsiteY0" fmla="*/ 20 h 10053"/>
                <a:gd name="connsiteX1" fmla="*/ 6852 w 10000"/>
                <a:gd name="connsiteY1" fmla="*/ 89 h 10053"/>
                <a:gd name="connsiteX2" fmla="*/ 7160 w 10000"/>
                <a:gd name="connsiteY2" fmla="*/ 231 h 10053"/>
                <a:gd name="connsiteX3" fmla="*/ 7531 w 10000"/>
                <a:gd name="connsiteY3" fmla="*/ 373 h 10053"/>
                <a:gd name="connsiteX4" fmla="*/ 7963 w 10000"/>
                <a:gd name="connsiteY4" fmla="*/ 551 h 10053"/>
                <a:gd name="connsiteX5" fmla="*/ 8086 w 10000"/>
                <a:gd name="connsiteY5" fmla="*/ 658 h 10053"/>
                <a:gd name="connsiteX6" fmla="*/ 9938 w 10000"/>
                <a:gd name="connsiteY6" fmla="*/ 3896 h 10053"/>
                <a:gd name="connsiteX7" fmla="*/ 10000 w 10000"/>
                <a:gd name="connsiteY7" fmla="*/ 4003 h 10053"/>
                <a:gd name="connsiteX8" fmla="*/ 9938 w 10000"/>
                <a:gd name="connsiteY8" fmla="*/ 4181 h 10053"/>
                <a:gd name="connsiteX9" fmla="*/ 9815 w 10000"/>
                <a:gd name="connsiteY9" fmla="*/ 4323 h 10053"/>
                <a:gd name="connsiteX10" fmla="*/ 9630 w 10000"/>
                <a:gd name="connsiteY10" fmla="*/ 4430 h 10053"/>
                <a:gd name="connsiteX11" fmla="*/ 9383 w 10000"/>
                <a:gd name="connsiteY11" fmla="*/ 4501 h 10053"/>
                <a:gd name="connsiteX12" fmla="*/ 9136 w 10000"/>
                <a:gd name="connsiteY12" fmla="*/ 4501 h 10053"/>
                <a:gd name="connsiteX13" fmla="*/ 8827 w 10000"/>
                <a:gd name="connsiteY13" fmla="*/ 4501 h 10053"/>
                <a:gd name="connsiteX14" fmla="*/ 8642 w 10000"/>
                <a:gd name="connsiteY14" fmla="*/ 4430 h 10053"/>
                <a:gd name="connsiteX15" fmla="*/ 8457 w 10000"/>
                <a:gd name="connsiteY15" fmla="*/ 4323 h 10053"/>
                <a:gd name="connsiteX16" fmla="*/ 8333 w 10000"/>
                <a:gd name="connsiteY16" fmla="*/ 4181 h 10053"/>
                <a:gd name="connsiteX17" fmla="*/ 7531 w 10000"/>
                <a:gd name="connsiteY17" fmla="*/ 2793 h 10053"/>
                <a:gd name="connsiteX18" fmla="*/ 7531 w 10000"/>
                <a:gd name="connsiteY18" fmla="*/ 9377 h 10053"/>
                <a:gd name="connsiteX19" fmla="*/ 7469 w 10000"/>
                <a:gd name="connsiteY19" fmla="*/ 9555 h 10053"/>
                <a:gd name="connsiteX20" fmla="*/ 7407 w 10000"/>
                <a:gd name="connsiteY20" fmla="*/ 9697 h 10053"/>
                <a:gd name="connsiteX21" fmla="*/ 7160 w 10000"/>
                <a:gd name="connsiteY21" fmla="*/ 9875 h 10053"/>
                <a:gd name="connsiteX22" fmla="*/ 6914 w 10000"/>
                <a:gd name="connsiteY22" fmla="*/ 9982 h 10053"/>
                <a:gd name="connsiteX23" fmla="*/ 6728 w 10000"/>
                <a:gd name="connsiteY23" fmla="*/ 10053 h 10053"/>
                <a:gd name="connsiteX24" fmla="*/ 6420 w 10000"/>
                <a:gd name="connsiteY24" fmla="*/ 10053 h 10053"/>
                <a:gd name="connsiteX25" fmla="*/ 6111 w 10000"/>
                <a:gd name="connsiteY25" fmla="*/ 10053 h 10053"/>
                <a:gd name="connsiteX26" fmla="*/ 5864 w 10000"/>
                <a:gd name="connsiteY26" fmla="*/ 9982 h 10053"/>
                <a:gd name="connsiteX27" fmla="*/ 5617 w 10000"/>
                <a:gd name="connsiteY27" fmla="*/ 9875 h 10053"/>
                <a:gd name="connsiteX28" fmla="*/ 5494 w 10000"/>
                <a:gd name="connsiteY28" fmla="*/ 9697 h 10053"/>
                <a:gd name="connsiteX29" fmla="*/ 5309 w 10000"/>
                <a:gd name="connsiteY29" fmla="*/ 9555 h 10053"/>
                <a:gd name="connsiteX30" fmla="*/ 5309 w 10000"/>
                <a:gd name="connsiteY30" fmla="*/ 9377 h 10053"/>
                <a:gd name="connsiteX31" fmla="*/ 5309 w 10000"/>
                <a:gd name="connsiteY31" fmla="*/ 5640 h 10053"/>
                <a:gd name="connsiteX32" fmla="*/ 4568 w 10000"/>
                <a:gd name="connsiteY32" fmla="*/ 5640 h 10053"/>
                <a:gd name="connsiteX33" fmla="*/ 4568 w 10000"/>
                <a:gd name="connsiteY33" fmla="*/ 9377 h 10053"/>
                <a:gd name="connsiteX34" fmla="*/ 4568 w 10000"/>
                <a:gd name="connsiteY34" fmla="*/ 9555 h 10053"/>
                <a:gd name="connsiteX35" fmla="*/ 4444 w 10000"/>
                <a:gd name="connsiteY35" fmla="*/ 9733 h 10053"/>
                <a:gd name="connsiteX36" fmla="*/ 4259 w 10000"/>
                <a:gd name="connsiteY36" fmla="*/ 9875 h 10053"/>
                <a:gd name="connsiteX37" fmla="*/ 4012 w 10000"/>
                <a:gd name="connsiteY37" fmla="*/ 9982 h 10053"/>
                <a:gd name="connsiteX38" fmla="*/ 3827 w 10000"/>
                <a:gd name="connsiteY38" fmla="*/ 10053 h 10053"/>
                <a:gd name="connsiteX39" fmla="*/ 3519 w 10000"/>
                <a:gd name="connsiteY39" fmla="*/ 10053 h 10053"/>
                <a:gd name="connsiteX40" fmla="*/ 3210 w 10000"/>
                <a:gd name="connsiteY40" fmla="*/ 10053 h 10053"/>
                <a:gd name="connsiteX41" fmla="*/ 2963 w 10000"/>
                <a:gd name="connsiteY41" fmla="*/ 9982 h 10053"/>
                <a:gd name="connsiteX42" fmla="*/ 2716 w 10000"/>
                <a:gd name="connsiteY42" fmla="*/ 9875 h 10053"/>
                <a:gd name="connsiteX43" fmla="*/ 2593 w 10000"/>
                <a:gd name="connsiteY43" fmla="*/ 9733 h 10053"/>
                <a:gd name="connsiteX44" fmla="*/ 2407 w 10000"/>
                <a:gd name="connsiteY44" fmla="*/ 9555 h 10053"/>
                <a:gd name="connsiteX45" fmla="*/ 2407 w 10000"/>
                <a:gd name="connsiteY45" fmla="*/ 9377 h 10053"/>
                <a:gd name="connsiteX46" fmla="*/ 2407 w 10000"/>
                <a:gd name="connsiteY46" fmla="*/ 2722 h 10053"/>
                <a:gd name="connsiteX47" fmla="*/ 1605 w 10000"/>
                <a:gd name="connsiteY47" fmla="*/ 4146 h 10053"/>
                <a:gd name="connsiteX48" fmla="*/ 1481 w 10000"/>
                <a:gd name="connsiteY48" fmla="*/ 4288 h 10053"/>
                <a:gd name="connsiteX49" fmla="*/ 1296 w 10000"/>
                <a:gd name="connsiteY49" fmla="*/ 4359 h 10053"/>
                <a:gd name="connsiteX50" fmla="*/ 1049 w 10000"/>
                <a:gd name="connsiteY50" fmla="*/ 4466 h 10053"/>
                <a:gd name="connsiteX51" fmla="*/ 802 w 10000"/>
                <a:gd name="connsiteY51" fmla="*/ 4466 h 10053"/>
                <a:gd name="connsiteX52" fmla="*/ 494 w 10000"/>
                <a:gd name="connsiteY52" fmla="*/ 4466 h 10053"/>
                <a:gd name="connsiteX53" fmla="*/ 309 w 10000"/>
                <a:gd name="connsiteY53" fmla="*/ 4359 h 10053"/>
                <a:gd name="connsiteX54" fmla="*/ 123 w 10000"/>
                <a:gd name="connsiteY54" fmla="*/ 4288 h 10053"/>
                <a:gd name="connsiteX55" fmla="*/ 0 w 10000"/>
                <a:gd name="connsiteY55" fmla="*/ 4146 h 10053"/>
                <a:gd name="connsiteX56" fmla="*/ 0 w 10000"/>
                <a:gd name="connsiteY56" fmla="*/ 3968 h 10053"/>
                <a:gd name="connsiteX57" fmla="*/ 0 w 10000"/>
                <a:gd name="connsiteY57" fmla="*/ 3825 h 10053"/>
                <a:gd name="connsiteX58" fmla="*/ 1790 w 10000"/>
                <a:gd name="connsiteY58" fmla="*/ 622 h 10053"/>
                <a:gd name="connsiteX59" fmla="*/ 2037 w 10000"/>
                <a:gd name="connsiteY59" fmla="*/ 480 h 10053"/>
                <a:gd name="connsiteX60" fmla="*/ 2346 w 10000"/>
                <a:gd name="connsiteY60" fmla="*/ 373 h 10053"/>
                <a:gd name="connsiteX61" fmla="*/ 2716 w 10000"/>
                <a:gd name="connsiteY61" fmla="*/ 231 h 10053"/>
                <a:gd name="connsiteX62" fmla="*/ 3025 w 10000"/>
                <a:gd name="connsiteY62" fmla="*/ 124 h 10053"/>
                <a:gd name="connsiteX63" fmla="*/ 3210 w 10000"/>
                <a:gd name="connsiteY63" fmla="*/ 89 h 10053"/>
                <a:gd name="connsiteX64" fmla="*/ 5244 w 10000"/>
                <a:gd name="connsiteY64" fmla="*/ 30 h 10053"/>
                <a:gd name="connsiteX65" fmla="*/ 4979 w 10000"/>
                <a:gd name="connsiteY65" fmla="*/ 0 h 10053"/>
                <a:gd name="connsiteX66" fmla="*/ 6328 w 10000"/>
                <a:gd name="connsiteY66" fmla="*/ 20 h 10053"/>
                <a:gd name="connsiteX0" fmla="*/ 6328 w 10000"/>
                <a:gd name="connsiteY0" fmla="*/ 250 h 10283"/>
                <a:gd name="connsiteX1" fmla="*/ 6852 w 10000"/>
                <a:gd name="connsiteY1" fmla="*/ 319 h 10283"/>
                <a:gd name="connsiteX2" fmla="*/ 7160 w 10000"/>
                <a:gd name="connsiteY2" fmla="*/ 461 h 10283"/>
                <a:gd name="connsiteX3" fmla="*/ 7531 w 10000"/>
                <a:gd name="connsiteY3" fmla="*/ 603 h 10283"/>
                <a:gd name="connsiteX4" fmla="*/ 7963 w 10000"/>
                <a:gd name="connsiteY4" fmla="*/ 781 h 10283"/>
                <a:gd name="connsiteX5" fmla="*/ 8086 w 10000"/>
                <a:gd name="connsiteY5" fmla="*/ 888 h 10283"/>
                <a:gd name="connsiteX6" fmla="*/ 9938 w 10000"/>
                <a:gd name="connsiteY6" fmla="*/ 4126 h 10283"/>
                <a:gd name="connsiteX7" fmla="*/ 10000 w 10000"/>
                <a:gd name="connsiteY7" fmla="*/ 4233 h 10283"/>
                <a:gd name="connsiteX8" fmla="*/ 9938 w 10000"/>
                <a:gd name="connsiteY8" fmla="*/ 4411 h 10283"/>
                <a:gd name="connsiteX9" fmla="*/ 9815 w 10000"/>
                <a:gd name="connsiteY9" fmla="*/ 4553 h 10283"/>
                <a:gd name="connsiteX10" fmla="*/ 9630 w 10000"/>
                <a:gd name="connsiteY10" fmla="*/ 4660 h 10283"/>
                <a:gd name="connsiteX11" fmla="*/ 9383 w 10000"/>
                <a:gd name="connsiteY11" fmla="*/ 4731 h 10283"/>
                <a:gd name="connsiteX12" fmla="*/ 9136 w 10000"/>
                <a:gd name="connsiteY12" fmla="*/ 4731 h 10283"/>
                <a:gd name="connsiteX13" fmla="*/ 8827 w 10000"/>
                <a:gd name="connsiteY13" fmla="*/ 4731 h 10283"/>
                <a:gd name="connsiteX14" fmla="*/ 8642 w 10000"/>
                <a:gd name="connsiteY14" fmla="*/ 4660 h 10283"/>
                <a:gd name="connsiteX15" fmla="*/ 8457 w 10000"/>
                <a:gd name="connsiteY15" fmla="*/ 4553 h 10283"/>
                <a:gd name="connsiteX16" fmla="*/ 8333 w 10000"/>
                <a:gd name="connsiteY16" fmla="*/ 4411 h 10283"/>
                <a:gd name="connsiteX17" fmla="*/ 7531 w 10000"/>
                <a:gd name="connsiteY17" fmla="*/ 3023 h 10283"/>
                <a:gd name="connsiteX18" fmla="*/ 7531 w 10000"/>
                <a:gd name="connsiteY18" fmla="*/ 9607 h 10283"/>
                <a:gd name="connsiteX19" fmla="*/ 7469 w 10000"/>
                <a:gd name="connsiteY19" fmla="*/ 9785 h 10283"/>
                <a:gd name="connsiteX20" fmla="*/ 7407 w 10000"/>
                <a:gd name="connsiteY20" fmla="*/ 9927 h 10283"/>
                <a:gd name="connsiteX21" fmla="*/ 7160 w 10000"/>
                <a:gd name="connsiteY21" fmla="*/ 10105 h 10283"/>
                <a:gd name="connsiteX22" fmla="*/ 6914 w 10000"/>
                <a:gd name="connsiteY22" fmla="*/ 10212 h 10283"/>
                <a:gd name="connsiteX23" fmla="*/ 6728 w 10000"/>
                <a:gd name="connsiteY23" fmla="*/ 10283 h 10283"/>
                <a:gd name="connsiteX24" fmla="*/ 6420 w 10000"/>
                <a:gd name="connsiteY24" fmla="*/ 10283 h 10283"/>
                <a:gd name="connsiteX25" fmla="*/ 6111 w 10000"/>
                <a:gd name="connsiteY25" fmla="*/ 10283 h 10283"/>
                <a:gd name="connsiteX26" fmla="*/ 5864 w 10000"/>
                <a:gd name="connsiteY26" fmla="*/ 10212 h 10283"/>
                <a:gd name="connsiteX27" fmla="*/ 5617 w 10000"/>
                <a:gd name="connsiteY27" fmla="*/ 10105 h 10283"/>
                <a:gd name="connsiteX28" fmla="*/ 5494 w 10000"/>
                <a:gd name="connsiteY28" fmla="*/ 9927 h 10283"/>
                <a:gd name="connsiteX29" fmla="*/ 5309 w 10000"/>
                <a:gd name="connsiteY29" fmla="*/ 9785 h 10283"/>
                <a:gd name="connsiteX30" fmla="*/ 5309 w 10000"/>
                <a:gd name="connsiteY30" fmla="*/ 9607 h 10283"/>
                <a:gd name="connsiteX31" fmla="*/ 5309 w 10000"/>
                <a:gd name="connsiteY31" fmla="*/ 5870 h 10283"/>
                <a:gd name="connsiteX32" fmla="*/ 4568 w 10000"/>
                <a:gd name="connsiteY32" fmla="*/ 5870 h 10283"/>
                <a:gd name="connsiteX33" fmla="*/ 4568 w 10000"/>
                <a:gd name="connsiteY33" fmla="*/ 9607 h 10283"/>
                <a:gd name="connsiteX34" fmla="*/ 4568 w 10000"/>
                <a:gd name="connsiteY34" fmla="*/ 9785 h 10283"/>
                <a:gd name="connsiteX35" fmla="*/ 4444 w 10000"/>
                <a:gd name="connsiteY35" fmla="*/ 9963 h 10283"/>
                <a:gd name="connsiteX36" fmla="*/ 4259 w 10000"/>
                <a:gd name="connsiteY36" fmla="*/ 10105 h 10283"/>
                <a:gd name="connsiteX37" fmla="*/ 4012 w 10000"/>
                <a:gd name="connsiteY37" fmla="*/ 10212 h 10283"/>
                <a:gd name="connsiteX38" fmla="*/ 3827 w 10000"/>
                <a:gd name="connsiteY38" fmla="*/ 10283 h 10283"/>
                <a:gd name="connsiteX39" fmla="*/ 3519 w 10000"/>
                <a:gd name="connsiteY39" fmla="*/ 10283 h 10283"/>
                <a:gd name="connsiteX40" fmla="*/ 3210 w 10000"/>
                <a:gd name="connsiteY40" fmla="*/ 10283 h 10283"/>
                <a:gd name="connsiteX41" fmla="*/ 2963 w 10000"/>
                <a:gd name="connsiteY41" fmla="*/ 10212 h 10283"/>
                <a:gd name="connsiteX42" fmla="*/ 2716 w 10000"/>
                <a:gd name="connsiteY42" fmla="*/ 10105 h 10283"/>
                <a:gd name="connsiteX43" fmla="*/ 2593 w 10000"/>
                <a:gd name="connsiteY43" fmla="*/ 9963 h 10283"/>
                <a:gd name="connsiteX44" fmla="*/ 2407 w 10000"/>
                <a:gd name="connsiteY44" fmla="*/ 9785 h 10283"/>
                <a:gd name="connsiteX45" fmla="*/ 2407 w 10000"/>
                <a:gd name="connsiteY45" fmla="*/ 9607 h 10283"/>
                <a:gd name="connsiteX46" fmla="*/ 2407 w 10000"/>
                <a:gd name="connsiteY46" fmla="*/ 2952 h 10283"/>
                <a:gd name="connsiteX47" fmla="*/ 1605 w 10000"/>
                <a:gd name="connsiteY47" fmla="*/ 4376 h 10283"/>
                <a:gd name="connsiteX48" fmla="*/ 1481 w 10000"/>
                <a:gd name="connsiteY48" fmla="*/ 4518 h 10283"/>
                <a:gd name="connsiteX49" fmla="*/ 1296 w 10000"/>
                <a:gd name="connsiteY49" fmla="*/ 4589 h 10283"/>
                <a:gd name="connsiteX50" fmla="*/ 1049 w 10000"/>
                <a:gd name="connsiteY50" fmla="*/ 4696 h 10283"/>
                <a:gd name="connsiteX51" fmla="*/ 802 w 10000"/>
                <a:gd name="connsiteY51" fmla="*/ 4696 h 10283"/>
                <a:gd name="connsiteX52" fmla="*/ 494 w 10000"/>
                <a:gd name="connsiteY52" fmla="*/ 4696 h 10283"/>
                <a:gd name="connsiteX53" fmla="*/ 309 w 10000"/>
                <a:gd name="connsiteY53" fmla="*/ 4589 h 10283"/>
                <a:gd name="connsiteX54" fmla="*/ 123 w 10000"/>
                <a:gd name="connsiteY54" fmla="*/ 4518 h 10283"/>
                <a:gd name="connsiteX55" fmla="*/ 0 w 10000"/>
                <a:gd name="connsiteY55" fmla="*/ 4376 h 10283"/>
                <a:gd name="connsiteX56" fmla="*/ 0 w 10000"/>
                <a:gd name="connsiteY56" fmla="*/ 4198 h 10283"/>
                <a:gd name="connsiteX57" fmla="*/ 0 w 10000"/>
                <a:gd name="connsiteY57" fmla="*/ 4055 h 10283"/>
                <a:gd name="connsiteX58" fmla="*/ 1790 w 10000"/>
                <a:gd name="connsiteY58" fmla="*/ 852 h 10283"/>
                <a:gd name="connsiteX59" fmla="*/ 2037 w 10000"/>
                <a:gd name="connsiteY59" fmla="*/ 710 h 10283"/>
                <a:gd name="connsiteX60" fmla="*/ 2346 w 10000"/>
                <a:gd name="connsiteY60" fmla="*/ 603 h 10283"/>
                <a:gd name="connsiteX61" fmla="*/ 2716 w 10000"/>
                <a:gd name="connsiteY61" fmla="*/ 461 h 10283"/>
                <a:gd name="connsiteX62" fmla="*/ 3025 w 10000"/>
                <a:gd name="connsiteY62" fmla="*/ 354 h 10283"/>
                <a:gd name="connsiteX63" fmla="*/ 3210 w 10000"/>
                <a:gd name="connsiteY63" fmla="*/ 319 h 10283"/>
                <a:gd name="connsiteX64" fmla="*/ 5244 w 10000"/>
                <a:gd name="connsiteY64" fmla="*/ 260 h 10283"/>
                <a:gd name="connsiteX65" fmla="*/ 6065 w 10000"/>
                <a:gd name="connsiteY65" fmla="*/ 0 h 10283"/>
                <a:gd name="connsiteX66" fmla="*/ 6328 w 10000"/>
                <a:gd name="connsiteY66" fmla="*/ 250 h 10283"/>
                <a:gd name="connsiteX0" fmla="*/ 6328 w 10000"/>
                <a:gd name="connsiteY0" fmla="*/ 250 h 10283"/>
                <a:gd name="connsiteX1" fmla="*/ 6852 w 10000"/>
                <a:gd name="connsiteY1" fmla="*/ 319 h 10283"/>
                <a:gd name="connsiteX2" fmla="*/ 7160 w 10000"/>
                <a:gd name="connsiteY2" fmla="*/ 461 h 10283"/>
                <a:gd name="connsiteX3" fmla="*/ 7531 w 10000"/>
                <a:gd name="connsiteY3" fmla="*/ 603 h 10283"/>
                <a:gd name="connsiteX4" fmla="*/ 7963 w 10000"/>
                <a:gd name="connsiteY4" fmla="*/ 781 h 10283"/>
                <a:gd name="connsiteX5" fmla="*/ 8086 w 10000"/>
                <a:gd name="connsiteY5" fmla="*/ 888 h 10283"/>
                <a:gd name="connsiteX6" fmla="*/ 9938 w 10000"/>
                <a:gd name="connsiteY6" fmla="*/ 4126 h 10283"/>
                <a:gd name="connsiteX7" fmla="*/ 10000 w 10000"/>
                <a:gd name="connsiteY7" fmla="*/ 4233 h 10283"/>
                <a:gd name="connsiteX8" fmla="*/ 9938 w 10000"/>
                <a:gd name="connsiteY8" fmla="*/ 4411 h 10283"/>
                <a:gd name="connsiteX9" fmla="*/ 9815 w 10000"/>
                <a:gd name="connsiteY9" fmla="*/ 4553 h 10283"/>
                <a:gd name="connsiteX10" fmla="*/ 9630 w 10000"/>
                <a:gd name="connsiteY10" fmla="*/ 4660 h 10283"/>
                <a:gd name="connsiteX11" fmla="*/ 9383 w 10000"/>
                <a:gd name="connsiteY11" fmla="*/ 4731 h 10283"/>
                <a:gd name="connsiteX12" fmla="*/ 9136 w 10000"/>
                <a:gd name="connsiteY12" fmla="*/ 4731 h 10283"/>
                <a:gd name="connsiteX13" fmla="*/ 8827 w 10000"/>
                <a:gd name="connsiteY13" fmla="*/ 4731 h 10283"/>
                <a:gd name="connsiteX14" fmla="*/ 8642 w 10000"/>
                <a:gd name="connsiteY14" fmla="*/ 4660 h 10283"/>
                <a:gd name="connsiteX15" fmla="*/ 8457 w 10000"/>
                <a:gd name="connsiteY15" fmla="*/ 4553 h 10283"/>
                <a:gd name="connsiteX16" fmla="*/ 8333 w 10000"/>
                <a:gd name="connsiteY16" fmla="*/ 4411 h 10283"/>
                <a:gd name="connsiteX17" fmla="*/ 7531 w 10000"/>
                <a:gd name="connsiteY17" fmla="*/ 3023 h 10283"/>
                <a:gd name="connsiteX18" fmla="*/ 7531 w 10000"/>
                <a:gd name="connsiteY18" fmla="*/ 9607 h 10283"/>
                <a:gd name="connsiteX19" fmla="*/ 7469 w 10000"/>
                <a:gd name="connsiteY19" fmla="*/ 9785 h 10283"/>
                <a:gd name="connsiteX20" fmla="*/ 7407 w 10000"/>
                <a:gd name="connsiteY20" fmla="*/ 9927 h 10283"/>
                <a:gd name="connsiteX21" fmla="*/ 7160 w 10000"/>
                <a:gd name="connsiteY21" fmla="*/ 10105 h 10283"/>
                <a:gd name="connsiteX22" fmla="*/ 6914 w 10000"/>
                <a:gd name="connsiteY22" fmla="*/ 10212 h 10283"/>
                <a:gd name="connsiteX23" fmla="*/ 6728 w 10000"/>
                <a:gd name="connsiteY23" fmla="*/ 10283 h 10283"/>
                <a:gd name="connsiteX24" fmla="*/ 6420 w 10000"/>
                <a:gd name="connsiteY24" fmla="*/ 10283 h 10283"/>
                <a:gd name="connsiteX25" fmla="*/ 6111 w 10000"/>
                <a:gd name="connsiteY25" fmla="*/ 10283 h 10283"/>
                <a:gd name="connsiteX26" fmla="*/ 5864 w 10000"/>
                <a:gd name="connsiteY26" fmla="*/ 10212 h 10283"/>
                <a:gd name="connsiteX27" fmla="*/ 5617 w 10000"/>
                <a:gd name="connsiteY27" fmla="*/ 10105 h 10283"/>
                <a:gd name="connsiteX28" fmla="*/ 5494 w 10000"/>
                <a:gd name="connsiteY28" fmla="*/ 9927 h 10283"/>
                <a:gd name="connsiteX29" fmla="*/ 5309 w 10000"/>
                <a:gd name="connsiteY29" fmla="*/ 9785 h 10283"/>
                <a:gd name="connsiteX30" fmla="*/ 5309 w 10000"/>
                <a:gd name="connsiteY30" fmla="*/ 9607 h 10283"/>
                <a:gd name="connsiteX31" fmla="*/ 5309 w 10000"/>
                <a:gd name="connsiteY31" fmla="*/ 5870 h 10283"/>
                <a:gd name="connsiteX32" fmla="*/ 4568 w 10000"/>
                <a:gd name="connsiteY32" fmla="*/ 5870 h 10283"/>
                <a:gd name="connsiteX33" fmla="*/ 4568 w 10000"/>
                <a:gd name="connsiteY33" fmla="*/ 9607 h 10283"/>
                <a:gd name="connsiteX34" fmla="*/ 4568 w 10000"/>
                <a:gd name="connsiteY34" fmla="*/ 9785 h 10283"/>
                <a:gd name="connsiteX35" fmla="*/ 4444 w 10000"/>
                <a:gd name="connsiteY35" fmla="*/ 9963 h 10283"/>
                <a:gd name="connsiteX36" fmla="*/ 4259 w 10000"/>
                <a:gd name="connsiteY36" fmla="*/ 10105 h 10283"/>
                <a:gd name="connsiteX37" fmla="*/ 4012 w 10000"/>
                <a:gd name="connsiteY37" fmla="*/ 10212 h 10283"/>
                <a:gd name="connsiteX38" fmla="*/ 3827 w 10000"/>
                <a:gd name="connsiteY38" fmla="*/ 10283 h 10283"/>
                <a:gd name="connsiteX39" fmla="*/ 3519 w 10000"/>
                <a:gd name="connsiteY39" fmla="*/ 10283 h 10283"/>
                <a:gd name="connsiteX40" fmla="*/ 3210 w 10000"/>
                <a:gd name="connsiteY40" fmla="*/ 10283 h 10283"/>
                <a:gd name="connsiteX41" fmla="*/ 2963 w 10000"/>
                <a:gd name="connsiteY41" fmla="*/ 10212 h 10283"/>
                <a:gd name="connsiteX42" fmla="*/ 2716 w 10000"/>
                <a:gd name="connsiteY42" fmla="*/ 10105 h 10283"/>
                <a:gd name="connsiteX43" fmla="*/ 2593 w 10000"/>
                <a:gd name="connsiteY43" fmla="*/ 9963 h 10283"/>
                <a:gd name="connsiteX44" fmla="*/ 2407 w 10000"/>
                <a:gd name="connsiteY44" fmla="*/ 9785 h 10283"/>
                <a:gd name="connsiteX45" fmla="*/ 2407 w 10000"/>
                <a:gd name="connsiteY45" fmla="*/ 9607 h 10283"/>
                <a:gd name="connsiteX46" fmla="*/ 2407 w 10000"/>
                <a:gd name="connsiteY46" fmla="*/ 2952 h 10283"/>
                <a:gd name="connsiteX47" fmla="*/ 1605 w 10000"/>
                <a:gd name="connsiteY47" fmla="*/ 4376 h 10283"/>
                <a:gd name="connsiteX48" fmla="*/ 1481 w 10000"/>
                <a:gd name="connsiteY48" fmla="*/ 4518 h 10283"/>
                <a:gd name="connsiteX49" fmla="*/ 1296 w 10000"/>
                <a:gd name="connsiteY49" fmla="*/ 4589 h 10283"/>
                <a:gd name="connsiteX50" fmla="*/ 1049 w 10000"/>
                <a:gd name="connsiteY50" fmla="*/ 4696 h 10283"/>
                <a:gd name="connsiteX51" fmla="*/ 802 w 10000"/>
                <a:gd name="connsiteY51" fmla="*/ 4696 h 10283"/>
                <a:gd name="connsiteX52" fmla="*/ 494 w 10000"/>
                <a:gd name="connsiteY52" fmla="*/ 4696 h 10283"/>
                <a:gd name="connsiteX53" fmla="*/ 309 w 10000"/>
                <a:gd name="connsiteY53" fmla="*/ 4589 h 10283"/>
                <a:gd name="connsiteX54" fmla="*/ 123 w 10000"/>
                <a:gd name="connsiteY54" fmla="*/ 4518 h 10283"/>
                <a:gd name="connsiteX55" fmla="*/ 0 w 10000"/>
                <a:gd name="connsiteY55" fmla="*/ 4376 h 10283"/>
                <a:gd name="connsiteX56" fmla="*/ 0 w 10000"/>
                <a:gd name="connsiteY56" fmla="*/ 4198 h 10283"/>
                <a:gd name="connsiteX57" fmla="*/ 0 w 10000"/>
                <a:gd name="connsiteY57" fmla="*/ 4055 h 10283"/>
                <a:gd name="connsiteX58" fmla="*/ 1790 w 10000"/>
                <a:gd name="connsiteY58" fmla="*/ 852 h 10283"/>
                <a:gd name="connsiteX59" fmla="*/ 2037 w 10000"/>
                <a:gd name="connsiteY59" fmla="*/ 710 h 10283"/>
                <a:gd name="connsiteX60" fmla="*/ 2346 w 10000"/>
                <a:gd name="connsiteY60" fmla="*/ 603 h 10283"/>
                <a:gd name="connsiteX61" fmla="*/ 2716 w 10000"/>
                <a:gd name="connsiteY61" fmla="*/ 461 h 10283"/>
                <a:gd name="connsiteX62" fmla="*/ 3025 w 10000"/>
                <a:gd name="connsiteY62" fmla="*/ 354 h 10283"/>
                <a:gd name="connsiteX63" fmla="*/ 3210 w 10000"/>
                <a:gd name="connsiteY63" fmla="*/ 319 h 10283"/>
                <a:gd name="connsiteX64" fmla="*/ 3930 w 10000"/>
                <a:gd name="connsiteY64" fmla="*/ 293 h 10283"/>
                <a:gd name="connsiteX65" fmla="*/ 6065 w 10000"/>
                <a:gd name="connsiteY65" fmla="*/ 0 h 10283"/>
                <a:gd name="connsiteX66" fmla="*/ 6328 w 10000"/>
                <a:gd name="connsiteY66" fmla="*/ 250 h 10283"/>
                <a:gd name="connsiteX0" fmla="*/ 6328 w 10000"/>
                <a:gd name="connsiteY0" fmla="*/ 0 h 10033"/>
                <a:gd name="connsiteX1" fmla="*/ 6852 w 10000"/>
                <a:gd name="connsiteY1" fmla="*/ 69 h 10033"/>
                <a:gd name="connsiteX2" fmla="*/ 7160 w 10000"/>
                <a:gd name="connsiteY2" fmla="*/ 211 h 10033"/>
                <a:gd name="connsiteX3" fmla="*/ 7531 w 10000"/>
                <a:gd name="connsiteY3" fmla="*/ 353 h 10033"/>
                <a:gd name="connsiteX4" fmla="*/ 7963 w 10000"/>
                <a:gd name="connsiteY4" fmla="*/ 531 h 10033"/>
                <a:gd name="connsiteX5" fmla="*/ 8086 w 10000"/>
                <a:gd name="connsiteY5" fmla="*/ 638 h 10033"/>
                <a:gd name="connsiteX6" fmla="*/ 9938 w 10000"/>
                <a:gd name="connsiteY6" fmla="*/ 3876 h 10033"/>
                <a:gd name="connsiteX7" fmla="*/ 10000 w 10000"/>
                <a:gd name="connsiteY7" fmla="*/ 3983 h 10033"/>
                <a:gd name="connsiteX8" fmla="*/ 9938 w 10000"/>
                <a:gd name="connsiteY8" fmla="*/ 4161 h 10033"/>
                <a:gd name="connsiteX9" fmla="*/ 9815 w 10000"/>
                <a:gd name="connsiteY9" fmla="*/ 4303 h 10033"/>
                <a:gd name="connsiteX10" fmla="*/ 9630 w 10000"/>
                <a:gd name="connsiteY10" fmla="*/ 4410 h 10033"/>
                <a:gd name="connsiteX11" fmla="*/ 9383 w 10000"/>
                <a:gd name="connsiteY11" fmla="*/ 4481 h 10033"/>
                <a:gd name="connsiteX12" fmla="*/ 9136 w 10000"/>
                <a:gd name="connsiteY12" fmla="*/ 4481 h 10033"/>
                <a:gd name="connsiteX13" fmla="*/ 8827 w 10000"/>
                <a:gd name="connsiteY13" fmla="*/ 4481 h 10033"/>
                <a:gd name="connsiteX14" fmla="*/ 8642 w 10000"/>
                <a:gd name="connsiteY14" fmla="*/ 4410 h 10033"/>
                <a:gd name="connsiteX15" fmla="*/ 8457 w 10000"/>
                <a:gd name="connsiteY15" fmla="*/ 4303 h 10033"/>
                <a:gd name="connsiteX16" fmla="*/ 8333 w 10000"/>
                <a:gd name="connsiteY16" fmla="*/ 4161 h 10033"/>
                <a:gd name="connsiteX17" fmla="*/ 7531 w 10000"/>
                <a:gd name="connsiteY17" fmla="*/ 2773 h 10033"/>
                <a:gd name="connsiteX18" fmla="*/ 7531 w 10000"/>
                <a:gd name="connsiteY18" fmla="*/ 9357 h 10033"/>
                <a:gd name="connsiteX19" fmla="*/ 7469 w 10000"/>
                <a:gd name="connsiteY19" fmla="*/ 9535 h 10033"/>
                <a:gd name="connsiteX20" fmla="*/ 7407 w 10000"/>
                <a:gd name="connsiteY20" fmla="*/ 9677 h 10033"/>
                <a:gd name="connsiteX21" fmla="*/ 7160 w 10000"/>
                <a:gd name="connsiteY21" fmla="*/ 9855 h 10033"/>
                <a:gd name="connsiteX22" fmla="*/ 6914 w 10000"/>
                <a:gd name="connsiteY22" fmla="*/ 9962 h 10033"/>
                <a:gd name="connsiteX23" fmla="*/ 6728 w 10000"/>
                <a:gd name="connsiteY23" fmla="*/ 10033 h 10033"/>
                <a:gd name="connsiteX24" fmla="*/ 6420 w 10000"/>
                <a:gd name="connsiteY24" fmla="*/ 10033 h 10033"/>
                <a:gd name="connsiteX25" fmla="*/ 6111 w 10000"/>
                <a:gd name="connsiteY25" fmla="*/ 10033 h 10033"/>
                <a:gd name="connsiteX26" fmla="*/ 5864 w 10000"/>
                <a:gd name="connsiteY26" fmla="*/ 9962 h 10033"/>
                <a:gd name="connsiteX27" fmla="*/ 5617 w 10000"/>
                <a:gd name="connsiteY27" fmla="*/ 9855 h 10033"/>
                <a:gd name="connsiteX28" fmla="*/ 5494 w 10000"/>
                <a:gd name="connsiteY28" fmla="*/ 9677 h 10033"/>
                <a:gd name="connsiteX29" fmla="*/ 5309 w 10000"/>
                <a:gd name="connsiteY29" fmla="*/ 9535 h 10033"/>
                <a:gd name="connsiteX30" fmla="*/ 5309 w 10000"/>
                <a:gd name="connsiteY30" fmla="*/ 9357 h 10033"/>
                <a:gd name="connsiteX31" fmla="*/ 5309 w 10000"/>
                <a:gd name="connsiteY31" fmla="*/ 5620 h 10033"/>
                <a:gd name="connsiteX32" fmla="*/ 4568 w 10000"/>
                <a:gd name="connsiteY32" fmla="*/ 5620 h 10033"/>
                <a:gd name="connsiteX33" fmla="*/ 4568 w 10000"/>
                <a:gd name="connsiteY33" fmla="*/ 9357 h 10033"/>
                <a:gd name="connsiteX34" fmla="*/ 4568 w 10000"/>
                <a:gd name="connsiteY34" fmla="*/ 9535 h 10033"/>
                <a:gd name="connsiteX35" fmla="*/ 4444 w 10000"/>
                <a:gd name="connsiteY35" fmla="*/ 9713 h 10033"/>
                <a:gd name="connsiteX36" fmla="*/ 4259 w 10000"/>
                <a:gd name="connsiteY36" fmla="*/ 9855 h 10033"/>
                <a:gd name="connsiteX37" fmla="*/ 4012 w 10000"/>
                <a:gd name="connsiteY37" fmla="*/ 9962 h 10033"/>
                <a:gd name="connsiteX38" fmla="*/ 3827 w 10000"/>
                <a:gd name="connsiteY38" fmla="*/ 10033 h 10033"/>
                <a:gd name="connsiteX39" fmla="*/ 3519 w 10000"/>
                <a:gd name="connsiteY39" fmla="*/ 10033 h 10033"/>
                <a:gd name="connsiteX40" fmla="*/ 3210 w 10000"/>
                <a:gd name="connsiteY40" fmla="*/ 10033 h 10033"/>
                <a:gd name="connsiteX41" fmla="*/ 2963 w 10000"/>
                <a:gd name="connsiteY41" fmla="*/ 9962 h 10033"/>
                <a:gd name="connsiteX42" fmla="*/ 2716 w 10000"/>
                <a:gd name="connsiteY42" fmla="*/ 9855 h 10033"/>
                <a:gd name="connsiteX43" fmla="*/ 2593 w 10000"/>
                <a:gd name="connsiteY43" fmla="*/ 9713 h 10033"/>
                <a:gd name="connsiteX44" fmla="*/ 2407 w 10000"/>
                <a:gd name="connsiteY44" fmla="*/ 9535 h 10033"/>
                <a:gd name="connsiteX45" fmla="*/ 2407 w 10000"/>
                <a:gd name="connsiteY45" fmla="*/ 9357 h 10033"/>
                <a:gd name="connsiteX46" fmla="*/ 2407 w 10000"/>
                <a:gd name="connsiteY46" fmla="*/ 2702 h 10033"/>
                <a:gd name="connsiteX47" fmla="*/ 1605 w 10000"/>
                <a:gd name="connsiteY47" fmla="*/ 4126 h 10033"/>
                <a:gd name="connsiteX48" fmla="*/ 1481 w 10000"/>
                <a:gd name="connsiteY48" fmla="*/ 4268 h 10033"/>
                <a:gd name="connsiteX49" fmla="*/ 1296 w 10000"/>
                <a:gd name="connsiteY49" fmla="*/ 4339 h 10033"/>
                <a:gd name="connsiteX50" fmla="*/ 1049 w 10000"/>
                <a:gd name="connsiteY50" fmla="*/ 4446 h 10033"/>
                <a:gd name="connsiteX51" fmla="*/ 802 w 10000"/>
                <a:gd name="connsiteY51" fmla="*/ 4446 h 10033"/>
                <a:gd name="connsiteX52" fmla="*/ 494 w 10000"/>
                <a:gd name="connsiteY52" fmla="*/ 4446 h 10033"/>
                <a:gd name="connsiteX53" fmla="*/ 309 w 10000"/>
                <a:gd name="connsiteY53" fmla="*/ 4339 h 10033"/>
                <a:gd name="connsiteX54" fmla="*/ 123 w 10000"/>
                <a:gd name="connsiteY54" fmla="*/ 4268 h 10033"/>
                <a:gd name="connsiteX55" fmla="*/ 0 w 10000"/>
                <a:gd name="connsiteY55" fmla="*/ 4126 h 10033"/>
                <a:gd name="connsiteX56" fmla="*/ 0 w 10000"/>
                <a:gd name="connsiteY56" fmla="*/ 3948 h 10033"/>
                <a:gd name="connsiteX57" fmla="*/ 0 w 10000"/>
                <a:gd name="connsiteY57" fmla="*/ 3805 h 10033"/>
                <a:gd name="connsiteX58" fmla="*/ 1790 w 10000"/>
                <a:gd name="connsiteY58" fmla="*/ 602 h 10033"/>
                <a:gd name="connsiteX59" fmla="*/ 2037 w 10000"/>
                <a:gd name="connsiteY59" fmla="*/ 460 h 10033"/>
                <a:gd name="connsiteX60" fmla="*/ 2346 w 10000"/>
                <a:gd name="connsiteY60" fmla="*/ 353 h 10033"/>
                <a:gd name="connsiteX61" fmla="*/ 2716 w 10000"/>
                <a:gd name="connsiteY61" fmla="*/ 211 h 10033"/>
                <a:gd name="connsiteX62" fmla="*/ 3025 w 10000"/>
                <a:gd name="connsiteY62" fmla="*/ 104 h 10033"/>
                <a:gd name="connsiteX63" fmla="*/ 3210 w 10000"/>
                <a:gd name="connsiteY63" fmla="*/ 69 h 10033"/>
                <a:gd name="connsiteX64" fmla="*/ 3930 w 10000"/>
                <a:gd name="connsiteY64" fmla="*/ 43 h 10033"/>
                <a:gd name="connsiteX65" fmla="*/ 5379 w 10000"/>
                <a:gd name="connsiteY65" fmla="*/ 13 h 10033"/>
                <a:gd name="connsiteX66" fmla="*/ 6328 w 10000"/>
                <a:gd name="connsiteY66" fmla="*/ 0 h 10033"/>
                <a:gd name="connsiteX0" fmla="*/ 6328 w 10000"/>
                <a:gd name="connsiteY0" fmla="*/ 0 h 10033"/>
                <a:gd name="connsiteX1" fmla="*/ 6852 w 10000"/>
                <a:gd name="connsiteY1" fmla="*/ 69 h 10033"/>
                <a:gd name="connsiteX2" fmla="*/ 7446 w 10000"/>
                <a:gd name="connsiteY2" fmla="*/ 244 h 10033"/>
                <a:gd name="connsiteX3" fmla="*/ 7531 w 10000"/>
                <a:gd name="connsiteY3" fmla="*/ 353 h 10033"/>
                <a:gd name="connsiteX4" fmla="*/ 7963 w 10000"/>
                <a:gd name="connsiteY4" fmla="*/ 531 h 10033"/>
                <a:gd name="connsiteX5" fmla="*/ 8086 w 10000"/>
                <a:gd name="connsiteY5" fmla="*/ 638 h 10033"/>
                <a:gd name="connsiteX6" fmla="*/ 9938 w 10000"/>
                <a:gd name="connsiteY6" fmla="*/ 3876 h 10033"/>
                <a:gd name="connsiteX7" fmla="*/ 10000 w 10000"/>
                <a:gd name="connsiteY7" fmla="*/ 3983 h 10033"/>
                <a:gd name="connsiteX8" fmla="*/ 9938 w 10000"/>
                <a:gd name="connsiteY8" fmla="*/ 4161 h 10033"/>
                <a:gd name="connsiteX9" fmla="*/ 9815 w 10000"/>
                <a:gd name="connsiteY9" fmla="*/ 4303 h 10033"/>
                <a:gd name="connsiteX10" fmla="*/ 9630 w 10000"/>
                <a:gd name="connsiteY10" fmla="*/ 4410 h 10033"/>
                <a:gd name="connsiteX11" fmla="*/ 9383 w 10000"/>
                <a:gd name="connsiteY11" fmla="*/ 4481 h 10033"/>
                <a:gd name="connsiteX12" fmla="*/ 9136 w 10000"/>
                <a:gd name="connsiteY12" fmla="*/ 4481 h 10033"/>
                <a:gd name="connsiteX13" fmla="*/ 8827 w 10000"/>
                <a:gd name="connsiteY13" fmla="*/ 4481 h 10033"/>
                <a:gd name="connsiteX14" fmla="*/ 8642 w 10000"/>
                <a:gd name="connsiteY14" fmla="*/ 4410 h 10033"/>
                <a:gd name="connsiteX15" fmla="*/ 8457 w 10000"/>
                <a:gd name="connsiteY15" fmla="*/ 4303 h 10033"/>
                <a:gd name="connsiteX16" fmla="*/ 8333 w 10000"/>
                <a:gd name="connsiteY16" fmla="*/ 4161 h 10033"/>
                <a:gd name="connsiteX17" fmla="*/ 7531 w 10000"/>
                <a:gd name="connsiteY17" fmla="*/ 2773 h 10033"/>
                <a:gd name="connsiteX18" fmla="*/ 7531 w 10000"/>
                <a:gd name="connsiteY18" fmla="*/ 9357 h 10033"/>
                <a:gd name="connsiteX19" fmla="*/ 7469 w 10000"/>
                <a:gd name="connsiteY19" fmla="*/ 9535 h 10033"/>
                <a:gd name="connsiteX20" fmla="*/ 7407 w 10000"/>
                <a:gd name="connsiteY20" fmla="*/ 9677 h 10033"/>
                <a:gd name="connsiteX21" fmla="*/ 7160 w 10000"/>
                <a:gd name="connsiteY21" fmla="*/ 9855 h 10033"/>
                <a:gd name="connsiteX22" fmla="*/ 6914 w 10000"/>
                <a:gd name="connsiteY22" fmla="*/ 9962 h 10033"/>
                <a:gd name="connsiteX23" fmla="*/ 6728 w 10000"/>
                <a:gd name="connsiteY23" fmla="*/ 10033 h 10033"/>
                <a:gd name="connsiteX24" fmla="*/ 6420 w 10000"/>
                <a:gd name="connsiteY24" fmla="*/ 10033 h 10033"/>
                <a:gd name="connsiteX25" fmla="*/ 6111 w 10000"/>
                <a:gd name="connsiteY25" fmla="*/ 10033 h 10033"/>
                <a:gd name="connsiteX26" fmla="*/ 5864 w 10000"/>
                <a:gd name="connsiteY26" fmla="*/ 9962 h 10033"/>
                <a:gd name="connsiteX27" fmla="*/ 5617 w 10000"/>
                <a:gd name="connsiteY27" fmla="*/ 9855 h 10033"/>
                <a:gd name="connsiteX28" fmla="*/ 5494 w 10000"/>
                <a:gd name="connsiteY28" fmla="*/ 9677 h 10033"/>
                <a:gd name="connsiteX29" fmla="*/ 5309 w 10000"/>
                <a:gd name="connsiteY29" fmla="*/ 9535 h 10033"/>
                <a:gd name="connsiteX30" fmla="*/ 5309 w 10000"/>
                <a:gd name="connsiteY30" fmla="*/ 9357 h 10033"/>
                <a:gd name="connsiteX31" fmla="*/ 5309 w 10000"/>
                <a:gd name="connsiteY31" fmla="*/ 5620 h 10033"/>
                <a:gd name="connsiteX32" fmla="*/ 4568 w 10000"/>
                <a:gd name="connsiteY32" fmla="*/ 5620 h 10033"/>
                <a:gd name="connsiteX33" fmla="*/ 4568 w 10000"/>
                <a:gd name="connsiteY33" fmla="*/ 9357 h 10033"/>
                <a:gd name="connsiteX34" fmla="*/ 4568 w 10000"/>
                <a:gd name="connsiteY34" fmla="*/ 9535 h 10033"/>
                <a:gd name="connsiteX35" fmla="*/ 4444 w 10000"/>
                <a:gd name="connsiteY35" fmla="*/ 9713 h 10033"/>
                <a:gd name="connsiteX36" fmla="*/ 4259 w 10000"/>
                <a:gd name="connsiteY36" fmla="*/ 9855 h 10033"/>
                <a:gd name="connsiteX37" fmla="*/ 4012 w 10000"/>
                <a:gd name="connsiteY37" fmla="*/ 9962 h 10033"/>
                <a:gd name="connsiteX38" fmla="*/ 3827 w 10000"/>
                <a:gd name="connsiteY38" fmla="*/ 10033 h 10033"/>
                <a:gd name="connsiteX39" fmla="*/ 3519 w 10000"/>
                <a:gd name="connsiteY39" fmla="*/ 10033 h 10033"/>
                <a:gd name="connsiteX40" fmla="*/ 3210 w 10000"/>
                <a:gd name="connsiteY40" fmla="*/ 10033 h 10033"/>
                <a:gd name="connsiteX41" fmla="*/ 2963 w 10000"/>
                <a:gd name="connsiteY41" fmla="*/ 9962 h 10033"/>
                <a:gd name="connsiteX42" fmla="*/ 2716 w 10000"/>
                <a:gd name="connsiteY42" fmla="*/ 9855 h 10033"/>
                <a:gd name="connsiteX43" fmla="*/ 2593 w 10000"/>
                <a:gd name="connsiteY43" fmla="*/ 9713 h 10033"/>
                <a:gd name="connsiteX44" fmla="*/ 2407 w 10000"/>
                <a:gd name="connsiteY44" fmla="*/ 9535 h 10033"/>
                <a:gd name="connsiteX45" fmla="*/ 2407 w 10000"/>
                <a:gd name="connsiteY45" fmla="*/ 9357 h 10033"/>
                <a:gd name="connsiteX46" fmla="*/ 2407 w 10000"/>
                <a:gd name="connsiteY46" fmla="*/ 2702 h 10033"/>
                <a:gd name="connsiteX47" fmla="*/ 1605 w 10000"/>
                <a:gd name="connsiteY47" fmla="*/ 4126 h 10033"/>
                <a:gd name="connsiteX48" fmla="*/ 1481 w 10000"/>
                <a:gd name="connsiteY48" fmla="*/ 4268 h 10033"/>
                <a:gd name="connsiteX49" fmla="*/ 1296 w 10000"/>
                <a:gd name="connsiteY49" fmla="*/ 4339 h 10033"/>
                <a:gd name="connsiteX50" fmla="*/ 1049 w 10000"/>
                <a:gd name="connsiteY50" fmla="*/ 4446 h 10033"/>
                <a:gd name="connsiteX51" fmla="*/ 802 w 10000"/>
                <a:gd name="connsiteY51" fmla="*/ 4446 h 10033"/>
                <a:gd name="connsiteX52" fmla="*/ 494 w 10000"/>
                <a:gd name="connsiteY52" fmla="*/ 4446 h 10033"/>
                <a:gd name="connsiteX53" fmla="*/ 309 w 10000"/>
                <a:gd name="connsiteY53" fmla="*/ 4339 h 10033"/>
                <a:gd name="connsiteX54" fmla="*/ 123 w 10000"/>
                <a:gd name="connsiteY54" fmla="*/ 4268 h 10033"/>
                <a:gd name="connsiteX55" fmla="*/ 0 w 10000"/>
                <a:gd name="connsiteY55" fmla="*/ 4126 h 10033"/>
                <a:gd name="connsiteX56" fmla="*/ 0 w 10000"/>
                <a:gd name="connsiteY56" fmla="*/ 3948 h 10033"/>
                <a:gd name="connsiteX57" fmla="*/ 0 w 10000"/>
                <a:gd name="connsiteY57" fmla="*/ 3805 h 10033"/>
                <a:gd name="connsiteX58" fmla="*/ 1790 w 10000"/>
                <a:gd name="connsiteY58" fmla="*/ 602 h 10033"/>
                <a:gd name="connsiteX59" fmla="*/ 2037 w 10000"/>
                <a:gd name="connsiteY59" fmla="*/ 460 h 10033"/>
                <a:gd name="connsiteX60" fmla="*/ 2346 w 10000"/>
                <a:gd name="connsiteY60" fmla="*/ 353 h 10033"/>
                <a:gd name="connsiteX61" fmla="*/ 2716 w 10000"/>
                <a:gd name="connsiteY61" fmla="*/ 211 h 10033"/>
                <a:gd name="connsiteX62" fmla="*/ 3025 w 10000"/>
                <a:gd name="connsiteY62" fmla="*/ 104 h 10033"/>
                <a:gd name="connsiteX63" fmla="*/ 3210 w 10000"/>
                <a:gd name="connsiteY63" fmla="*/ 69 h 10033"/>
                <a:gd name="connsiteX64" fmla="*/ 3930 w 10000"/>
                <a:gd name="connsiteY64" fmla="*/ 43 h 10033"/>
                <a:gd name="connsiteX65" fmla="*/ 5379 w 10000"/>
                <a:gd name="connsiteY65" fmla="*/ 13 h 10033"/>
                <a:gd name="connsiteX66" fmla="*/ 6328 w 10000"/>
                <a:gd name="connsiteY66" fmla="*/ 0 h 10033"/>
                <a:gd name="connsiteX0" fmla="*/ 6328 w 10000"/>
                <a:gd name="connsiteY0" fmla="*/ 0 h 10033"/>
                <a:gd name="connsiteX1" fmla="*/ 6852 w 10000"/>
                <a:gd name="connsiteY1" fmla="*/ 69 h 10033"/>
                <a:gd name="connsiteX2" fmla="*/ 7446 w 10000"/>
                <a:gd name="connsiteY2" fmla="*/ 244 h 10033"/>
                <a:gd name="connsiteX3" fmla="*/ 7588 w 10000"/>
                <a:gd name="connsiteY3" fmla="*/ 419 h 10033"/>
                <a:gd name="connsiteX4" fmla="*/ 7963 w 10000"/>
                <a:gd name="connsiteY4" fmla="*/ 531 h 10033"/>
                <a:gd name="connsiteX5" fmla="*/ 8086 w 10000"/>
                <a:gd name="connsiteY5" fmla="*/ 638 h 10033"/>
                <a:gd name="connsiteX6" fmla="*/ 9938 w 10000"/>
                <a:gd name="connsiteY6" fmla="*/ 3876 h 10033"/>
                <a:gd name="connsiteX7" fmla="*/ 10000 w 10000"/>
                <a:gd name="connsiteY7" fmla="*/ 3983 h 10033"/>
                <a:gd name="connsiteX8" fmla="*/ 9938 w 10000"/>
                <a:gd name="connsiteY8" fmla="*/ 4161 h 10033"/>
                <a:gd name="connsiteX9" fmla="*/ 9815 w 10000"/>
                <a:gd name="connsiteY9" fmla="*/ 4303 h 10033"/>
                <a:gd name="connsiteX10" fmla="*/ 9630 w 10000"/>
                <a:gd name="connsiteY10" fmla="*/ 4410 h 10033"/>
                <a:gd name="connsiteX11" fmla="*/ 9383 w 10000"/>
                <a:gd name="connsiteY11" fmla="*/ 4481 h 10033"/>
                <a:gd name="connsiteX12" fmla="*/ 9136 w 10000"/>
                <a:gd name="connsiteY12" fmla="*/ 4481 h 10033"/>
                <a:gd name="connsiteX13" fmla="*/ 8827 w 10000"/>
                <a:gd name="connsiteY13" fmla="*/ 4481 h 10033"/>
                <a:gd name="connsiteX14" fmla="*/ 8642 w 10000"/>
                <a:gd name="connsiteY14" fmla="*/ 4410 h 10033"/>
                <a:gd name="connsiteX15" fmla="*/ 8457 w 10000"/>
                <a:gd name="connsiteY15" fmla="*/ 4303 h 10033"/>
                <a:gd name="connsiteX16" fmla="*/ 8333 w 10000"/>
                <a:gd name="connsiteY16" fmla="*/ 4161 h 10033"/>
                <a:gd name="connsiteX17" fmla="*/ 7531 w 10000"/>
                <a:gd name="connsiteY17" fmla="*/ 2773 h 10033"/>
                <a:gd name="connsiteX18" fmla="*/ 7531 w 10000"/>
                <a:gd name="connsiteY18" fmla="*/ 9357 h 10033"/>
                <a:gd name="connsiteX19" fmla="*/ 7469 w 10000"/>
                <a:gd name="connsiteY19" fmla="*/ 9535 h 10033"/>
                <a:gd name="connsiteX20" fmla="*/ 7407 w 10000"/>
                <a:gd name="connsiteY20" fmla="*/ 9677 h 10033"/>
                <a:gd name="connsiteX21" fmla="*/ 7160 w 10000"/>
                <a:gd name="connsiteY21" fmla="*/ 9855 h 10033"/>
                <a:gd name="connsiteX22" fmla="*/ 6914 w 10000"/>
                <a:gd name="connsiteY22" fmla="*/ 9962 h 10033"/>
                <a:gd name="connsiteX23" fmla="*/ 6728 w 10000"/>
                <a:gd name="connsiteY23" fmla="*/ 10033 h 10033"/>
                <a:gd name="connsiteX24" fmla="*/ 6420 w 10000"/>
                <a:gd name="connsiteY24" fmla="*/ 10033 h 10033"/>
                <a:gd name="connsiteX25" fmla="*/ 6111 w 10000"/>
                <a:gd name="connsiteY25" fmla="*/ 10033 h 10033"/>
                <a:gd name="connsiteX26" fmla="*/ 5864 w 10000"/>
                <a:gd name="connsiteY26" fmla="*/ 9962 h 10033"/>
                <a:gd name="connsiteX27" fmla="*/ 5617 w 10000"/>
                <a:gd name="connsiteY27" fmla="*/ 9855 h 10033"/>
                <a:gd name="connsiteX28" fmla="*/ 5494 w 10000"/>
                <a:gd name="connsiteY28" fmla="*/ 9677 h 10033"/>
                <a:gd name="connsiteX29" fmla="*/ 5309 w 10000"/>
                <a:gd name="connsiteY29" fmla="*/ 9535 h 10033"/>
                <a:gd name="connsiteX30" fmla="*/ 5309 w 10000"/>
                <a:gd name="connsiteY30" fmla="*/ 9357 h 10033"/>
                <a:gd name="connsiteX31" fmla="*/ 5309 w 10000"/>
                <a:gd name="connsiteY31" fmla="*/ 5620 h 10033"/>
                <a:gd name="connsiteX32" fmla="*/ 4568 w 10000"/>
                <a:gd name="connsiteY32" fmla="*/ 5620 h 10033"/>
                <a:gd name="connsiteX33" fmla="*/ 4568 w 10000"/>
                <a:gd name="connsiteY33" fmla="*/ 9357 h 10033"/>
                <a:gd name="connsiteX34" fmla="*/ 4568 w 10000"/>
                <a:gd name="connsiteY34" fmla="*/ 9535 h 10033"/>
                <a:gd name="connsiteX35" fmla="*/ 4444 w 10000"/>
                <a:gd name="connsiteY35" fmla="*/ 9713 h 10033"/>
                <a:gd name="connsiteX36" fmla="*/ 4259 w 10000"/>
                <a:gd name="connsiteY36" fmla="*/ 9855 h 10033"/>
                <a:gd name="connsiteX37" fmla="*/ 4012 w 10000"/>
                <a:gd name="connsiteY37" fmla="*/ 9962 h 10033"/>
                <a:gd name="connsiteX38" fmla="*/ 3827 w 10000"/>
                <a:gd name="connsiteY38" fmla="*/ 10033 h 10033"/>
                <a:gd name="connsiteX39" fmla="*/ 3519 w 10000"/>
                <a:gd name="connsiteY39" fmla="*/ 10033 h 10033"/>
                <a:gd name="connsiteX40" fmla="*/ 3210 w 10000"/>
                <a:gd name="connsiteY40" fmla="*/ 10033 h 10033"/>
                <a:gd name="connsiteX41" fmla="*/ 2963 w 10000"/>
                <a:gd name="connsiteY41" fmla="*/ 9962 h 10033"/>
                <a:gd name="connsiteX42" fmla="*/ 2716 w 10000"/>
                <a:gd name="connsiteY42" fmla="*/ 9855 h 10033"/>
                <a:gd name="connsiteX43" fmla="*/ 2593 w 10000"/>
                <a:gd name="connsiteY43" fmla="*/ 9713 h 10033"/>
                <a:gd name="connsiteX44" fmla="*/ 2407 w 10000"/>
                <a:gd name="connsiteY44" fmla="*/ 9535 h 10033"/>
                <a:gd name="connsiteX45" fmla="*/ 2407 w 10000"/>
                <a:gd name="connsiteY45" fmla="*/ 9357 h 10033"/>
                <a:gd name="connsiteX46" fmla="*/ 2407 w 10000"/>
                <a:gd name="connsiteY46" fmla="*/ 2702 h 10033"/>
                <a:gd name="connsiteX47" fmla="*/ 1605 w 10000"/>
                <a:gd name="connsiteY47" fmla="*/ 4126 h 10033"/>
                <a:gd name="connsiteX48" fmla="*/ 1481 w 10000"/>
                <a:gd name="connsiteY48" fmla="*/ 4268 h 10033"/>
                <a:gd name="connsiteX49" fmla="*/ 1296 w 10000"/>
                <a:gd name="connsiteY49" fmla="*/ 4339 h 10033"/>
                <a:gd name="connsiteX50" fmla="*/ 1049 w 10000"/>
                <a:gd name="connsiteY50" fmla="*/ 4446 h 10033"/>
                <a:gd name="connsiteX51" fmla="*/ 802 w 10000"/>
                <a:gd name="connsiteY51" fmla="*/ 4446 h 10033"/>
                <a:gd name="connsiteX52" fmla="*/ 494 w 10000"/>
                <a:gd name="connsiteY52" fmla="*/ 4446 h 10033"/>
                <a:gd name="connsiteX53" fmla="*/ 309 w 10000"/>
                <a:gd name="connsiteY53" fmla="*/ 4339 h 10033"/>
                <a:gd name="connsiteX54" fmla="*/ 123 w 10000"/>
                <a:gd name="connsiteY54" fmla="*/ 4268 h 10033"/>
                <a:gd name="connsiteX55" fmla="*/ 0 w 10000"/>
                <a:gd name="connsiteY55" fmla="*/ 4126 h 10033"/>
                <a:gd name="connsiteX56" fmla="*/ 0 w 10000"/>
                <a:gd name="connsiteY56" fmla="*/ 3948 h 10033"/>
                <a:gd name="connsiteX57" fmla="*/ 0 w 10000"/>
                <a:gd name="connsiteY57" fmla="*/ 3805 h 10033"/>
                <a:gd name="connsiteX58" fmla="*/ 1790 w 10000"/>
                <a:gd name="connsiteY58" fmla="*/ 602 h 10033"/>
                <a:gd name="connsiteX59" fmla="*/ 2037 w 10000"/>
                <a:gd name="connsiteY59" fmla="*/ 460 h 10033"/>
                <a:gd name="connsiteX60" fmla="*/ 2346 w 10000"/>
                <a:gd name="connsiteY60" fmla="*/ 353 h 10033"/>
                <a:gd name="connsiteX61" fmla="*/ 2716 w 10000"/>
                <a:gd name="connsiteY61" fmla="*/ 211 h 10033"/>
                <a:gd name="connsiteX62" fmla="*/ 3025 w 10000"/>
                <a:gd name="connsiteY62" fmla="*/ 104 h 10033"/>
                <a:gd name="connsiteX63" fmla="*/ 3210 w 10000"/>
                <a:gd name="connsiteY63" fmla="*/ 69 h 10033"/>
                <a:gd name="connsiteX64" fmla="*/ 3930 w 10000"/>
                <a:gd name="connsiteY64" fmla="*/ 43 h 10033"/>
                <a:gd name="connsiteX65" fmla="*/ 5379 w 10000"/>
                <a:gd name="connsiteY65" fmla="*/ 13 h 10033"/>
                <a:gd name="connsiteX66" fmla="*/ 6328 w 10000"/>
                <a:gd name="connsiteY66" fmla="*/ 0 h 10033"/>
                <a:gd name="connsiteX0" fmla="*/ 6328 w 10000"/>
                <a:gd name="connsiteY0" fmla="*/ 0 h 10033"/>
                <a:gd name="connsiteX1" fmla="*/ 6852 w 10000"/>
                <a:gd name="connsiteY1" fmla="*/ 69 h 10033"/>
                <a:gd name="connsiteX2" fmla="*/ 7446 w 10000"/>
                <a:gd name="connsiteY2" fmla="*/ 244 h 10033"/>
                <a:gd name="connsiteX3" fmla="*/ 7759 w 10000"/>
                <a:gd name="connsiteY3" fmla="*/ 452 h 10033"/>
                <a:gd name="connsiteX4" fmla="*/ 7963 w 10000"/>
                <a:gd name="connsiteY4" fmla="*/ 531 h 10033"/>
                <a:gd name="connsiteX5" fmla="*/ 8086 w 10000"/>
                <a:gd name="connsiteY5" fmla="*/ 638 h 10033"/>
                <a:gd name="connsiteX6" fmla="*/ 9938 w 10000"/>
                <a:gd name="connsiteY6" fmla="*/ 3876 h 10033"/>
                <a:gd name="connsiteX7" fmla="*/ 10000 w 10000"/>
                <a:gd name="connsiteY7" fmla="*/ 3983 h 10033"/>
                <a:gd name="connsiteX8" fmla="*/ 9938 w 10000"/>
                <a:gd name="connsiteY8" fmla="*/ 4161 h 10033"/>
                <a:gd name="connsiteX9" fmla="*/ 9815 w 10000"/>
                <a:gd name="connsiteY9" fmla="*/ 4303 h 10033"/>
                <a:gd name="connsiteX10" fmla="*/ 9630 w 10000"/>
                <a:gd name="connsiteY10" fmla="*/ 4410 h 10033"/>
                <a:gd name="connsiteX11" fmla="*/ 9383 w 10000"/>
                <a:gd name="connsiteY11" fmla="*/ 4481 h 10033"/>
                <a:gd name="connsiteX12" fmla="*/ 9136 w 10000"/>
                <a:gd name="connsiteY12" fmla="*/ 4481 h 10033"/>
                <a:gd name="connsiteX13" fmla="*/ 8827 w 10000"/>
                <a:gd name="connsiteY13" fmla="*/ 4481 h 10033"/>
                <a:gd name="connsiteX14" fmla="*/ 8642 w 10000"/>
                <a:gd name="connsiteY14" fmla="*/ 4410 h 10033"/>
                <a:gd name="connsiteX15" fmla="*/ 8457 w 10000"/>
                <a:gd name="connsiteY15" fmla="*/ 4303 h 10033"/>
                <a:gd name="connsiteX16" fmla="*/ 8333 w 10000"/>
                <a:gd name="connsiteY16" fmla="*/ 4161 h 10033"/>
                <a:gd name="connsiteX17" fmla="*/ 7531 w 10000"/>
                <a:gd name="connsiteY17" fmla="*/ 2773 h 10033"/>
                <a:gd name="connsiteX18" fmla="*/ 7531 w 10000"/>
                <a:gd name="connsiteY18" fmla="*/ 9357 h 10033"/>
                <a:gd name="connsiteX19" fmla="*/ 7469 w 10000"/>
                <a:gd name="connsiteY19" fmla="*/ 9535 h 10033"/>
                <a:gd name="connsiteX20" fmla="*/ 7407 w 10000"/>
                <a:gd name="connsiteY20" fmla="*/ 9677 h 10033"/>
                <a:gd name="connsiteX21" fmla="*/ 7160 w 10000"/>
                <a:gd name="connsiteY21" fmla="*/ 9855 h 10033"/>
                <a:gd name="connsiteX22" fmla="*/ 6914 w 10000"/>
                <a:gd name="connsiteY22" fmla="*/ 9962 h 10033"/>
                <a:gd name="connsiteX23" fmla="*/ 6728 w 10000"/>
                <a:gd name="connsiteY23" fmla="*/ 10033 h 10033"/>
                <a:gd name="connsiteX24" fmla="*/ 6420 w 10000"/>
                <a:gd name="connsiteY24" fmla="*/ 10033 h 10033"/>
                <a:gd name="connsiteX25" fmla="*/ 6111 w 10000"/>
                <a:gd name="connsiteY25" fmla="*/ 10033 h 10033"/>
                <a:gd name="connsiteX26" fmla="*/ 5864 w 10000"/>
                <a:gd name="connsiteY26" fmla="*/ 9962 h 10033"/>
                <a:gd name="connsiteX27" fmla="*/ 5617 w 10000"/>
                <a:gd name="connsiteY27" fmla="*/ 9855 h 10033"/>
                <a:gd name="connsiteX28" fmla="*/ 5494 w 10000"/>
                <a:gd name="connsiteY28" fmla="*/ 9677 h 10033"/>
                <a:gd name="connsiteX29" fmla="*/ 5309 w 10000"/>
                <a:gd name="connsiteY29" fmla="*/ 9535 h 10033"/>
                <a:gd name="connsiteX30" fmla="*/ 5309 w 10000"/>
                <a:gd name="connsiteY30" fmla="*/ 9357 h 10033"/>
                <a:gd name="connsiteX31" fmla="*/ 5309 w 10000"/>
                <a:gd name="connsiteY31" fmla="*/ 5620 h 10033"/>
                <a:gd name="connsiteX32" fmla="*/ 4568 w 10000"/>
                <a:gd name="connsiteY32" fmla="*/ 5620 h 10033"/>
                <a:gd name="connsiteX33" fmla="*/ 4568 w 10000"/>
                <a:gd name="connsiteY33" fmla="*/ 9357 h 10033"/>
                <a:gd name="connsiteX34" fmla="*/ 4568 w 10000"/>
                <a:gd name="connsiteY34" fmla="*/ 9535 h 10033"/>
                <a:gd name="connsiteX35" fmla="*/ 4444 w 10000"/>
                <a:gd name="connsiteY35" fmla="*/ 9713 h 10033"/>
                <a:gd name="connsiteX36" fmla="*/ 4259 w 10000"/>
                <a:gd name="connsiteY36" fmla="*/ 9855 h 10033"/>
                <a:gd name="connsiteX37" fmla="*/ 4012 w 10000"/>
                <a:gd name="connsiteY37" fmla="*/ 9962 h 10033"/>
                <a:gd name="connsiteX38" fmla="*/ 3827 w 10000"/>
                <a:gd name="connsiteY38" fmla="*/ 10033 h 10033"/>
                <a:gd name="connsiteX39" fmla="*/ 3519 w 10000"/>
                <a:gd name="connsiteY39" fmla="*/ 10033 h 10033"/>
                <a:gd name="connsiteX40" fmla="*/ 3210 w 10000"/>
                <a:gd name="connsiteY40" fmla="*/ 10033 h 10033"/>
                <a:gd name="connsiteX41" fmla="*/ 2963 w 10000"/>
                <a:gd name="connsiteY41" fmla="*/ 9962 h 10033"/>
                <a:gd name="connsiteX42" fmla="*/ 2716 w 10000"/>
                <a:gd name="connsiteY42" fmla="*/ 9855 h 10033"/>
                <a:gd name="connsiteX43" fmla="*/ 2593 w 10000"/>
                <a:gd name="connsiteY43" fmla="*/ 9713 h 10033"/>
                <a:gd name="connsiteX44" fmla="*/ 2407 w 10000"/>
                <a:gd name="connsiteY44" fmla="*/ 9535 h 10033"/>
                <a:gd name="connsiteX45" fmla="*/ 2407 w 10000"/>
                <a:gd name="connsiteY45" fmla="*/ 9357 h 10033"/>
                <a:gd name="connsiteX46" fmla="*/ 2407 w 10000"/>
                <a:gd name="connsiteY46" fmla="*/ 2702 h 10033"/>
                <a:gd name="connsiteX47" fmla="*/ 1605 w 10000"/>
                <a:gd name="connsiteY47" fmla="*/ 4126 h 10033"/>
                <a:gd name="connsiteX48" fmla="*/ 1481 w 10000"/>
                <a:gd name="connsiteY48" fmla="*/ 4268 h 10033"/>
                <a:gd name="connsiteX49" fmla="*/ 1296 w 10000"/>
                <a:gd name="connsiteY49" fmla="*/ 4339 h 10033"/>
                <a:gd name="connsiteX50" fmla="*/ 1049 w 10000"/>
                <a:gd name="connsiteY50" fmla="*/ 4446 h 10033"/>
                <a:gd name="connsiteX51" fmla="*/ 802 w 10000"/>
                <a:gd name="connsiteY51" fmla="*/ 4446 h 10033"/>
                <a:gd name="connsiteX52" fmla="*/ 494 w 10000"/>
                <a:gd name="connsiteY52" fmla="*/ 4446 h 10033"/>
                <a:gd name="connsiteX53" fmla="*/ 309 w 10000"/>
                <a:gd name="connsiteY53" fmla="*/ 4339 h 10033"/>
                <a:gd name="connsiteX54" fmla="*/ 123 w 10000"/>
                <a:gd name="connsiteY54" fmla="*/ 4268 h 10033"/>
                <a:gd name="connsiteX55" fmla="*/ 0 w 10000"/>
                <a:gd name="connsiteY55" fmla="*/ 4126 h 10033"/>
                <a:gd name="connsiteX56" fmla="*/ 0 w 10000"/>
                <a:gd name="connsiteY56" fmla="*/ 3948 h 10033"/>
                <a:gd name="connsiteX57" fmla="*/ 0 w 10000"/>
                <a:gd name="connsiteY57" fmla="*/ 3805 h 10033"/>
                <a:gd name="connsiteX58" fmla="*/ 1790 w 10000"/>
                <a:gd name="connsiteY58" fmla="*/ 602 h 10033"/>
                <a:gd name="connsiteX59" fmla="*/ 2037 w 10000"/>
                <a:gd name="connsiteY59" fmla="*/ 460 h 10033"/>
                <a:gd name="connsiteX60" fmla="*/ 2346 w 10000"/>
                <a:gd name="connsiteY60" fmla="*/ 353 h 10033"/>
                <a:gd name="connsiteX61" fmla="*/ 2716 w 10000"/>
                <a:gd name="connsiteY61" fmla="*/ 211 h 10033"/>
                <a:gd name="connsiteX62" fmla="*/ 3025 w 10000"/>
                <a:gd name="connsiteY62" fmla="*/ 104 h 10033"/>
                <a:gd name="connsiteX63" fmla="*/ 3210 w 10000"/>
                <a:gd name="connsiteY63" fmla="*/ 69 h 10033"/>
                <a:gd name="connsiteX64" fmla="*/ 3930 w 10000"/>
                <a:gd name="connsiteY64" fmla="*/ 43 h 10033"/>
                <a:gd name="connsiteX65" fmla="*/ 5379 w 10000"/>
                <a:gd name="connsiteY65" fmla="*/ 13 h 10033"/>
                <a:gd name="connsiteX66" fmla="*/ 6328 w 10000"/>
                <a:gd name="connsiteY66" fmla="*/ 0 h 10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0000" h="10033">
                  <a:moveTo>
                    <a:pt x="6328" y="0"/>
                  </a:moveTo>
                  <a:lnTo>
                    <a:pt x="6852" y="69"/>
                  </a:lnTo>
                  <a:lnTo>
                    <a:pt x="7446" y="244"/>
                  </a:lnTo>
                  <a:lnTo>
                    <a:pt x="7759" y="452"/>
                  </a:lnTo>
                  <a:lnTo>
                    <a:pt x="7963" y="531"/>
                  </a:lnTo>
                  <a:lnTo>
                    <a:pt x="8086" y="638"/>
                  </a:lnTo>
                  <a:lnTo>
                    <a:pt x="9938" y="3876"/>
                  </a:lnTo>
                  <a:cubicBezTo>
                    <a:pt x="9959" y="3912"/>
                    <a:pt x="9979" y="3947"/>
                    <a:pt x="10000" y="3983"/>
                  </a:cubicBezTo>
                  <a:cubicBezTo>
                    <a:pt x="9979" y="4042"/>
                    <a:pt x="9959" y="4102"/>
                    <a:pt x="9938" y="4161"/>
                  </a:cubicBezTo>
                  <a:lnTo>
                    <a:pt x="9815" y="4303"/>
                  </a:lnTo>
                  <a:lnTo>
                    <a:pt x="9630" y="4410"/>
                  </a:lnTo>
                  <a:lnTo>
                    <a:pt x="9383" y="4481"/>
                  </a:lnTo>
                  <a:lnTo>
                    <a:pt x="9136" y="4481"/>
                  </a:lnTo>
                  <a:lnTo>
                    <a:pt x="8827" y="4481"/>
                  </a:lnTo>
                  <a:lnTo>
                    <a:pt x="8642" y="4410"/>
                  </a:lnTo>
                  <a:lnTo>
                    <a:pt x="8457" y="4303"/>
                  </a:lnTo>
                  <a:lnTo>
                    <a:pt x="8333" y="4161"/>
                  </a:lnTo>
                  <a:lnTo>
                    <a:pt x="7531" y="2773"/>
                  </a:lnTo>
                  <a:lnTo>
                    <a:pt x="7531" y="9357"/>
                  </a:lnTo>
                  <a:cubicBezTo>
                    <a:pt x="7510" y="9416"/>
                    <a:pt x="7490" y="9476"/>
                    <a:pt x="7469" y="9535"/>
                  </a:cubicBezTo>
                  <a:cubicBezTo>
                    <a:pt x="7448" y="9582"/>
                    <a:pt x="7428" y="9630"/>
                    <a:pt x="7407" y="9677"/>
                  </a:cubicBezTo>
                  <a:lnTo>
                    <a:pt x="7160" y="9855"/>
                  </a:lnTo>
                  <a:lnTo>
                    <a:pt x="6914" y="9962"/>
                  </a:lnTo>
                  <a:lnTo>
                    <a:pt x="6728" y="10033"/>
                  </a:lnTo>
                  <a:lnTo>
                    <a:pt x="6420" y="10033"/>
                  </a:lnTo>
                  <a:lnTo>
                    <a:pt x="6111" y="10033"/>
                  </a:lnTo>
                  <a:lnTo>
                    <a:pt x="5864" y="9962"/>
                  </a:lnTo>
                  <a:lnTo>
                    <a:pt x="5617" y="9855"/>
                  </a:lnTo>
                  <a:lnTo>
                    <a:pt x="5494" y="9677"/>
                  </a:lnTo>
                  <a:lnTo>
                    <a:pt x="5309" y="9535"/>
                  </a:lnTo>
                  <a:lnTo>
                    <a:pt x="5309" y="9357"/>
                  </a:lnTo>
                  <a:lnTo>
                    <a:pt x="5309" y="5620"/>
                  </a:lnTo>
                  <a:lnTo>
                    <a:pt x="4568" y="5620"/>
                  </a:lnTo>
                  <a:lnTo>
                    <a:pt x="4568" y="9357"/>
                  </a:lnTo>
                  <a:lnTo>
                    <a:pt x="4568" y="9535"/>
                  </a:lnTo>
                  <a:lnTo>
                    <a:pt x="4444" y="9713"/>
                  </a:lnTo>
                  <a:lnTo>
                    <a:pt x="4259" y="9855"/>
                  </a:lnTo>
                  <a:lnTo>
                    <a:pt x="4012" y="9962"/>
                  </a:lnTo>
                  <a:lnTo>
                    <a:pt x="3827" y="10033"/>
                  </a:lnTo>
                  <a:lnTo>
                    <a:pt x="3519" y="10033"/>
                  </a:lnTo>
                  <a:lnTo>
                    <a:pt x="3210" y="10033"/>
                  </a:lnTo>
                  <a:lnTo>
                    <a:pt x="2963" y="9962"/>
                  </a:lnTo>
                  <a:lnTo>
                    <a:pt x="2716" y="9855"/>
                  </a:lnTo>
                  <a:lnTo>
                    <a:pt x="2593" y="9713"/>
                  </a:lnTo>
                  <a:lnTo>
                    <a:pt x="2407" y="9535"/>
                  </a:lnTo>
                  <a:lnTo>
                    <a:pt x="2407" y="9357"/>
                  </a:lnTo>
                  <a:lnTo>
                    <a:pt x="2407" y="2702"/>
                  </a:lnTo>
                  <a:lnTo>
                    <a:pt x="1605" y="4126"/>
                  </a:lnTo>
                  <a:lnTo>
                    <a:pt x="1481" y="4268"/>
                  </a:lnTo>
                  <a:lnTo>
                    <a:pt x="1296" y="4339"/>
                  </a:lnTo>
                  <a:lnTo>
                    <a:pt x="1049" y="4446"/>
                  </a:lnTo>
                  <a:lnTo>
                    <a:pt x="802" y="4446"/>
                  </a:lnTo>
                  <a:lnTo>
                    <a:pt x="494" y="4446"/>
                  </a:lnTo>
                  <a:lnTo>
                    <a:pt x="309" y="4339"/>
                  </a:lnTo>
                  <a:lnTo>
                    <a:pt x="123" y="4268"/>
                  </a:lnTo>
                  <a:lnTo>
                    <a:pt x="0" y="4126"/>
                  </a:lnTo>
                  <a:lnTo>
                    <a:pt x="0" y="3948"/>
                  </a:lnTo>
                  <a:lnTo>
                    <a:pt x="0" y="3805"/>
                  </a:lnTo>
                  <a:lnTo>
                    <a:pt x="1790" y="602"/>
                  </a:lnTo>
                  <a:lnTo>
                    <a:pt x="2037" y="460"/>
                  </a:lnTo>
                  <a:lnTo>
                    <a:pt x="2346" y="353"/>
                  </a:lnTo>
                  <a:lnTo>
                    <a:pt x="2716" y="211"/>
                  </a:lnTo>
                  <a:lnTo>
                    <a:pt x="3025" y="104"/>
                  </a:lnTo>
                  <a:lnTo>
                    <a:pt x="3210" y="69"/>
                  </a:lnTo>
                  <a:lnTo>
                    <a:pt x="3930" y="43"/>
                  </a:lnTo>
                  <a:lnTo>
                    <a:pt x="5379" y="13"/>
                  </a:lnTo>
                  <a:lnTo>
                    <a:pt x="6328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600">
                <a:solidFill>
                  <a:srgbClr val="646464"/>
                </a:solidFill>
              </a:endParaRPr>
            </a:p>
          </p:txBody>
        </p:sp>
        <p:sp>
          <p:nvSpPr>
            <p:cNvPr id="168" name="Freeform 1644"/>
            <p:cNvSpPr>
              <a:spLocks/>
            </p:cNvSpPr>
            <p:nvPr/>
          </p:nvSpPr>
          <p:spPr bwMode="auto">
            <a:xfrm>
              <a:off x="10653960" y="5248428"/>
              <a:ext cx="144870" cy="15099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algn="ctr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ctr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ctr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ctr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ctr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de-DE" dirty="0">
                <a:solidFill>
                  <a:srgbClr val="646464"/>
                </a:solidFill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>
            <a:off x="6205680" y="4407034"/>
            <a:ext cx="2435231" cy="627638"/>
            <a:chOff x="6156520" y="4430309"/>
            <a:chExt cx="2435231" cy="627638"/>
          </a:xfrm>
        </p:grpSpPr>
        <p:sp>
          <p:nvSpPr>
            <p:cNvPr id="157" name="TextBox 156"/>
            <p:cNvSpPr txBox="1"/>
            <p:nvPr/>
          </p:nvSpPr>
          <p:spPr>
            <a:xfrm>
              <a:off x="6231895" y="4430309"/>
              <a:ext cx="1271631" cy="19170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indent="-216000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itchFamily="34" charset="0"/>
                <a:buChar char="►"/>
              </a:pPr>
              <a:r>
                <a:rPr lang="ru-RU" sz="1050" dirty="0" smtClean="0">
                  <a:solidFill>
                    <a:schemeClr val="bg1"/>
                  </a:solidFill>
                </a:rPr>
                <a:t>+7 916 387 32 22</a:t>
              </a: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7260453" y="4656989"/>
              <a:ext cx="1331298" cy="174278"/>
            </a:xfrm>
            <a:prstGeom prst="rect">
              <a:avLst/>
            </a:prstGeom>
            <a:noFill/>
          </p:spPr>
          <p:txBody>
            <a:bodyPr wrap="square" lIns="36000" tIns="36576" rIns="0" bIns="0" rtlCol="0">
              <a:spAutoFit/>
            </a:bodyPr>
            <a:lstStyle/>
            <a:p>
              <a:pPr indent="-216000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itchFamily="34" charset="0"/>
                <a:buChar char="►"/>
              </a:pPr>
              <a:r>
                <a:rPr lang="ru-RU" sz="1050" dirty="0" smtClean="0">
                  <a:solidFill>
                    <a:schemeClr val="bg1"/>
                  </a:solidFill>
                </a:rPr>
                <a:t>+7 908 453 91 12</a:t>
              </a: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6156520" y="4883669"/>
              <a:ext cx="1267929" cy="17427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indent="-216000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itchFamily="34" charset="0"/>
                <a:buChar char="►"/>
              </a:pPr>
              <a:r>
                <a:rPr lang="ru-RU" sz="1050" dirty="0">
                  <a:solidFill>
                    <a:schemeClr val="bg1"/>
                  </a:solidFill>
                </a:rPr>
                <a:t>+7 904 825 76 53</a:t>
              </a:r>
            </a:p>
          </p:txBody>
        </p:sp>
        <p:cxnSp>
          <p:nvCxnSpPr>
            <p:cNvPr id="173" name="Straight Connector 172"/>
            <p:cNvCxnSpPr>
              <a:stCxn id="157" idx="2"/>
              <a:endCxn id="159" idx="0"/>
            </p:cNvCxnSpPr>
            <p:nvPr/>
          </p:nvCxnSpPr>
          <p:spPr>
            <a:xfrm flipH="1">
              <a:off x="6790485" y="4622015"/>
              <a:ext cx="77226" cy="261654"/>
            </a:xfrm>
            <a:prstGeom prst="line">
              <a:avLst/>
            </a:prstGeom>
            <a:ln w="12700" cap="sq">
              <a:solidFill>
                <a:schemeClr val="bg1">
                  <a:lumMod val="60000"/>
                  <a:lumOff val="40000"/>
                </a:schemeClr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>
              <a:stCxn id="159" idx="0"/>
              <a:endCxn id="158" idx="1"/>
            </p:cNvCxnSpPr>
            <p:nvPr/>
          </p:nvCxnSpPr>
          <p:spPr>
            <a:xfrm flipV="1">
              <a:off x="6790485" y="4744128"/>
              <a:ext cx="469968" cy="139541"/>
            </a:xfrm>
            <a:prstGeom prst="line">
              <a:avLst/>
            </a:prstGeom>
            <a:ln w="12700" cap="sq">
              <a:solidFill>
                <a:schemeClr val="bg1">
                  <a:lumMod val="60000"/>
                  <a:lumOff val="40000"/>
                </a:schemeClr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>
              <a:stCxn id="157" idx="2"/>
              <a:endCxn id="158" idx="1"/>
            </p:cNvCxnSpPr>
            <p:nvPr/>
          </p:nvCxnSpPr>
          <p:spPr>
            <a:xfrm>
              <a:off x="6867711" y="4622015"/>
              <a:ext cx="392742" cy="122113"/>
            </a:xfrm>
            <a:prstGeom prst="line">
              <a:avLst/>
            </a:prstGeom>
            <a:ln w="12700" cap="sq">
              <a:solidFill>
                <a:schemeClr val="bg1">
                  <a:lumMod val="60000"/>
                  <a:lumOff val="40000"/>
                </a:schemeClr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6" name="Group 205"/>
          <p:cNvGrpSpPr/>
          <p:nvPr/>
        </p:nvGrpSpPr>
        <p:grpSpPr>
          <a:xfrm>
            <a:off x="9985103" y="5114096"/>
            <a:ext cx="878293" cy="633108"/>
            <a:chOff x="8990944" y="4396118"/>
            <a:chExt cx="878293" cy="686855"/>
          </a:xfrm>
        </p:grpSpPr>
        <p:sp>
          <p:nvSpPr>
            <p:cNvPr id="207" name="Double Brace 206"/>
            <p:cNvSpPr/>
            <p:nvPr/>
          </p:nvSpPr>
          <p:spPr>
            <a:xfrm>
              <a:off x="9039633" y="4430333"/>
              <a:ext cx="829604" cy="627352"/>
            </a:xfrm>
            <a:prstGeom prst="bracePair">
              <a:avLst>
                <a:gd name="adj" fmla="val 16295"/>
              </a:avLst>
            </a:prstGeom>
            <a:ln w="38100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8990944" y="4396118"/>
              <a:ext cx="494551" cy="686855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0" name="Group 209"/>
          <p:cNvGrpSpPr/>
          <p:nvPr/>
        </p:nvGrpSpPr>
        <p:grpSpPr>
          <a:xfrm>
            <a:off x="9084450" y="5207565"/>
            <a:ext cx="1629743" cy="475667"/>
            <a:chOff x="7737428" y="5341450"/>
            <a:chExt cx="1629743" cy="475667"/>
          </a:xfrm>
        </p:grpSpPr>
        <p:sp>
          <p:nvSpPr>
            <p:cNvPr id="160" name="Rectangle 159"/>
            <p:cNvSpPr/>
            <p:nvPr/>
          </p:nvSpPr>
          <p:spPr>
            <a:xfrm>
              <a:off x="7737428" y="5341450"/>
              <a:ext cx="1457450" cy="17427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indent="-216000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itchFamily="34" charset="0"/>
                <a:buChar char="►"/>
              </a:pPr>
              <a:r>
                <a:rPr lang="ru-RU" sz="1050" dirty="0">
                  <a:solidFill>
                    <a:schemeClr val="bg1"/>
                  </a:solidFill>
                </a:rPr>
                <a:t>+7 907 372 43 59</a:t>
              </a:r>
            </a:p>
          </p:txBody>
        </p:sp>
        <p:sp>
          <p:nvSpPr>
            <p:cNvPr id="171" name="Rectangle 170"/>
            <p:cNvSpPr/>
            <p:nvPr/>
          </p:nvSpPr>
          <p:spPr>
            <a:xfrm>
              <a:off x="7909721" y="5642839"/>
              <a:ext cx="1457450" cy="17427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indent="-216000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itchFamily="34" charset="0"/>
                <a:buChar char="►"/>
              </a:pPr>
              <a:r>
                <a:rPr lang="ru-RU" sz="1050" dirty="0">
                  <a:solidFill>
                    <a:schemeClr val="bg1"/>
                  </a:solidFill>
                </a:rPr>
                <a:t>+7 903 856 43 82</a:t>
              </a:r>
            </a:p>
          </p:txBody>
        </p:sp>
        <p:cxnSp>
          <p:nvCxnSpPr>
            <p:cNvPr id="186" name="Straight Connector 185"/>
            <p:cNvCxnSpPr>
              <a:stCxn id="160" idx="2"/>
              <a:endCxn id="171" idx="0"/>
            </p:cNvCxnSpPr>
            <p:nvPr/>
          </p:nvCxnSpPr>
          <p:spPr>
            <a:xfrm>
              <a:off x="8466153" y="5515728"/>
              <a:ext cx="172293" cy="127111"/>
            </a:xfrm>
            <a:prstGeom prst="line">
              <a:avLst/>
            </a:prstGeom>
            <a:ln w="12700" cap="sq">
              <a:solidFill>
                <a:schemeClr val="bg1">
                  <a:lumMod val="60000"/>
                  <a:lumOff val="40000"/>
                </a:schemeClr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14507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dirty="0" smtClean="0"/>
              <a:t>Качество результатов и эффективность работы алгоритма могут быть улучшены при помощи нескольких усовершенствований</a:t>
            </a:r>
            <a:endParaRPr lang="ru-RU" sz="2600" dirty="0"/>
          </a:p>
        </p:txBody>
      </p:sp>
      <p:grpSp>
        <p:nvGrpSpPr>
          <p:cNvPr id="114" name="Group 113"/>
          <p:cNvGrpSpPr/>
          <p:nvPr/>
        </p:nvGrpSpPr>
        <p:grpSpPr>
          <a:xfrm>
            <a:off x="498888" y="1785849"/>
            <a:ext cx="5498668" cy="2534349"/>
            <a:chOff x="498888" y="2221880"/>
            <a:chExt cx="5498668" cy="2534349"/>
          </a:xfrm>
        </p:grpSpPr>
        <p:grpSp>
          <p:nvGrpSpPr>
            <p:cNvPr id="93" name="Group 92"/>
            <p:cNvGrpSpPr/>
            <p:nvPr/>
          </p:nvGrpSpPr>
          <p:grpSpPr>
            <a:xfrm>
              <a:off x="498888" y="2222895"/>
              <a:ext cx="2822933" cy="1529253"/>
              <a:chOff x="498888" y="1747661"/>
              <a:chExt cx="2822933" cy="1529253"/>
            </a:xfrm>
          </p:grpSpPr>
          <p:grpSp>
            <p:nvGrpSpPr>
              <p:cNvPr id="5" name="Group 4"/>
              <p:cNvGrpSpPr/>
              <p:nvPr/>
            </p:nvGrpSpPr>
            <p:grpSpPr>
              <a:xfrm>
                <a:off x="987988" y="1747661"/>
                <a:ext cx="500436" cy="879215"/>
                <a:chOff x="9217180" y="1414885"/>
                <a:chExt cx="500436" cy="879215"/>
              </a:xfrm>
            </p:grpSpPr>
            <p:grpSp>
              <p:nvGrpSpPr>
                <p:cNvPr id="6" name="Group 5"/>
                <p:cNvGrpSpPr/>
                <p:nvPr/>
              </p:nvGrpSpPr>
              <p:grpSpPr>
                <a:xfrm>
                  <a:off x="9296098" y="1640119"/>
                  <a:ext cx="349445" cy="653981"/>
                  <a:chOff x="1012797" y="1813852"/>
                  <a:chExt cx="529462" cy="990880"/>
                </a:xfrm>
              </p:grpSpPr>
              <p:cxnSp>
                <p:nvCxnSpPr>
                  <p:cNvPr id="15" name="Straight Connector 14"/>
                  <p:cNvCxnSpPr/>
                  <p:nvPr/>
                </p:nvCxnSpPr>
                <p:spPr>
                  <a:xfrm flipV="1">
                    <a:off x="1012797" y="1933195"/>
                    <a:ext cx="262985" cy="871532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H="1" flipV="1">
                    <a:off x="1275783" y="1933194"/>
                    <a:ext cx="266472" cy="871533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" name="Straight Connector 16"/>
                  <p:cNvCxnSpPr/>
                  <p:nvPr/>
                </p:nvCxnSpPr>
                <p:spPr>
                  <a:xfrm flipH="1">
                    <a:off x="1012797" y="2500629"/>
                    <a:ext cx="435003" cy="304098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" name="Straight Connector 17"/>
                  <p:cNvCxnSpPr/>
                  <p:nvPr/>
                </p:nvCxnSpPr>
                <p:spPr>
                  <a:xfrm flipH="1" flipV="1">
                    <a:off x="1117685" y="2507540"/>
                    <a:ext cx="424574" cy="297192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" name="Straight Connector 18"/>
                  <p:cNvCxnSpPr/>
                  <p:nvPr/>
                </p:nvCxnSpPr>
                <p:spPr>
                  <a:xfrm>
                    <a:off x="1186202" y="2252663"/>
                    <a:ext cx="244729" cy="193089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" name="Straight Connector 19"/>
                  <p:cNvCxnSpPr/>
                  <p:nvPr/>
                </p:nvCxnSpPr>
                <p:spPr>
                  <a:xfrm flipH="1">
                    <a:off x="1119219" y="2252663"/>
                    <a:ext cx="244698" cy="193089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" name="Straight Connector 20"/>
                  <p:cNvCxnSpPr/>
                  <p:nvPr/>
                </p:nvCxnSpPr>
                <p:spPr>
                  <a:xfrm flipH="1">
                    <a:off x="1211419" y="2085461"/>
                    <a:ext cx="97148" cy="111155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" name="Straight Connector 21"/>
                  <p:cNvCxnSpPr/>
                  <p:nvPr/>
                </p:nvCxnSpPr>
                <p:spPr>
                  <a:xfrm>
                    <a:off x="1241568" y="2085461"/>
                    <a:ext cx="102949" cy="111155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3" name="Oval 22"/>
                  <p:cNvSpPr>
                    <a:spLocks noChangeAspect="1"/>
                  </p:cNvSpPr>
                  <p:nvPr/>
                </p:nvSpPr>
                <p:spPr>
                  <a:xfrm>
                    <a:off x="1204054" y="1813852"/>
                    <a:ext cx="144000" cy="144000"/>
                  </a:xfrm>
                  <a:prstGeom prst="ellipse">
                    <a:avLst/>
                  </a:prstGeom>
                  <a:solidFill>
                    <a:srgbClr val="646464"/>
                  </a:solidFill>
                  <a:ln w="9525">
                    <a:solidFill>
                      <a:srgbClr val="646464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/>
                  <a:lstStyle/>
                  <a:p>
                    <a:pPr algn="ctr"/>
                    <a:endParaRPr lang="ru-RU" sz="12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7" name="Group 6"/>
                <p:cNvGrpSpPr/>
                <p:nvPr/>
              </p:nvGrpSpPr>
              <p:grpSpPr>
                <a:xfrm>
                  <a:off x="9217181" y="1414886"/>
                  <a:ext cx="500435" cy="555036"/>
                  <a:chOff x="738566" y="1243910"/>
                  <a:chExt cx="758235" cy="840963"/>
                </a:xfrm>
              </p:grpSpPr>
              <p:sp>
                <p:nvSpPr>
                  <p:cNvPr id="12" name="Arc 11"/>
                  <p:cNvSpPr>
                    <a:spLocks noChangeAspect="1"/>
                  </p:cNvSpPr>
                  <p:nvPr/>
                </p:nvSpPr>
                <p:spPr>
                  <a:xfrm rot="13500000">
                    <a:off x="943716" y="1538019"/>
                    <a:ext cx="280321" cy="252745"/>
                  </a:xfrm>
                  <a:prstGeom prst="arc">
                    <a:avLst>
                      <a:gd name="adj1" fmla="val 15767438"/>
                      <a:gd name="adj2" fmla="val 700776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13" name="Arc 12"/>
                  <p:cNvSpPr>
                    <a:spLocks noChangeAspect="1"/>
                  </p:cNvSpPr>
                  <p:nvPr/>
                </p:nvSpPr>
                <p:spPr>
                  <a:xfrm rot="13500000">
                    <a:off x="817721" y="1411646"/>
                    <a:ext cx="560642" cy="505490"/>
                  </a:xfrm>
                  <a:prstGeom prst="arc">
                    <a:avLst>
                      <a:gd name="adj1" fmla="val 16476798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14" name="Arc 13"/>
                  <p:cNvSpPr>
                    <a:spLocks noChangeAspect="1"/>
                  </p:cNvSpPr>
                  <p:nvPr/>
                </p:nvSpPr>
                <p:spPr>
                  <a:xfrm rot="13500000">
                    <a:off x="697202" y="1285274"/>
                    <a:ext cx="840963" cy="758235"/>
                  </a:xfrm>
                  <a:prstGeom prst="arc">
                    <a:avLst>
                      <a:gd name="adj1" fmla="val 16578546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  <p:grpSp>
              <p:nvGrpSpPr>
                <p:cNvPr id="8" name="Group 7"/>
                <p:cNvGrpSpPr/>
                <p:nvPr/>
              </p:nvGrpSpPr>
              <p:grpSpPr>
                <a:xfrm flipH="1">
                  <a:off x="9217180" y="1414885"/>
                  <a:ext cx="500435" cy="555036"/>
                  <a:chOff x="738566" y="1243910"/>
                  <a:chExt cx="758235" cy="840963"/>
                </a:xfrm>
              </p:grpSpPr>
              <p:sp>
                <p:nvSpPr>
                  <p:cNvPr id="9" name="Arc 8"/>
                  <p:cNvSpPr>
                    <a:spLocks noChangeAspect="1"/>
                  </p:cNvSpPr>
                  <p:nvPr/>
                </p:nvSpPr>
                <p:spPr>
                  <a:xfrm rot="13500000">
                    <a:off x="943716" y="1538019"/>
                    <a:ext cx="280321" cy="252745"/>
                  </a:xfrm>
                  <a:prstGeom prst="arc">
                    <a:avLst>
                      <a:gd name="adj1" fmla="val 15767438"/>
                      <a:gd name="adj2" fmla="val 700776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10" name="Arc 9"/>
                  <p:cNvSpPr>
                    <a:spLocks noChangeAspect="1"/>
                  </p:cNvSpPr>
                  <p:nvPr/>
                </p:nvSpPr>
                <p:spPr>
                  <a:xfrm rot="13500000">
                    <a:off x="817721" y="1411646"/>
                    <a:ext cx="560642" cy="505490"/>
                  </a:xfrm>
                  <a:prstGeom prst="arc">
                    <a:avLst>
                      <a:gd name="adj1" fmla="val 16476798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11" name="Arc 10"/>
                  <p:cNvSpPr>
                    <a:spLocks noChangeAspect="1"/>
                  </p:cNvSpPr>
                  <p:nvPr/>
                </p:nvSpPr>
                <p:spPr>
                  <a:xfrm rot="13500000">
                    <a:off x="697202" y="1285274"/>
                    <a:ext cx="840963" cy="758235"/>
                  </a:xfrm>
                  <a:prstGeom prst="arc">
                    <a:avLst>
                      <a:gd name="adj1" fmla="val 16578546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</p:grpSp>
          <p:grpSp>
            <p:nvGrpSpPr>
              <p:cNvPr id="24" name="Group 23"/>
              <p:cNvGrpSpPr/>
              <p:nvPr/>
            </p:nvGrpSpPr>
            <p:grpSpPr>
              <a:xfrm>
                <a:off x="2285809" y="1748754"/>
                <a:ext cx="500436" cy="879215"/>
                <a:chOff x="9217180" y="1414885"/>
                <a:chExt cx="500436" cy="879215"/>
              </a:xfrm>
            </p:grpSpPr>
            <p:grpSp>
              <p:nvGrpSpPr>
                <p:cNvPr id="25" name="Group 24"/>
                <p:cNvGrpSpPr/>
                <p:nvPr/>
              </p:nvGrpSpPr>
              <p:grpSpPr>
                <a:xfrm>
                  <a:off x="9296098" y="1640119"/>
                  <a:ext cx="349445" cy="653981"/>
                  <a:chOff x="1012797" y="1813852"/>
                  <a:chExt cx="529462" cy="990880"/>
                </a:xfrm>
              </p:grpSpPr>
              <p:cxnSp>
                <p:nvCxnSpPr>
                  <p:cNvPr id="34" name="Straight Connector 33"/>
                  <p:cNvCxnSpPr/>
                  <p:nvPr/>
                </p:nvCxnSpPr>
                <p:spPr>
                  <a:xfrm flipV="1">
                    <a:off x="1012797" y="1933195"/>
                    <a:ext cx="262985" cy="871532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5" name="Straight Connector 34"/>
                  <p:cNvCxnSpPr/>
                  <p:nvPr/>
                </p:nvCxnSpPr>
                <p:spPr>
                  <a:xfrm flipH="1" flipV="1">
                    <a:off x="1275783" y="1933194"/>
                    <a:ext cx="266472" cy="871533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6" name="Straight Connector 35"/>
                  <p:cNvCxnSpPr/>
                  <p:nvPr/>
                </p:nvCxnSpPr>
                <p:spPr>
                  <a:xfrm flipH="1">
                    <a:off x="1012797" y="2500629"/>
                    <a:ext cx="435003" cy="304098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Straight Connector 36"/>
                  <p:cNvCxnSpPr/>
                  <p:nvPr/>
                </p:nvCxnSpPr>
                <p:spPr>
                  <a:xfrm flipH="1" flipV="1">
                    <a:off x="1117685" y="2507540"/>
                    <a:ext cx="424574" cy="297192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" name="Straight Connector 37"/>
                  <p:cNvCxnSpPr/>
                  <p:nvPr/>
                </p:nvCxnSpPr>
                <p:spPr>
                  <a:xfrm>
                    <a:off x="1186202" y="2252663"/>
                    <a:ext cx="244729" cy="193089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9" name="Straight Connector 38"/>
                  <p:cNvCxnSpPr/>
                  <p:nvPr/>
                </p:nvCxnSpPr>
                <p:spPr>
                  <a:xfrm flipH="1">
                    <a:off x="1119219" y="2252663"/>
                    <a:ext cx="244698" cy="193089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Straight Connector 39"/>
                  <p:cNvCxnSpPr/>
                  <p:nvPr/>
                </p:nvCxnSpPr>
                <p:spPr>
                  <a:xfrm flipH="1">
                    <a:off x="1211419" y="2085461"/>
                    <a:ext cx="97148" cy="111155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1" name="Straight Connector 40"/>
                  <p:cNvCxnSpPr/>
                  <p:nvPr/>
                </p:nvCxnSpPr>
                <p:spPr>
                  <a:xfrm>
                    <a:off x="1241568" y="2085461"/>
                    <a:ext cx="102949" cy="111155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2" name="Oval 41"/>
                  <p:cNvSpPr>
                    <a:spLocks noChangeAspect="1"/>
                  </p:cNvSpPr>
                  <p:nvPr/>
                </p:nvSpPr>
                <p:spPr>
                  <a:xfrm>
                    <a:off x="1204054" y="1813852"/>
                    <a:ext cx="144000" cy="144000"/>
                  </a:xfrm>
                  <a:prstGeom prst="ellipse">
                    <a:avLst/>
                  </a:prstGeom>
                  <a:solidFill>
                    <a:srgbClr val="646464"/>
                  </a:solidFill>
                  <a:ln w="9525">
                    <a:solidFill>
                      <a:srgbClr val="646464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/>
                  <a:lstStyle/>
                  <a:p>
                    <a:pPr algn="ctr"/>
                    <a:endParaRPr lang="ru-RU" sz="12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26" name="Group 25"/>
                <p:cNvGrpSpPr/>
                <p:nvPr/>
              </p:nvGrpSpPr>
              <p:grpSpPr>
                <a:xfrm>
                  <a:off x="9217181" y="1414886"/>
                  <a:ext cx="500435" cy="555036"/>
                  <a:chOff x="738566" y="1243910"/>
                  <a:chExt cx="758235" cy="840963"/>
                </a:xfrm>
              </p:grpSpPr>
              <p:sp>
                <p:nvSpPr>
                  <p:cNvPr id="31" name="Arc 30"/>
                  <p:cNvSpPr>
                    <a:spLocks noChangeAspect="1"/>
                  </p:cNvSpPr>
                  <p:nvPr/>
                </p:nvSpPr>
                <p:spPr>
                  <a:xfrm rot="13500000">
                    <a:off x="943716" y="1538019"/>
                    <a:ext cx="280321" cy="252745"/>
                  </a:xfrm>
                  <a:prstGeom prst="arc">
                    <a:avLst>
                      <a:gd name="adj1" fmla="val 15767438"/>
                      <a:gd name="adj2" fmla="val 700776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32" name="Arc 31"/>
                  <p:cNvSpPr>
                    <a:spLocks noChangeAspect="1"/>
                  </p:cNvSpPr>
                  <p:nvPr/>
                </p:nvSpPr>
                <p:spPr>
                  <a:xfrm rot="13500000">
                    <a:off x="817721" y="1411646"/>
                    <a:ext cx="560642" cy="505490"/>
                  </a:xfrm>
                  <a:prstGeom prst="arc">
                    <a:avLst>
                      <a:gd name="adj1" fmla="val 16476798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33" name="Arc 32"/>
                  <p:cNvSpPr>
                    <a:spLocks noChangeAspect="1"/>
                  </p:cNvSpPr>
                  <p:nvPr/>
                </p:nvSpPr>
                <p:spPr>
                  <a:xfrm rot="13500000">
                    <a:off x="697202" y="1285274"/>
                    <a:ext cx="840963" cy="758235"/>
                  </a:xfrm>
                  <a:prstGeom prst="arc">
                    <a:avLst>
                      <a:gd name="adj1" fmla="val 16578546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  <p:grpSp>
              <p:nvGrpSpPr>
                <p:cNvPr id="27" name="Group 26"/>
                <p:cNvGrpSpPr/>
                <p:nvPr/>
              </p:nvGrpSpPr>
              <p:grpSpPr>
                <a:xfrm flipH="1">
                  <a:off x="9217180" y="1414885"/>
                  <a:ext cx="500435" cy="555036"/>
                  <a:chOff x="738566" y="1243910"/>
                  <a:chExt cx="758235" cy="840963"/>
                </a:xfrm>
              </p:grpSpPr>
              <p:sp>
                <p:nvSpPr>
                  <p:cNvPr id="28" name="Arc 27"/>
                  <p:cNvSpPr>
                    <a:spLocks noChangeAspect="1"/>
                  </p:cNvSpPr>
                  <p:nvPr/>
                </p:nvSpPr>
                <p:spPr>
                  <a:xfrm rot="13500000">
                    <a:off x="943716" y="1538019"/>
                    <a:ext cx="280321" cy="252745"/>
                  </a:xfrm>
                  <a:prstGeom prst="arc">
                    <a:avLst>
                      <a:gd name="adj1" fmla="val 15767438"/>
                      <a:gd name="adj2" fmla="val 700776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29" name="Arc 28"/>
                  <p:cNvSpPr>
                    <a:spLocks noChangeAspect="1"/>
                  </p:cNvSpPr>
                  <p:nvPr/>
                </p:nvSpPr>
                <p:spPr>
                  <a:xfrm rot="13500000">
                    <a:off x="817721" y="1411646"/>
                    <a:ext cx="560642" cy="505490"/>
                  </a:xfrm>
                  <a:prstGeom prst="arc">
                    <a:avLst>
                      <a:gd name="adj1" fmla="val 16476798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30" name="Arc 29"/>
                  <p:cNvSpPr>
                    <a:spLocks noChangeAspect="1"/>
                  </p:cNvSpPr>
                  <p:nvPr/>
                </p:nvSpPr>
                <p:spPr>
                  <a:xfrm rot="13500000">
                    <a:off x="697202" y="1285274"/>
                    <a:ext cx="840963" cy="758235"/>
                  </a:xfrm>
                  <a:prstGeom prst="arc">
                    <a:avLst>
                      <a:gd name="adj1" fmla="val 16578546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</p:grpSp>
          <p:sp>
            <p:nvSpPr>
              <p:cNvPr id="81" name="Pie 80"/>
              <p:cNvSpPr/>
              <p:nvPr/>
            </p:nvSpPr>
            <p:spPr>
              <a:xfrm>
                <a:off x="498888" y="2052914"/>
                <a:ext cx="1548000" cy="1224000"/>
              </a:xfrm>
              <a:prstGeom prst="pie">
                <a:avLst>
                  <a:gd name="adj1" fmla="val 21568271"/>
                  <a:gd name="adj2" fmla="val 7369019"/>
                </a:avLst>
              </a:prstGeom>
              <a:noFill/>
              <a:ln w="9525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Pie 81"/>
              <p:cNvSpPr/>
              <p:nvPr/>
            </p:nvSpPr>
            <p:spPr>
              <a:xfrm>
                <a:off x="1773821" y="2043389"/>
                <a:ext cx="1548000" cy="1224000"/>
              </a:xfrm>
              <a:prstGeom prst="pie">
                <a:avLst>
                  <a:gd name="adj1" fmla="val 3130178"/>
                  <a:gd name="adj2" fmla="val 10774077"/>
                </a:avLst>
              </a:prstGeom>
              <a:noFill/>
              <a:ln w="9525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Freeform 82"/>
              <p:cNvSpPr/>
              <p:nvPr/>
            </p:nvSpPr>
            <p:spPr>
              <a:xfrm>
                <a:off x="1761013" y="2650332"/>
                <a:ext cx="303848" cy="371474"/>
              </a:xfrm>
              <a:custGeom>
                <a:avLst/>
                <a:gdLst>
                  <a:gd name="connsiteX0" fmla="*/ 0 w 276225"/>
                  <a:gd name="connsiteY0" fmla="*/ 2381 h 347662"/>
                  <a:gd name="connsiteX1" fmla="*/ 276225 w 276225"/>
                  <a:gd name="connsiteY1" fmla="*/ 0 h 347662"/>
                  <a:gd name="connsiteX2" fmla="*/ 273844 w 276225"/>
                  <a:gd name="connsiteY2" fmla="*/ 73819 h 347662"/>
                  <a:gd name="connsiteX3" fmla="*/ 250032 w 276225"/>
                  <a:gd name="connsiteY3" fmla="*/ 176212 h 347662"/>
                  <a:gd name="connsiteX4" fmla="*/ 228600 w 276225"/>
                  <a:gd name="connsiteY4" fmla="*/ 230981 h 347662"/>
                  <a:gd name="connsiteX5" fmla="*/ 192882 w 276225"/>
                  <a:gd name="connsiteY5" fmla="*/ 295275 h 347662"/>
                  <a:gd name="connsiteX6" fmla="*/ 159544 w 276225"/>
                  <a:gd name="connsiteY6" fmla="*/ 328612 h 347662"/>
                  <a:gd name="connsiteX7" fmla="*/ 138113 w 276225"/>
                  <a:gd name="connsiteY7" fmla="*/ 347662 h 347662"/>
                  <a:gd name="connsiteX8" fmla="*/ 102394 w 276225"/>
                  <a:gd name="connsiteY8" fmla="*/ 304800 h 347662"/>
                  <a:gd name="connsiteX9" fmla="*/ 73819 w 276225"/>
                  <a:gd name="connsiteY9" fmla="*/ 257175 h 347662"/>
                  <a:gd name="connsiteX10" fmla="*/ 50007 w 276225"/>
                  <a:gd name="connsiteY10" fmla="*/ 219075 h 347662"/>
                  <a:gd name="connsiteX11" fmla="*/ 33338 w 276225"/>
                  <a:gd name="connsiteY11" fmla="*/ 169069 h 347662"/>
                  <a:gd name="connsiteX12" fmla="*/ 30957 w 276225"/>
                  <a:gd name="connsiteY12" fmla="*/ 173831 h 347662"/>
                  <a:gd name="connsiteX13" fmla="*/ 19050 w 276225"/>
                  <a:gd name="connsiteY13" fmla="*/ 138112 h 347662"/>
                  <a:gd name="connsiteX14" fmla="*/ 9525 w 276225"/>
                  <a:gd name="connsiteY14" fmla="*/ 80962 h 347662"/>
                  <a:gd name="connsiteX15" fmla="*/ 0 w 276225"/>
                  <a:gd name="connsiteY15" fmla="*/ 2381 h 347662"/>
                  <a:gd name="connsiteX0" fmla="*/ 0 w 276225"/>
                  <a:gd name="connsiteY0" fmla="*/ 2381 h 347662"/>
                  <a:gd name="connsiteX1" fmla="*/ 276225 w 276225"/>
                  <a:gd name="connsiteY1" fmla="*/ 0 h 347662"/>
                  <a:gd name="connsiteX2" fmla="*/ 273844 w 276225"/>
                  <a:gd name="connsiteY2" fmla="*/ 73819 h 347662"/>
                  <a:gd name="connsiteX3" fmla="*/ 250032 w 276225"/>
                  <a:gd name="connsiteY3" fmla="*/ 176212 h 347662"/>
                  <a:gd name="connsiteX4" fmla="*/ 228600 w 276225"/>
                  <a:gd name="connsiteY4" fmla="*/ 230981 h 347662"/>
                  <a:gd name="connsiteX5" fmla="*/ 192882 w 276225"/>
                  <a:gd name="connsiteY5" fmla="*/ 295275 h 347662"/>
                  <a:gd name="connsiteX6" fmla="*/ 159544 w 276225"/>
                  <a:gd name="connsiteY6" fmla="*/ 328612 h 347662"/>
                  <a:gd name="connsiteX7" fmla="*/ 138113 w 276225"/>
                  <a:gd name="connsiteY7" fmla="*/ 347662 h 347662"/>
                  <a:gd name="connsiteX8" fmla="*/ 102394 w 276225"/>
                  <a:gd name="connsiteY8" fmla="*/ 304800 h 347662"/>
                  <a:gd name="connsiteX9" fmla="*/ 73819 w 276225"/>
                  <a:gd name="connsiteY9" fmla="*/ 257175 h 347662"/>
                  <a:gd name="connsiteX10" fmla="*/ 50007 w 276225"/>
                  <a:gd name="connsiteY10" fmla="*/ 219075 h 347662"/>
                  <a:gd name="connsiteX11" fmla="*/ 33338 w 276225"/>
                  <a:gd name="connsiteY11" fmla="*/ 169069 h 347662"/>
                  <a:gd name="connsiteX12" fmla="*/ 19050 w 276225"/>
                  <a:gd name="connsiteY12" fmla="*/ 138112 h 347662"/>
                  <a:gd name="connsiteX13" fmla="*/ 9525 w 276225"/>
                  <a:gd name="connsiteY13" fmla="*/ 80962 h 347662"/>
                  <a:gd name="connsiteX14" fmla="*/ 0 w 276225"/>
                  <a:gd name="connsiteY14" fmla="*/ 2381 h 347662"/>
                  <a:gd name="connsiteX0" fmla="*/ 0 w 276225"/>
                  <a:gd name="connsiteY0" fmla="*/ 2381 h 347662"/>
                  <a:gd name="connsiteX1" fmla="*/ 276225 w 276225"/>
                  <a:gd name="connsiteY1" fmla="*/ 0 h 347662"/>
                  <a:gd name="connsiteX2" fmla="*/ 273844 w 276225"/>
                  <a:gd name="connsiteY2" fmla="*/ 73819 h 347662"/>
                  <a:gd name="connsiteX3" fmla="*/ 250032 w 276225"/>
                  <a:gd name="connsiteY3" fmla="*/ 176212 h 347662"/>
                  <a:gd name="connsiteX4" fmla="*/ 228600 w 276225"/>
                  <a:gd name="connsiteY4" fmla="*/ 230981 h 347662"/>
                  <a:gd name="connsiteX5" fmla="*/ 192882 w 276225"/>
                  <a:gd name="connsiteY5" fmla="*/ 295275 h 347662"/>
                  <a:gd name="connsiteX6" fmla="*/ 159544 w 276225"/>
                  <a:gd name="connsiteY6" fmla="*/ 328612 h 347662"/>
                  <a:gd name="connsiteX7" fmla="*/ 138113 w 276225"/>
                  <a:gd name="connsiteY7" fmla="*/ 347662 h 347662"/>
                  <a:gd name="connsiteX8" fmla="*/ 102394 w 276225"/>
                  <a:gd name="connsiteY8" fmla="*/ 304800 h 347662"/>
                  <a:gd name="connsiteX9" fmla="*/ 73819 w 276225"/>
                  <a:gd name="connsiteY9" fmla="*/ 257175 h 347662"/>
                  <a:gd name="connsiteX10" fmla="*/ 50007 w 276225"/>
                  <a:gd name="connsiteY10" fmla="*/ 219075 h 347662"/>
                  <a:gd name="connsiteX11" fmla="*/ 26844 w 276225"/>
                  <a:gd name="connsiteY11" fmla="*/ 171450 h 347662"/>
                  <a:gd name="connsiteX12" fmla="*/ 19050 w 276225"/>
                  <a:gd name="connsiteY12" fmla="*/ 138112 h 347662"/>
                  <a:gd name="connsiteX13" fmla="*/ 9525 w 276225"/>
                  <a:gd name="connsiteY13" fmla="*/ 80962 h 347662"/>
                  <a:gd name="connsiteX14" fmla="*/ 0 w 276225"/>
                  <a:gd name="connsiteY14" fmla="*/ 2381 h 347662"/>
                  <a:gd name="connsiteX0" fmla="*/ 0 w 276225"/>
                  <a:gd name="connsiteY0" fmla="*/ 2381 h 347662"/>
                  <a:gd name="connsiteX1" fmla="*/ 276225 w 276225"/>
                  <a:gd name="connsiteY1" fmla="*/ 0 h 347662"/>
                  <a:gd name="connsiteX2" fmla="*/ 273844 w 276225"/>
                  <a:gd name="connsiteY2" fmla="*/ 73819 h 347662"/>
                  <a:gd name="connsiteX3" fmla="*/ 250032 w 276225"/>
                  <a:gd name="connsiteY3" fmla="*/ 176212 h 347662"/>
                  <a:gd name="connsiteX4" fmla="*/ 228600 w 276225"/>
                  <a:gd name="connsiteY4" fmla="*/ 230981 h 347662"/>
                  <a:gd name="connsiteX5" fmla="*/ 192882 w 276225"/>
                  <a:gd name="connsiteY5" fmla="*/ 295275 h 347662"/>
                  <a:gd name="connsiteX6" fmla="*/ 159544 w 276225"/>
                  <a:gd name="connsiteY6" fmla="*/ 328612 h 347662"/>
                  <a:gd name="connsiteX7" fmla="*/ 138113 w 276225"/>
                  <a:gd name="connsiteY7" fmla="*/ 347662 h 347662"/>
                  <a:gd name="connsiteX8" fmla="*/ 102394 w 276225"/>
                  <a:gd name="connsiteY8" fmla="*/ 304800 h 347662"/>
                  <a:gd name="connsiteX9" fmla="*/ 73819 w 276225"/>
                  <a:gd name="connsiteY9" fmla="*/ 257175 h 347662"/>
                  <a:gd name="connsiteX10" fmla="*/ 43513 w 276225"/>
                  <a:gd name="connsiteY10" fmla="*/ 219075 h 347662"/>
                  <a:gd name="connsiteX11" fmla="*/ 26844 w 276225"/>
                  <a:gd name="connsiteY11" fmla="*/ 171450 h 347662"/>
                  <a:gd name="connsiteX12" fmla="*/ 19050 w 276225"/>
                  <a:gd name="connsiteY12" fmla="*/ 138112 h 347662"/>
                  <a:gd name="connsiteX13" fmla="*/ 9525 w 276225"/>
                  <a:gd name="connsiteY13" fmla="*/ 80962 h 347662"/>
                  <a:gd name="connsiteX14" fmla="*/ 0 w 276225"/>
                  <a:gd name="connsiteY14" fmla="*/ 2381 h 347662"/>
                  <a:gd name="connsiteX0" fmla="*/ 0 w 276225"/>
                  <a:gd name="connsiteY0" fmla="*/ 2381 h 347662"/>
                  <a:gd name="connsiteX1" fmla="*/ 276225 w 276225"/>
                  <a:gd name="connsiteY1" fmla="*/ 0 h 347662"/>
                  <a:gd name="connsiteX2" fmla="*/ 273844 w 276225"/>
                  <a:gd name="connsiteY2" fmla="*/ 73819 h 347662"/>
                  <a:gd name="connsiteX3" fmla="*/ 250032 w 276225"/>
                  <a:gd name="connsiteY3" fmla="*/ 176212 h 347662"/>
                  <a:gd name="connsiteX4" fmla="*/ 228600 w 276225"/>
                  <a:gd name="connsiteY4" fmla="*/ 230981 h 347662"/>
                  <a:gd name="connsiteX5" fmla="*/ 192882 w 276225"/>
                  <a:gd name="connsiteY5" fmla="*/ 295275 h 347662"/>
                  <a:gd name="connsiteX6" fmla="*/ 159544 w 276225"/>
                  <a:gd name="connsiteY6" fmla="*/ 328612 h 347662"/>
                  <a:gd name="connsiteX7" fmla="*/ 138113 w 276225"/>
                  <a:gd name="connsiteY7" fmla="*/ 347662 h 347662"/>
                  <a:gd name="connsiteX8" fmla="*/ 102394 w 276225"/>
                  <a:gd name="connsiteY8" fmla="*/ 304800 h 347662"/>
                  <a:gd name="connsiteX9" fmla="*/ 69489 w 276225"/>
                  <a:gd name="connsiteY9" fmla="*/ 259556 h 347662"/>
                  <a:gd name="connsiteX10" fmla="*/ 43513 w 276225"/>
                  <a:gd name="connsiteY10" fmla="*/ 219075 h 347662"/>
                  <a:gd name="connsiteX11" fmla="*/ 26844 w 276225"/>
                  <a:gd name="connsiteY11" fmla="*/ 171450 h 347662"/>
                  <a:gd name="connsiteX12" fmla="*/ 19050 w 276225"/>
                  <a:gd name="connsiteY12" fmla="*/ 138112 h 347662"/>
                  <a:gd name="connsiteX13" fmla="*/ 9525 w 276225"/>
                  <a:gd name="connsiteY13" fmla="*/ 80962 h 347662"/>
                  <a:gd name="connsiteX14" fmla="*/ 0 w 276225"/>
                  <a:gd name="connsiteY14" fmla="*/ 2381 h 347662"/>
                  <a:gd name="connsiteX0" fmla="*/ 0 w 276225"/>
                  <a:gd name="connsiteY0" fmla="*/ 2381 h 347662"/>
                  <a:gd name="connsiteX1" fmla="*/ 276225 w 276225"/>
                  <a:gd name="connsiteY1" fmla="*/ 0 h 347662"/>
                  <a:gd name="connsiteX2" fmla="*/ 273844 w 276225"/>
                  <a:gd name="connsiteY2" fmla="*/ 73819 h 347662"/>
                  <a:gd name="connsiteX3" fmla="*/ 250032 w 276225"/>
                  <a:gd name="connsiteY3" fmla="*/ 176212 h 347662"/>
                  <a:gd name="connsiteX4" fmla="*/ 228600 w 276225"/>
                  <a:gd name="connsiteY4" fmla="*/ 230981 h 347662"/>
                  <a:gd name="connsiteX5" fmla="*/ 192882 w 276225"/>
                  <a:gd name="connsiteY5" fmla="*/ 295275 h 347662"/>
                  <a:gd name="connsiteX6" fmla="*/ 159544 w 276225"/>
                  <a:gd name="connsiteY6" fmla="*/ 328612 h 347662"/>
                  <a:gd name="connsiteX7" fmla="*/ 138113 w 276225"/>
                  <a:gd name="connsiteY7" fmla="*/ 347662 h 347662"/>
                  <a:gd name="connsiteX8" fmla="*/ 89406 w 276225"/>
                  <a:gd name="connsiteY8" fmla="*/ 295275 h 347662"/>
                  <a:gd name="connsiteX9" fmla="*/ 69489 w 276225"/>
                  <a:gd name="connsiteY9" fmla="*/ 259556 h 347662"/>
                  <a:gd name="connsiteX10" fmla="*/ 43513 w 276225"/>
                  <a:gd name="connsiteY10" fmla="*/ 219075 h 347662"/>
                  <a:gd name="connsiteX11" fmla="*/ 26844 w 276225"/>
                  <a:gd name="connsiteY11" fmla="*/ 171450 h 347662"/>
                  <a:gd name="connsiteX12" fmla="*/ 19050 w 276225"/>
                  <a:gd name="connsiteY12" fmla="*/ 138112 h 347662"/>
                  <a:gd name="connsiteX13" fmla="*/ 9525 w 276225"/>
                  <a:gd name="connsiteY13" fmla="*/ 80962 h 347662"/>
                  <a:gd name="connsiteX14" fmla="*/ 0 w 276225"/>
                  <a:gd name="connsiteY14" fmla="*/ 2381 h 347662"/>
                  <a:gd name="connsiteX0" fmla="*/ 0 w 276225"/>
                  <a:gd name="connsiteY0" fmla="*/ 2381 h 347662"/>
                  <a:gd name="connsiteX1" fmla="*/ 276225 w 276225"/>
                  <a:gd name="connsiteY1" fmla="*/ 0 h 347662"/>
                  <a:gd name="connsiteX2" fmla="*/ 273844 w 276225"/>
                  <a:gd name="connsiteY2" fmla="*/ 73819 h 347662"/>
                  <a:gd name="connsiteX3" fmla="*/ 250032 w 276225"/>
                  <a:gd name="connsiteY3" fmla="*/ 176212 h 347662"/>
                  <a:gd name="connsiteX4" fmla="*/ 228600 w 276225"/>
                  <a:gd name="connsiteY4" fmla="*/ 230981 h 347662"/>
                  <a:gd name="connsiteX5" fmla="*/ 192882 w 276225"/>
                  <a:gd name="connsiteY5" fmla="*/ 295275 h 347662"/>
                  <a:gd name="connsiteX6" fmla="*/ 159544 w 276225"/>
                  <a:gd name="connsiteY6" fmla="*/ 328612 h 347662"/>
                  <a:gd name="connsiteX7" fmla="*/ 138113 w 276225"/>
                  <a:gd name="connsiteY7" fmla="*/ 347662 h 347662"/>
                  <a:gd name="connsiteX8" fmla="*/ 89406 w 276225"/>
                  <a:gd name="connsiteY8" fmla="*/ 295275 h 347662"/>
                  <a:gd name="connsiteX9" fmla="*/ 62994 w 276225"/>
                  <a:gd name="connsiteY9" fmla="*/ 259556 h 347662"/>
                  <a:gd name="connsiteX10" fmla="*/ 43513 w 276225"/>
                  <a:gd name="connsiteY10" fmla="*/ 219075 h 347662"/>
                  <a:gd name="connsiteX11" fmla="*/ 26844 w 276225"/>
                  <a:gd name="connsiteY11" fmla="*/ 171450 h 347662"/>
                  <a:gd name="connsiteX12" fmla="*/ 19050 w 276225"/>
                  <a:gd name="connsiteY12" fmla="*/ 138112 h 347662"/>
                  <a:gd name="connsiteX13" fmla="*/ 9525 w 276225"/>
                  <a:gd name="connsiteY13" fmla="*/ 80962 h 347662"/>
                  <a:gd name="connsiteX14" fmla="*/ 0 w 276225"/>
                  <a:gd name="connsiteY14" fmla="*/ 2381 h 347662"/>
                  <a:gd name="connsiteX0" fmla="*/ 0 w 276225"/>
                  <a:gd name="connsiteY0" fmla="*/ 2381 h 347662"/>
                  <a:gd name="connsiteX1" fmla="*/ 276225 w 276225"/>
                  <a:gd name="connsiteY1" fmla="*/ 0 h 347662"/>
                  <a:gd name="connsiteX2" fmla="*/ 273844 w 276225"/>
                  <a:gd name="connsiteY2" fmla="*/ 73819 h 347662"/>
                  <a:gd name="connsiteX3" fmla="*/ 250032 w 276225"/>
                  <a:gd name="connsiteY3" fmla="*/ 176212 h 347662"/>
                  <a:gd name="connsiteX4" fmla="*/ 228600 w 276225"/>
                  <a:gd name="connsiteY4" fmla="*/ 230981 h 347662"/>
                  <a:gd name="connsiteX5" fmla="*/ 195048 w 276225"/>
                  <a:gd name="connsiteY5" fmla="*/ 290818 h 347662"/>
                  <a:gd name="connsiteX6" fmla="*/ 159544 w 276225"/>
                  <a:gd name="connsiteY6" fmla="*/ 328612 h 347662"/>
                  <a:gd name="connsiteX7" fmla="*/ 138113 w 276225"/>
                  <a:gd name="connsiteY7" fmla="*/ 347662 h 347662"/>
                  <a:gd name="connsiteX8" fmla="*/ 89406 w 276225"/>
                  <a:gd name="connsiteY8" fmla="*/ 295275 h 347662"/>
                  <a:gd name="connsiteX9" fmla="*/ 62994 w 276225"/>
                  <a:gd name="connsiteY9" fmla="*/ 259556 h 347662"/>
                  <a:gd name="connsiteX10" fmla="*/ 43513 w 276225"/>
                  <a:gd name="connsiteY10" fmla="*/ 219075 h 347662"/>
                  <a:gd name="connsiteX11" fmla="*/ 26844 w 276225"/>
                  <a:gd name="connsiteY11" fmla="*/ 171450 h 347662"/>
                  <a:gd name="connsiteX12" fmla="*/ 19050 w 276225"/>
                  <a:gd name="connsiteY12" fmla="*/ 138112 h 347662"/>
                  <a:gd name="connsiteX13" fmla="*/ 9525 w 276225"/>
                  <a:gd name="connsiteY13" fmla="*/ 80962 h 347662"/>
                  <a:gd name="connsiteX14" fmla="*/ 0 w 276225"/>
                  <a:gd name="connsiteY14" fmla="*/ 2381 h 347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6225" h="347662">
                    <a:moveTo>
                      <a:pt x="0" y="2381"/>
                    </a:moveTo>
                    <a:lnTo>
                      <a:pt x="276225" y="0"/>
                    </a:lnTo>
                    <a:cubicBezTo>
                      <a:pt x="275431" y="24606"/>
                      <a:pt x="274638" y="49213"/>
                      <a:pt x="273844" y="73819"/>
                    </a:cubicBezTo>
                    <a:lnTo>
                      <a:pt x="250032" y="176212"/>
                    </a:lnTo>
                    <a:lnTo>
                      <a:pt x="228600" y="230981"/>
                    </a:lnTo>
                    <a:lnTo>
                      <a:pt x="195048" y="290818"/>
                    </a:lnTo>
                    <a:lnTo>
                      <a:pt x="159544" y="328612"/>
                    </a:lnTo>
                    <a:lnTo>
                      <a:pt x="138113" y="347662"/>
                    </a:lnTo>
                    <a:lnTo>
                      <a:pt x="89406" y="295275"/>
                    </a:lnTo>
                    <a:lnTo>
                      <a:pt x="62994" y="259556"/>
                    </a:lnTo>
                    <a:lnTo>
                      <a:pt x="43513" y="219075"/>
                    </a:lnTo>
                    <a:lnTo>
                      <a:pt x="26844" y="171450"/>
                    </a:lnTo>
                    <a:lnTo>
                      <a:pt x="19050" y="138112"/>
                    </a:lnTo>
                    <a:lnTo>
                      <a:pt x="9525" y="80962"/>
                    </a:lnTo>
                    <a:lnTo>
                      <a:pt x="0" y="2381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92" name="Group 91"/>
            <p:cNvGrpSpPr/>
            <p:nvPr/>
          </p:nvGrpSpPr>
          <p:grpSpPr>
            <a:xfrm>
              <a:off x="3303902" y="2221880"/>
              <a:ext cx="2693654" cy="1521759"/>
              <a:chOff x="3303902" y="1745630"/>
              <a:chExt cx="2693654" cy="1521759"/>
            </a:xfrm>
          </p:grpSpPr>
          <p:grpSp>
            <p:nvGrpSpPr>
              <p:cNvPr id="43" name="Group 42"/>
              <p:cNvGrpSpPr/>
              <p:nvPr/>
            </p:nvGrpSpPr>
            <p:grpSpPr>
              <a:xfrm>
                <a:off x="3821831" y="1745630"/>
                <a:ext cx="500436" cy="879215"/>
                <a:chOff x="9217180" y="1414885"/>
                <a:chExt cx="500436" cy="879215"/>
              </a:xfrm>
            </p:grpSpPr>
            <p:grpSp>
              <p:nvGrpSpPr>
                <p:cNvPr id="44" name="Group 43"/>
                <p:cNvGrpSpPr/>
                <p:nvPr/>
              </p:nvGrpSpPr>
              <p:grpSpPr>
                <a:xfrm>
                  <a:off x="9296098" y="1640119"/>
                  <a:ext cx="349445" cy="653981"/>
                  <a:chOff x="1012797" y="1813852"/>
                  <a:chExt cx="529462" cy="990880"/>
                </a:xfrm>
              </p:grpSpPr>
              <p:cxnSp>
                <p:nvCxnSpPr>
                  <p:cNvPr id="53" name="Straight Connector 52"/>
                  <p:cNvCxnSpPr/>
                  <p:nvPr/>
                </p:nvCxnSpPr>
                <p:spPr>
                  <a:xfrm flipV="1">
                    <a:off x="1012797" y="1933195"/>
                    <a:ext cx="262985" cy="871532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Straight Connector 53"/>
                  <p:cNvCxnSpPr/>
                  <p:nvPr/>
                </p:nvCxnSpPr>
                <p:spPr>
                  <a:xfrm flipH="1" flipV="1">
                    <a:off x="1275783" y="1933194"/>
                    <a:ext cx="266472" cy="871533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Straight Connector 54"/>
                  <p:cNvCxnSpPr/>
                  <p:nvPr/>
                </p:nvCxnSpPr>
                <p:spPr>
                  <a:xfrm flipH="1">
                    <a:off x="1012797" y="2500629"/>
                    <a:ext cx="435003" cy="304098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" name="Straight Connector 55"/>
                  <p:cNvCxnSpPr/>
                  <p:nvPr/>
                </p:nvCxnSpPr>
                <p:spPr>
                  <a:xfrm flipH="1" flipV="1">
                    <a:off x="1117685" y="2507540"/>
                    <a:ext cx="424574" cy="297192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7" name="Straight Connector 56"/>
                  <p:cNvCxnSpPr/>
                  <p:nvPr/>
                </p:nvCxnSpPr>
                <p:spPr>
                  <a:xfrm>
                    <a:off x="1186202" y="2252663"/>
                    <a:ext cx="244729" cy="193089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8" name="Straight Connector 57"/>
                  <p:cNvCxnSpPr/>
                  <p:nvPr/>
                </p:nvCxnSpPr>
                <p:spPr>
                  <a:xfrm flipH="1">
                    <a:off x="1119219" y="2252663"/>
                    <a:ext cx="244698" cy="193089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/>
                  <p:cNvCxnSpPr/>
                  <p:nvPr/>
                </p:nvCxnSpPr>
                <p:spPr>
                  <a:xfrm flipH="1">
                    <a:off x="1211419" y="2085461"/>
                    <a:ext cx="97148" cy="111155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/>
                  <p:cNvCxnSpPr/>
                  <p:nvPr/>
                </p:nvCxnSpPr>
                <p:spPr>
                  <a:xfrm>
                    <a:off x="1241568" y="2085461"/>
                    <a:ext cx="102949" cy="111155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1" name="Oval 60"/>
                  <p:cNvSpPr>
                    <a:spLocks noChangeAspect="1"/>
                  </p:cNvSpPr>
                  <p:nvPr/>
                </p:nvSpPr>
                <p:spPr>
                  <a:xfrm>
                    <a:off x="1204054" y="1813852"/>
                    <a:ext cx="144000" cy="144000"/>
                  </a:xfrm>
                  <a:prstGeom prst="ellipse">
                    <a:avLst/>
                  </a:prstGeom>
                  <a:solidFill>
                    <a:srgbClr val="646464"/>
                  </a:solidFill>
                  <a:ln w="9525">
                    <a:solidFill>
                      <a:srgbClr val="646464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/>
                  <a:lstStyle/>
                  <a:p>
                    <a:pPr algn="ctr"/>
                    <a:endParaRPr lang="ru-RU" sz="12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45" name="Group 44"/>
                <p:cNvGrpSpPr/>
                <p:nvPr/>
              </p:nvGrpSpPr>
              <p:grpSpPr>
                <a:xfrm>
                  <a:off x="9217181" y="1414886"/>
                  <a:ext cx="500435" cy="555036"/>
                  <a:chOff x="738566" y="1243910"/>
                  <a:chExt cx="758235" cy="840963"/>
                </a:xfrm>
              </p:grpSpPr>
              <p:sp>
                <p:nvSpPr>
                  <p:cNvPr id="50" name="Arc 49"/>
                  <p:cNvSpPr>
                    <a:spLocks noChangeAspect="1"/>
                  </p:cNvSpPr>
                  <p:nvPr/>
                </p:nvSpPr>
                <p:spPr>
                  <a:xfrm rot="13500000">
                    <a:off x="943716" y="1538019"/>
                    <a:ext cx="280321" cy="252745"/>
                  </a:xfrm>
                  <a:prstGeom prst="arc">
                    <a:avLst>
                      <a:gd name="adj1" fmla="val 15767438"/>
                      <a:gd name="adj2" fmla="val 700776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51" name="Arc 50"/>
                  <p:cNvSpPr>
                    <a:spLocks noChangeAspect="1"/>
                  </p:cNvSpPr>
                  <p:nvPr/>
                </p:nvSpPr>
                <p:spPr>
                  <a:xfrm rot="13500000">
                    <a:off x="817721" y="1411646"/>
                    <a:ext cx="560642" cy="505490"/>
                  </a:xfrm>
                  <a:prstGeom prst="arc">
                    <a:avLst>
                      <a:gd name="adj1" fmla="val 16476798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52" name="Arc 51"/>
                  <p:cNvSpPr>
                    <a:spLocks noChangeAspect="1"/>
                  </p:cNvSpPr>
                  <p:nvPr/>
                </p:nvSpPr>
                <p:spPr>
                  <a:xfrm rot="13500000">
                    <a:off x="697202" y="1285274"/>
                    <a:ext cx="840963" cy="758235"/>
                  </a:xfrm>
                  <a:prstGeom prst="arc">
                    <a:avLst>
                      <a:gd name="adj1" fmla="val 16578546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  <p:grpSp>
              <p:nvGrpSpPr>
                <p:cNvPr id="46" name="Group 45"/>
                <p:cNvGrpSpPr/>
                <p:nvPr/>
              </p:nvGrpSpPr>
              <p:grpSpPr>
                <a:xfrm flipH="1">
                  <a:off x="9217180" y="1414885"/>
                  <a:ext cx="500435" cy="555036"/>
                  <a:chOff x="738566" y="1243910"/>
                  <a:chExt cx="758235" cy="840963"/>
                </a:xfrm>
              </p:grpSpPr>
              <p:sp>
                <p:nvSpPr>
                  <p:cNvPr id="47" name="Arc 46"/>
                  <p:cNvSpPr>
                    <a:spLocks noChangeAspect="1"/>
                  </p:cNvSpPr>
                  <p:nvPr/>
                </p:nvSpPr>
                <p:spPr>
                  <a:xfrm rot="13500000">
                    <a:off x="943716" y="1538019"/>
                    <a:ext cx="280321" cy="252745"/>
                  </a:xfrm>
                  <a:prstGeom prst="arc">
                    <a:avLst>
                      <a:gd name="adj1" fmla="val 15767438"/>
                      <a:gd name="adj2" fmla="val 700776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48" name="Arc 47"/>
                  <p:cNvSpPr>
                    <a:spLocks noChangeAspect="1"/>
                  </p:cNvSpPr>
                  <p:nvPr/>
                </p:nvSpPr>
                <p:spPr>
                  <a:xfrm rot="13500000">
                    <a:off x="817721" y="1411646"/>
                    <a:ext cx="560642" cy="505490"/>
                  </a:xfrm>
                  <a:prstGeom prst="arc">
                    <a:avLst>
                      <a:gd name="adj1" fmla="val 16476798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49" name="Arc 48"/>
                  <p:cNvSpPr>
                    <a:spLocks noChangeAspect="1"/>
                  </p:cNvSpPr>
                  <p:nvPr/>
                </p:nvSpPr>
                <p:spPr>
                  <a:xfrm rot="13500000">
                    <a:off x="697202" y="1285274"/>
                    <a:ext cx="840963" cy="758235"/>
                  </a:xfrm>
                  <a:prstGeom prst="arc">
                    <a:avLst>
                      <a:gd name="adj1" fmla="val 16578546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</p:grpSp>
          <p:grpSp>
            <p:nvGrpSpPr>
              <p:cNvPr id="62" name="Group 61"/>
              <p:cNvGrpSpPr/>
              <p:nvPr/>
            </p:nvGrpSpPr>
            <p:grpSpPr>
              <a:xfrm>
                <a:off x="4967252" y="1746723"/>
                <a:ext cx="500436" cy="879215"/>
                <a:chOff x="9217180" y="1414885"/>
                <a:chExt cx="500436" cy="879215"/>
              </a:xfrm>
            </p:grpSpPr>
            <p:grpSp>
              <p:nvGrpSpPr>
                <p:cNvPr id="63" name="Group 62"/>
                <p:cNvGrpSpPr/>
                <p:nvPr/>
              </p:nvGrpSpPr>
              <p:grpSpPr>
                <a:xfrm>
                  <a:off x="9296098" y="1640119"/>
                  <a:ext cx="349445" cy="653981"/>
                  <a:chOff x="1012797" y="1813852"/>
                  <a:chExt cx="529462" cy="990880"/>
                </a:xfrm>
              </p:grpSpPr>
              <p:cxnSp>
                <p:nvCxnSpPr>
                  <p:cNvPr id="72" name="Straight Connector 71"/>
                  <p:cNvCxnSpPr/>
                  <p:nvPr/>
                </p:nvCxnSpPr>
                <p:spPr>
                  <a:xfrm flipV="1">
                    <a:off x="1012797" y="1933195"/>
                    <a:ext cx="262985" cy="871532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/>
                  <p:cNvCxnSpPr/>
                  <p:nvPr/>
                </p:nvCxnSpPr>
                <p:spPr>
                  <a:xfrm flipH="1" flipV="1">
                    <a:off x="1275783" y="1933194"/>
                    <a:ext cx="266472" cy="871533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/>
                  <p:cNvCxnSpPr/>
                  <p:nvPr/>
                </p:nvCxnSpPr>
                <p:spPr>
                  <a:xfrm flipH="1">
                    <a:off x="1012797" y="2500629"/>
                    <a:ext cx="435003" cy="304098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/>
                  <p:cNvCxnSpPr/>
                  <p:nvPr/>
                </p:nvCxnSpPr>
                <p:spPr>
                  <a:xfrm flipH="1" flipV="1">
                    <a:off x="1117685" y="2507540"/>
                    <a:ext cx="424574" cy="297192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75"/>
                  <p:cNvCxnSpPr/>
                  <p:nvPr/>
                </p:nvCxnSpPr>
                <p:spPr>
                  <a:xfrm>
                    <a:off x="1186202" y="2252663"/>
                    <a:ext cx="244729" cy="193089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/>
                  <p:cNvCxnSpPr/>
                  <p:nvPr/>
                </p:nvCxnSpPr>
                <p:spPr>
                  <a:xfrm flipH="1">
                    <a:off x="1119219" y="2252663"/>
                    <a:ext cx="244698" cy="193089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/>
                  <p:cNvCxnSpPr/>
                  <p:nvPr/>
                </p:nvCxnSpPr>
                <p:spPr>
                  <a:xfrm flipH="1">
                    <a:off x="1211419" y="2085461"/>
                    <a:ext cx="97148" cy="111155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/>
                  <p:cNvCxnSpPr/>
                  <p:nvPr/>
                </p:nvCxnSpPr>
                <p:spPr>
                  <a:xfrm>
                    <a:off x="1241568" y="2085461"/>
                    <a:ext cx="102949" cy="111155"/>
                  </a:xfrm>
                  <a:prstGeom prst="line">
                    <a:avLst/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0" name="Oval 79"/>
                  <p:cNvSpPr>
                    <a:spLocks noChangeAspect="1"/>
                  </p:cNvSpPr>
                  <p:nvPr/>
                </p:nvSpPr>
                <p:spPr>
                  <a:xfrm>
                    <a:off x="1204054" y="1813852"/>
                    <a:ext cx="144000" cy="144000"/>
                  </a:xfrm>
                  <a:prstGeom prst="ellipse">
                    <a:avLst/>
                  </a:prstGeom>
                  <a:solidFill>
                    <a:srgbClr val="646464"/>
                  </a:solidFill>
                  <a:ln w="9525">
                    <a:solidFill>
                      <a:srgbClr val="646464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/>
                  <a:lstStyle/>
                  <a:p>
                    <a:pPr algn="ctr"/>
                    <a:endParaRPr lang="ru-RU" sz="1200" dirty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64" name="Group 63"/>
                <p:cNvGrpSpPr/>
                <p:nvPr/>
              </p:nvGrpSpPr>
              <p:grpSpPr>
                <a:xfrm>
                  <a:off x="9217181" y="1414886"/>
                  <a:ext cx="500435" cy="555036"/>
                  <a:chOff x="738566" y="1243910"/>
                  <a:chExt cx="758235" cy="840963"/>
                </a:xfrm>
              </p:grpSpPr>
              <p:sp>
                <p:nvSpPr>
                  <p:cNvPr id="69" name="Arc 68"/>
                  <p:cNvSpPr>
                    <a:spLocks noChangeAspect="1"/>
                  </p:cNvSpPr>
                  <p:nvPr/>
                </p:nvSpPr>
                <p:spPr>
                  <a:xfrm rot="13500000">
                    <a:off x="943716" y="1538019"/>
                    <a:ext cx="280321" cy="252745"/>
                  </a:xfrm>
                  <a:prstGeom prst="arc">
                    <a:avLst>
                      <a:gd name="adj1" fmla="val 15767438"/>
                      <a:gd name="adj2" fmla="val 700776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70" name="Arc 69"/>
                  <p:cNvSpPr>
                    <a:spLocks noChangeAspect="1"/>
                  </p:cNvSpPr>
                  <p:nvPr/>
                </p:nvSpPr>
                <p:spPr>
                  <a:xfrm rot="13500000">
                    <a:off x="817721" y="1411646"/>
                    <a:ext cx="560642" cy="505490"/>
                  </a:xfrm>
                  <a:prstGeom prst="arc">
                    <a:avLst>
                      <a:gd name="adj1" fmla="val 16476798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71" name="Arc 70"/>
                  <p:cNvSpPr>
                    <a:spLocks noChangeAspect="1"/>
                  </p:cNvSpPr>
                  <p:nvPr/>
                </p:nvSpPr>
                <p:spPr>
                  <a:xfrm rot="13500000">
                    <a:off x="697202" y="1285274"/>
                    <a:ext cx="840963" cy="758235"/>
                  </a:xfrm>
                  <a:prstGeom prst="arc">
                    <a:avLst>
                      <a:gd name="adj1" fmla="val 16578546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  <p:grpSp>
              <p:nvGrpSpPr>
                <p:cNvPr id="65" name="Group 64"/>
                <p:cNvGrpSpPr/>
                <p:nvPr/>
              </p:nvGrpSpPr>
              <p:grpSpPr>
                <a:xfrm flipH="1">
                  <a:off x="9217180" y="1414885"/>
                  <a:ext cx="500435" cy="555036"/>
                  <a:chOff x="738566" y="1243910"/>
                  <a:chExt cx="758235" cy="840963"/>
                </a:xfrm>
              </p:grpSpPr>
              <p:sp>
                <p:nvSpPr>
                  <p:cNvPr id="66" name="Arc 65"/>
                  <p:cNvSpPr>
                    <a:spLocks noChangeAspect="1"/>
                  </p:cNvSpPr>
                  <p:nvPr/>
                </p:nvSpPr>
                <p:spPr>
                  <a:xfrm rot="13500000">
                    <a:off x="943716" y="1538019"/>
                    <a:ext cx="280321" cy="252745"/>
                  </a:xfrm>
                  <a:prstGeom prst="arc">
                    <a:avLst>
                      <a:gd name="adj1" fmla="val 15767438"/>
                      <a:gd name="adj2" fmla="val 700776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67" name="Arc 66"/>
                  <p:cNvSpPr>
                    <a:spLocks noChangeAspect="1"/>
                  </p:cNvSpPr>
                  <p:nvPr/>
                </p:nvSpPr>
                <p:spPr>
                  <a:xfrm rot="13500000">
                    <a:off x="817721" y="1411646"/>
                    <a:ext cx="560642" cy="505490"/>
                  </a:xfrm>
                  <a:prstGeom prst="arc">
                    <a:avLst>
                      <a:gd name="adj1" fmla="val 16476798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  <p:sp>
                <p:nvSpPr>
                  <p:cNvPr id="68" name="Arc 67"/>
                  <p:cNvSpPr>
                    <a:spLocks noChangeAspect="1"/>
                  </p:cNvSpPr>
                  <p:nvPr/>
                </p:nvSpPr>
                <p:spPr>
                  <a:xfrm rot="13500000">
                    <a:off x="697202" y="1285274"/>
                    <a:ext cx="840963" cy="758235"/>
                  </a:xfrm>
                  <a:prstGeom prst="arc">
                    <a:avLst>
                      <a:gd name="adj1" fmla="val 16578546"/>
                      <a:gd name="adj2" fmla="val 0"/>
                    </a:avLst>
                  </a:prstGeom>
                  <a:ln w="38100" cap="rnd">
                    <a:solidFill>
                      <a:srgbClr val="646464"/>
                    </a:solidFill>
                    <a:tailEnd type="non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/>
                  </a:p>
                </p:txBody>
              </p:sp>
            </p:grpSp>
          </p:grpSp>
          <p:sp>
            <p:nvSpPr>
              <p:cNvPr id="84" name="Pie 83"/>
              <p:cNvSpPr/>
              <p:nvPr/>
            </p:nvSpPr>
            <p:spPr>
              <a:xfrm>
                <a:off x="4449556" y="2043389"/>
                <a:ext cx="1548000" cy="1224000"/>
              </a:xfrm>
              <a:prstGeom prst="pie">
                <a:avLst>
                  <a:gd name="adj1" fmla="val 3902592"/>
                  <a:gd name="adj2" fmla="val 6795366"/>
                </a:avLst>
              </a:prstGeom>
              <a:noFill/>
              <a:ln w="9525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Pie 88"/>
              <p:cNvSpPr/>
              <p:nvPr/>
            </p:nvSpPr>
            <p:spPr>
              <a:xfrm>
                <a:off x="3303902" y="2043389"/>
                <a:ext cx="1548000" cy="1224000"/>
              </a:xfrm>
              <a:prstGeom prst="pie">
                <a:avLst>
                  <a:gd name="adj1" fmla="val 3902592"/>
                  <a:gd name="adj2" fmla="val 6795366"/>
                </a:avLst>
              </a:prstGeom>
              <a:noFill/>
              <a:ln w="9525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0" name="TextBox 89"/>
            <p:cNvSpPr txBox="1"/>
            <p:nvPr/>
          </p:nvSpPr>
          <p:spPr>
            <a:xfrm>
              <a:off x="1481385" y="3855983"/>
              <a:ext cx="857938" cy="900246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sz="6600" dirty="0" smtClean="0">
                  <a:solidFill>
                    <a:srgbClr val="2C973E"/>
                  </a:solidFill>
                  <a:sym typeface="Webdings" panose="05030102010509060703" pitchFamily="18" charset="2"/>
                </a:rPr>
                <a:t></a:t>
              </a:r>
              <a:endParaRPr lang="ru-RU" sz="6600" dirty="0" smtClean="0">
                <a:solidFill>
                  <a:srgbClr val="2C973E"/>
                </a:solidFill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4221760" y="4022973"/>
              <a:ext cx="857938" cy="664797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sz="4800" dirty="0" smtClean="0">
                  <a:solidFill>
                    <a:srgbClr val="F04C3E"/>
                  </a:solidFill>
                  <a:sym typeface="Wingdings 2" panose="05020102010507070707" pitchFamily="18" charset="2"/>
                </a:rPr>
                <a:t></a:t>
              </a:r>
              <a:endParaRPr lang="ru-RU" sz="4800" dirty="0" smtClean="0">
                <a:solidFill>
                  <a:srgbClr val="F04C3E"/>
                </a:solidFill>
              </a:endParaRPr>
            </a:p>
          </p:txBody>
        </p:sp>
      </p:grpSp>
      <p:cxnSp>
        <p:nvCxnSpPr>
          <p:cNvPr id="105" name="Straight Connector 104"/>
          <p:cNvCxnSpPr/>
          <p:nvPr/>
        </p:nvCxnSpPr>
        <p:spPr>
          <a:xfrm>
            <a:off x="6099175" y="1238250"/>
            <a:ext cx="0" cy="4891088"/>
          </a:xfrm>
          <a:prstGeom prst="line">
            <a:avLst/>
          </a:prstGeom>
          <a:ln w="12700">
            <a:solidFill>
              <a:schemeClr val="accent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Group 114"/>
          <p:cNvGrpSpPr/>
          <p:nvPr/>
        </p:nvGrpSpPr>
        <p:grpSpPr>
          <a:xfrm>
            <a:off x="7104370" y="1394339"/>
            <a:ext cx="3456084" cy="3317369"/>
            <a:chOff x="7104370" y="1406967"/>
            <a:chExt cx="3456084" cy="3317369"/>
          </a:xfrm>
        </p:grpSpPr>
        <p:sp>
          <p:nvSpPr>
            <p:cNvPr id="94" name="Freeform 9"/>
            <p:cNvSpPr>
              <a:spLocks noChangeAspect="1" noEditPoints="1"/>
            </p:cNvSpPr>
            <p:nvPr/>
          </p:nvSpPr>
          <p:spPr bwMode="auto">
            <a:xfrm>
              <a:off x="8610398" y="1406967"/>
              <a:ext cx="378043" cy="553238"/>
            </a:xfrm>
            <a:custGeom>
              <a:avLst/>
              <a:gdLst>
                <a:gd name="T0" fmla="*/ 2147483647 w 3454"/>
                <a:gd name="T1" fmla="*/ 0 h 4763"/>
                <a:gd name="T2" fmla="*/ 2147483647 w 3454"/>
                <a:gd name="T3" fmla="*/ 2147483647 h 4763"/>
                <a:gd name="T4" fmla="*/ 2147483647 w 3454"/>
                <a:gd name="T5" fmla="*/ 2147483647 h 4763"/>
                <a:gd name="T6" fmla="*/ 2147483647 w 3454"/>
                <a:gd name="T7" fmla="*/ 2147483647 h 4763"/>
                <a:gd name="T8" fmla="*/ 2147483647 w 3454"/>
                <a:gd name="T9" fmla="*/ 2147483647 h 4763"/>
                <a:gd name="T10" fmla="*/ 2147483647 w 3454"/>
                <a:gd name="T11" fmla="*/ 2147483647 h 4763"/>
                <a:gd name="T12" fmla="*/ 2147483647 w 3454"/>
                <a:gd name="T13" fmla="*/ 2147483647 h 4763"/>
                <a:gd name="T14" fmla="*/ 2147483647 w 3454"/>
                <a:gd name="T15" fmla="*/ 2147483647 h 4763"/>
                <a:gd name="T16" fmla="*/ 2147483647 w 3454"/>
                <a:gd name="T17" fmla="*/ 2147483647 h 4763"/>
                <a:gd name="T18" fmla="*/ 2147483647 w 3454"/>
                <a:gd name="T19" fmla="*/ 2147483647 h 4763"/>
                <a:gd name="T20" fmla="*/ 2147483647 w 3454"/>
                <a:gd name="T21" fmla="*/ 2147483647 h 4763"/>
                <a:gd name="T22" fmla="*/ 2147483647 w 3454"/>
                <a:gd name="T23" fmla="*/ 2147483647 h 4763"/>
                <a:gd name="T24" fmla="*/ 2147483647 w 3454"/>
                <a:gd name="T25" fmla="*/ 0 h 4763"/>
                <a:gd name="T26" fmla="*/ 2147483647 w 3454"/>
                <a:gd name="T27" fmla="*/ 2147483647 h 4763"/>
                <a:gd name="T28" fmla="*/ 2147483647 w 3454"/>
                <a:gd name="T29" fmla="*/ 2147483647 h 4763"/>
                <a:gd name="T30" fmla="*/ 2147483647 w 3454"/>
                <a:gd name="T31" fmla="*/ 2147483647 h 4763"/>
                <a:gd name="T32" fmla="*/ 2147483647 w 3454"/>
                <a:gd name="T33" fmla="*/ 2147483647 h 4763"/>
                <a:gd name="T34" fmla="*/ 2147483647 w 3454"/>
                <a:gd name="T35" fmla="*/ 2147483647 h 4763"/>
                <a:gd name="T36" fmla="*/ 2147483647 w 3454"/>
                <a:gd name="T37" fmla="*/ 2147483647 h 4763"/>
                <a:gd name="T38" fmla="*/ 2147483647 w 3454"/>
                <a:gd name="T39" fmla="*/ 2147483647 h 4763"/>
                <a:gd name="T40" fmla="*/ 2147483647 w 3454"/>
                <a:gd name="T41" fmla="*/ 2147483647 h 4763"/>
                <a:gd name="T42" fmla="*/ 2147483647 w 3454"/>
                <a:gd name="T43" fmla="*/ 2147483647 h 4763"/>
                <a:gd name="T44" fmla="*/ 2147483647 w 3454"/>
                <a:gd name="T45" fmla="*/ 2147483647 h 4763"/>
                <a:gd name="T46" fmla="*/ 2147483647 w 3454"/>
                <a:gd name="T47" fmla="*/ 2147483647 h 4763"/>
                <a:gd name="T48" fmla="*/ 2147483647 w 3454"/>
                <a:gd name="T49" fmla="*/ 2147483647 h 4763"/>
                <a:gd name="T50" fmla="*/ 2147483647 w 3454"/>
                <a:gd name="T51" fmla="*/ 2147483647 h 4763"/>
                <a:gd name="T52" fmla="*/ 2147483647 w 3454"/>
                <a:gd name="T53" fmla="*/ 2147483647 h 4763"/>
                <a:gd name="T54" fmla="*/ 2147483647 w 3454"/>
                <a:gd name="T55" fmla="*/ 2147483647 h 4763"/>
                <a:gd name="T56" fmla="*/ 2147483647 w 3454"/>
                <a:gd name="T57" fmla="*/ 2147483647 h 4763"/>
                <a:gd name="T58" fmla="*/ 2147483647 w 3454"/>
                <a:gd name="T59" fmla="*/ 2147483647 h 4763"/>
                <a:gd name="T60" fmla="*/ 2147483647 w 3454"/>
                <a:gd name="T61" fmla="*/ 2147483647 h 4763"/>
                <a:gd name="T62" fmla="*/ 2147483647 w 3454"/>
                <a:gd name="T63" fmla="*/ 2147483647 h 4763"/>
                <a:gd name="T64" fmla="*/ 2147483647 w 3454"/>
                <a:gd name="T65" fmla="*/ 2147483647 h 4763"/>
                <a:gd name="T66" fmla="*/ 2147483647 w 3454"/>
                <a:gd name="T67" fmla="*/ 2147483647 h 4763"/>
                <a:gd name="T68" fmla="*/ 2147483647 w 3454"/>
                <a:gd name="T69" fmla="*/ 2147483647 h 4763"/>
                <a:gd name="T70" fmla="*/ 2147483647 w 3454"/>
                <a:gd name="T71" fmla="*/ 2147483647 h 4763"/>
                <a:gd name="T72" fmla="*/ 2147483647 w 3454"/>
                <a:gd name="T73" fmla="*/ 2147483647 h 4763"/>
                <a:gd name="T74" fmla="*/ 2147483647 w 3454"/>
                <a:gd name="T75" fmla="*/ 2147483647 h 4763"/>
                <a:gd name="T76" fmla="*/ 2147483647 w 3454"/>
                <a:gd name="T77" fmla="*/ 2147483647 h 4763"/>
                <a:gd name="T78" fmla="*/ 2147483647 w 3454"/>
                <a:gd name="T79" fmla="*/ 2147483647 h 4763"/>
                <a:gd name="T80" fmla="*/ 2147483647 w 3454"/>
                <a:gd name="T81" fmla="*/ 2147483647 h 4763"/>
                <a:gd name="T82" fmla="*/ 2147483647 w 3454"/>
                <a:gd name="T83" fmla="*/ 2147483647 h 4763"/>
                <a:gd name="T84" fmla="*/ 2147483647 w 3454"/>
                <a:gd name="T85" fmla="*/ 2147483647 h 4763"/>
                <a:gd name="T86" fmla="*/ 2147483647 w 3454"/>
                <a:gd name="T87" fmla="*/ 2147483647 h 4763"/>
                <a:gd name="T88" fmla="*/ 2147483647 w 3454"/>
                <a:gd name="T89" fmla="*/ 2147483647 h 4763"/>
                <a:gd name="T90" fmla="*/ 2147483647 w 3454"/>
                <a:gd name="T91" fmla="*/ 2147483647 h 4763"/>
                <a:gd name="T92" fmla="*/ 2147483647 w 3454"/>
                <a:gd name="T93" fmla="*/ 2147483647 h 47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454"/>
                <a:gd name="T142" fmla="*/ 0 h 4763"/>
                <a:gd name="T143" fmla="*/ 3454 w 3454"/>
                <a:gd name="T144" fmla="*/ 4763 h 47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454" h="4763">
                  <a:moveTo>
                    <a:pt x="3264" y="0"/>
                  </a:moveTo>
                  <a:lnTo>
                    <a:pt x="190" y="0"/>
                  </a:lnTo>
                  <a:lnTo>
                    <a:pt x="170" y="1"/>
                  </a:lnTo>
                  <a:lnTo>
                    <a:pt x="152" y="4"/>
                  </a:lnTo>
                  <a:lnTo>
                    <a:pt x="134" y="8"/>
                  </a:lnTo>
                  <a:lnTo>
                    <a:pt x="116" y="14"/>
                  </a:lnTo>
                  <a:lnTo>
                    <a:pt x="100" y="23"/>
                  </a:lnTo>
                  <a:lnTo>
                    <a:pt x="85" y="33"/>
                  </a:lnTo>
                  <a:lnTo>
                    <a:pt x="70" y="43"/>
                  </a:lnTo>
                  <a:lnTo>
                    <a:pt x="56" y="56"/>
                  </a:lnTo>
                  <a:lnTo>
                    <a:pt x="43" y="69"/>
                  </a:lnTo>
                  <a:lnTo>
                    <a:pt x="33" y="83"/>
                  </a:lnTo>
                  <a:lnTo>
                    <a:pt x="23" y="99"/>
                  </a:lnTo>
                  <a:lnTo>
                    <a:pt x="16" y="116"/>
                  </a:lnTo>
                  <a:lnTo>
                    <a:pt x="8" y="133"/>
                  </a:lnTo>
                  <a:lnTo>
                    <a:pt x="4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0" y="4763"/>
                  </a:lnTo>
                  <a:lnTo>
                    <a:pt x="3454" y="4763"/>
                  </a:lnTo>
                  <a:lnTo>
                    <a:pt x="3454" y="190"/>
                  </a:lnTo>
                  <a:lnTo>
                    <a:pt x="3453" y="170"/>
                  </a:lnTo>
                  <a:lnTo>
                    <a:pt x="3450" y="151"/>
                  </a:lnTo>
                  <a:lnTo>
                    <a:pt x="3446" y="133"/>
                  </a:lnTo>
                  <a:lnTo>
                    <a:pt x="3440" y="116"/>
                  </a:lnTo>
                  <a:lnTo>
                    <a:pt x="3431" y="99"/>
                  </a:lnTo>
                  <a:lnTo>
                    <a:pt x="3421" y="83"/>
                  </a:lnTo>
                  <a:lnTo>
                    <a:pt x="3411" y="69"/>
                  </a:lnTo>
                  <a:lnTo>
                    <a:pt x="3398" y="56"/>
                  </a:lnTo>
                  <a:lnTo>
                    <a:pt x="3385" y="43"/>
                  </a:lnTo>
                  <a:lnTo>
                    <a:pt x="3371" y="33"/>
                  </a:lnTo>
                  <a:lnTo>
                    <a:pt x="3355" y="23"/>
                  </a:lnTo>
                  <a:lnTo>
                    <a:pt x="3338" y="14"/>
                  </a:lnTo>
                  <a:lnTo>
                    <a:pt x="3321" y="8"/>
                  </a:lnTo>
                  <a:lnTo>
                    <a:pt x="3303" y="4"/>
                  </a:lnTo>
                  <a:lnTo>
                    <a:pt x="3284" y="1"/>
                  </a:lnTo>
                  <a:lnTo>
                    <a:pt x="3264" y="0"/>
                  </a:lnTo>
                  <a:close/>
                  <a:moveTo>
                    <a:pt x="3261" y="4570"/>
                  </a:moveTo>
                  <a:lnTo>
                    <a:pt x="193" y="4570"/>
                  </a:lnTo>
                  <a:lnTo>
                    <a:pt x="193" y="190"/>
                  </a:lnTo>
                  <a:lnTo>
                    <a:pt x="3264" y="193"/>
                  </a:lnTo>
                  <a:lnTo>
                    <a:pt x="3261" y="4570"/>
                  </a:lnTo>
                  <a:close/>
                  <a:moveTo>
                    <a:pt x="1277" y="1192"/>
                  </a:moveTo>
                  <a:lnTo>
                    <a:pt x="1209" y="1125"/>
                  </a:lnTo>
                  <a:lnTo>
                    <a:pt x="1040" y="1293"/>
                  </a:lnTo>
                  <a:lnTo>
                    <a:pt x="1108" y="1361"/>
                  </a:lnTo>
                  <a:lnTo>
                    <a:pt x="1277" y="1192"/>
                  </a:lnTo>
                  <a:close/>
                  <a:moveTo>
                    <a:pt x="2444" y="2391"/>
                  </a:moveTo>
                  <a:lnTo>
                    <a:pt x="2989" y="2391"/>
                  </a:lnTo>
                  <a:lnTo>
                    <a:pt x="2989" y="2197"/>
                  </a:lnTo>
                  <a:lnTo>
                    <a:pt x="2444" y="2197"/>
                  </a:lnTo>
                  <a:lnTo>
                    <a:pt x="2444" y="2391"/>
                  </a:lnTo>
                  <a:close/>
                  <a:moveTo>
                    <a:pt x="2989" y="643"/>
                  </a:moveTo>
                  <a:lnTo>
                    <a:pt x="2892" y="643"/>
                  </a:lnTo>
                  <a:lnTo>
                    <a:pt x="2892" y="1529"/>
                  </a:lnTo>
                  <a:lnTo>
                    <a:pt x="562" y="1529"/>
                  </a:lnTo>
                  <a:lnTo>
                    <a:pt x="562" y="739"/>
                  </a:lnTo>
                  <a:lnTo>
                    <a:pt x="2699" y="739"/>
                  </a:lnTo>
                  <a:lnTo>
                    <a:pt x="2699" y="643"/>
                  </a:lnTo>
                  <a:lnTo>
                    <a:pt x="465" y="643"/>
                  </a:lnTo>
                  <a:lnTo>
                    <a:pt x="465" y="1626"/>
                  </a:lnTo>
                  <a:lnTo>
                    <a:pt x="2989" y="1626"/>
                  </a:lnTo>
                  <a:lnTo>
                    <a:pt x="2989" y="643"/>
                  </a:lnTo>
                  <a:close/>
                  <a:moveTo>
                    <a:pt x="1776" y="2391"/>
                  </a:moveTo>
                  <a:lnTo>
                    <a:pt x="2347" y="2391"/>
                  </a:lnTo>
                  <a:lnTo>
                    <a:pt x="2347" y="2197"/>
                  </a:lnTo>
                  <a:lnTo>
                    <a:pt x="1776" y="2197"/>
                  </a:lnTo>
                  <a:lnTo>
                    <a:pt x="1776" y="2391"/>
                  </a:lnTo>
                  <a:close/>
                  <a:moveTo>
                    <a:pt x="1108" y="2391"/>
                  </a:moveTo>
                  <a:lnTo>
                    <a:pt x="1679" y="2391"/>
                  </a:lnTo>
                  <a:lnTo>
                    <a:pt x="1679" y="2197"/>
                  </a:lnTo>
                  <a:lnTo>
                    <a:pt x="1108" y="2197"/>
                  </a:lnTo>
                  <a:lnTo>
                    <a:pt x="1108" y="2391"/>
                  </a:lnTo>
                  <a:close/>
                  <a:moveTo>
                    <a:pt x="1011" y="2197"/>
                  </a:moveTo>
                  <a:lnTo>
                    <a:pt x="465" y="2197"/>
                  </a:lnTo>
                  <a:lnTo>
                    <a:pt x="465" y="2391"/>
                  </a:lnTo>
                  <a:lnTo>
                    <a:pt x="1011" y="2391"/>
                  </a:lnTo>
                  <a:lnTo>
                    <a:pt x="1011" y="2197"/>
                  </a:lnTo>
                  <a:close/>
                  <a:moveTo>
                    <a:pt x="743" y="1293"/>
                  </a:moveTo>
                  <a:lnTo>
                    <a:pt x="811" y="1361"/>
                  </a:lnTo>
                  <a:lnTo>
                    <a:pt x="1197" y="975"/>
                  </a:lnTo>
                  <a:lnTo>
                    <a:pt x="1130" y="906"/>
                  </a:lnTo>
                  <a:lnTo>
                    <a:pt x="743" y="1293"/>
                  </a:lnTo>
                  <a:close/>
                  <a:moveTo>
                    <a:pt x="1776" y="2958"/>
                  </a:moveTo>
                  <a:lnTo>
                    <a:pt x="2347" y="2958"/>
                  </a:lnTo>
                  <a:lnTo>
                    <a:pt x="2347" y="2765"/>
                  </a:lnTo>
                  <a:lnTo>
                    <a:pt x="1776" y="2765"/>
                  </a:lnTo>
                  <a:lnTo>
                    <a:pt x="1776" y="2958"/>
                  </a:lnTo>
                  <a:close/>
                  <a:moveTo>
                    <a:pt x="1108" y="2958"/>
                  </a:moveTo>
                  <a:lnTo>
                    <a:pt x="1679" y="2958"/>
                  </a:lnTo>
                  <a:lnTo>
                    <a:pt x="1679" y="2765"/>
                  </a:lnTo>
                  <a:lnTo>
                    <a:pt x="1108" y="2765"/>
                  </a:lnTo>
                  <a:lnTo>
                    <a:pt x="1108" y="2958"/>
                  </a:lnTo>
                  <a:close/>
                  <a:moveTo>
                    <a:pt x="1011" y="2765"/>
                  </a:moveTo>
                  <a:lnTo>
                    <a:pt x="465" y="2765"/>
                  </a:lnTo>
                  <a:lnTo>
                    <a:pt x="465" y="2958"/>
                  </a:lnTo>
                  <a:lnTo>
                    <a:pt x="1011" y="2958"/>
                  </a:lnTo>
                  <a:lnTo>
                    <a:pt x="1011" y="2765"/>
                  </a:lnTo>
                  <a:close/>
                  <a:moveTo>
                    <a:pt x="2444" y="2958"/>
                  </a:moveTo>
                  <a:lnTo>
                    <a:pt x="2989" y="2958"/>
                  </a:lnTo>
                  <a:lnTo>
                    <a:pt x="2989" y="2765"/>
                  </a:lnTo>
                  <a:lnTo>
                    <a:pt x="2444" y="2765"/>
                  </a:lnTo>
                  <a:lnTo>
                    <a:pt x="2444" y="2958"/>
                  </a:lnTo>
                  <a:close/>
                  <a:moveTo>
                    <a:pt x="1776" y="3526"/>
                  </a:moveTo>
                  <a:lnTo>
                    <a:pt x="2347" y="3526"/>
                  </a:lnTo>
                  <a:lnTo>
                    <a:pt x="2347" y="3333"/>
                  </a:lnTo>
                  <a:lnTo>
                    <a:pt x="1776" y="3333"/>
                  </a:lnTo>
                  <a:lnTo>
                    <a:pt x="1776" y="3526"/>
                  </a:lnTo>
                  <a:close/>
                  <a:moveTo>
                    <a:pt x="1108" y="3526"/>
                  </a:moveTo>
                  <a:lnTo>
                    <a:pt x="1679" y="3526"/>
                  </a:lnTo>
                  <a:lnTo>
                    <a:pt x="1679" y="3333"/>
                  </a:lnTo>
                  <a:lnTo>
                    <a:pt x="1108" y="3333"/>
                  </a:lnTo>
                  <a:lnTo>
                    <a:pt x="1108" y="3526"/>
                  </a:lnTo>
                  <a:close/>
                  <a:moveTo>
                    <a:pt x="1011" y="3333"/>
                  </a:moveTo>
                  <a:lnTo>
                    <a:pt x="465" y="3333"/>
                  </a:lnTo>
                  <a:lnTo>
                    <a:pt x="465" y="3526"/>
                  </a:lnTo>
                  <a:lnTo>
                    <a:pt x="1011" y="3526"/>
                  </a:lnTo>
                  <a:lnTo>
                    <a:pt x="1011" y="3333"/>
                  </a:lnTo>
                  <a:close/>
                  <a:moveTo>
                    <a:pt x="2444" y="3526"/>
                  </a:moveTo>
                  <a:lnTo>
                    <a:pt x="2989" y="3526"/>
                  </a:lnTo>
                  <a:lnTo>
                    <a:pt x="2989" y="3333"/>
                  </a:lnTo>
                  <a:lnTo>
                    <a:pt x="2444" y="3333"/>
                  </a:lnTo>
                  <a:lnTo>
                    <a:pt x="2444" y="3526"/>
                  </a:lnTo>
                  <a:close/>
                  <a:moveTo>
                    <a:pt x="2444" y="4093"/>
                  </a:moveTo>
                  <a:lnTo>
                    <a:pt x="2989" y="4093"/>
                  </a:lnTo>
                  <a:lnTo>
                    <a:pt x="2989" y="3899"/>
                  </a:lnTo>
                  <a:lnTo>
                    <a:pt x="2444" y="3899"/>
                  </a:lnTo>
                  <a:lnTo>
                    <a:pt x="2444" y="4093"/>
                  </a:lnTo>
                  <a:close/>
                  <a:moveTo>
                    <a:pt x="1679" y="3899"/>
                  </a:moveTo>
                  <a:lnTo>
                    <a:pt x="465" y="3899"/>
                  </a:lnTo>
                  <a:lnTo>
                    <a:pt x="465" y="4093"/>
                  </a:lnTo>
                  <a:lnTo>
                    <a:pt x="1679" y="4093"/>
                  </a:lnTo>
                  <a:lnTo>
                    <a:pt x="1679" y="3899"/>
                  </a:lnTo>
                  <a:close/>
                  <a:moveTo>
                    <a:pt x="1776" y="4093"/>
                  </a:moveTo>
                  <a:lnTo>
                    <a:pt x="2347" y="4093"/>
                  </a:lnTo>
                  <a:lnTo>
                    <a:pt x="2347" y="3899"/>
                  </a:lnTo>
                  <a:lnTo>
                    <a:pt x="1776" y="3899"/>
                  </a:lnTo>
                  <a:lnTo>
                    <a:pt x="1776" y="4093"/>
                  </a:lnTo>
                  <a:close/>
                </a:path>
              </a:pathLst>
            </a:custGeom>
            <a:solidFill>
              <a:srgbClr val="64646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077"/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5" name="Bent Arrow 94"/>
            <p:cNvSpPr/>
            <p:nvPr/>
          </p:nvSpPr>
          <p:spPr>
            <a:xfrm rot="5400000">
              <a:off x="9437228" y="2888299"/>
              <a:ext cx="1250950" cy="867691"/>
            </a:xfrm>
            <a:prstGeom prst="bentArrow">
              <a:avLst/>
            </a:prstGeom>
            <a:solidFill>
              <a:srgbClr val="64646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9" name="Bent Arrow 98"/>
            <p:cNvSpPr/>
            <p:nvPr/>
          </p:nvSpPr>
          <p:spPr>
            <a:xfrm rot="16200000" flipH="1">
              <a:off x="6912741" y="2890680"/>
              <a:ext cx="1250950" cy="867691"/>
            </a:xfrm>
            <a:prstGeom prst="bentArrow">
              <a:avLst/>
            </a:prstGeom>
            <a:solidFill>
              <a:srgbClr val="64646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0" name="Bent Arrow 99"/>
            <p:cNvSpPr/>
            <p:nvPr/>
          </p:nvSpPr>
          <p:spPr>
            <a:xfrm rot="16200000" flipH="1">
              <a:off x="7505004" y="2893061"/>
              <a:ext cx="1250950" cy="867691"/>
            </a:xfrm>
            <a:prstGeom prst="bentArrow">
              <a:avLst/>
            </a:prstGeom>
            <a:solidFill>
              <a:srgbClr val="64646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1" name="Bent Arrow 100"/>
            <p:cNvSpPr/>
            <p:nvPr/>
          </p:nvSpPr>
          <p:spPr>
            <a:xfrm rot="5400000">
              <a:off x="8844971" y="2893061"/>
              <a:ext cx="1250950" cy="867691"/>
            </a:xfrm>
            <a:prstGeom prst="bentArrow">
              <a:avLst/>
            </a:prstGeom>
            <a:solidFill>
              <a:srgbClr val="64646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2" name="Bent Arrow 101"/>
            <p:cNvSpPr/>
            <p:nvPr/>
          </p:nvSpPr>
          <p:spPr>
            <a:xfrm rot="5400000" flipH="1">
              <a:off x="7999434" y="1992976"/>
              <a:ext cx="872444" cy="974306"/>
            </a:xfrm>
            <a:prstGeom prst="bentArrow">
              <a:avLst>
                <a:gd name="adj1" fmla="val 25000"/>
                <a:gd name="adj2" fmla="val 14549"/>
                <a:gd name="adj3" fmla="val 0"/>
                <a:gd name="adj4" fmla="val 43750"/>
              </a:avLst>
            </a:prstGeom>
            <a:solidFill>
              <a:srgbClr val="64646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3" name="Bent Arrow 102"/>
            <p:cNvSpPr/>
            <p:nvPr/>
          </p:nvSpPr>
          <p:spPr>
            <a:xfrm rot="16200000">
              <a:off x="8717132" y="1993110"/>
              <a:ext cx="872444" cy="974306"/>
            </a:xfrm>
            <a:prstGeom prst="bentArrow">
              <a:avLst>
                <a:gd name="adj1" fmla="val 25000"/>
                <a:gd name="adj2" fmla="val 14549"/>
                <a:gd name="adj3" fmla="val 0"/>
                <a:gd name="adj4" fmla="val 43750"/>
              </a:avLst>
            </a:prstGeom>
            <a:solidFill>
              <a:srgbClr val="64646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6" name="Freeform 9"/>
            <p:cNvSpPr>
              <a:spLocks noChangeAspect="1" noEditPoints="1"/>
            </p:cNvSpPr>
            <p:nvPr/>
          </p:nvSpPr>
          <p:spPr bwMode="auto">
            <a:xfrm>
              <a:off x="7132014" y="4003360"/>
              <a:ext cx="378043" cy="553238"/>
            </a:xfrm>
            <a:custGeom>
              <a:avLst/>
              <a:gdLst>
                <a:gd name="T0" fmla="*/ 2147483647 w 3454"/>
                <a:gd name="T1" fmla="*/ 0 h 4763"/>
                <a:gd name="T2" fmla="*/ 2147483647 w 3454"/>
                <a:gd name="T3" fmla="*/ 2147483647 h 4763"/>
                <a:gd name="T4" fmla="*/ 2147483647 w 3454"/>
                <a:gd name="T5" fmla="*/ 2147483647 h 4763"/>
                <a:gd name="T6" fmla="*/ 2147483647 w 3454"/>
                <a:gd name="T7" fmla="*/ 2147483647 h 4763"/>
                <a:gd name="T8" fmla="*/ 2147483647 w 3454"/>
                <a:gd name="T9" fmla="*/ 2147483647 h 4763"/>
                <a:gd name="T10" fmla="*/ 2147483647 w 3454"/>
                <a:gd name="T11" fmla="*/ 2147483647 h 4763"/>
                <a:gd name="T12" fmla="*/ 2147483647 w 3454"/>
                <a:gd name="T13" fmla="*/ 2147483647 h 4763"/>
                <a:gd name="T14" fmla="*/ 2147483647 w 3454"/>
                <a:gd name="T15" fmla="*/ 2147483647 h 4763"/>
                <a:gd name="T16" fmla="*/ 2147483647 w 3454"/>
                <a:gd name="T17" fmla="*/ 2147483647 h 4763"/>
                <a:gd name="T18" fmla="*/ 2147483647 w 3454"/>
                <a:gd name="T19" fmla="*/ 2147483647 h 4763"/>
                <a:gd name="T20" fmla="*/ 2147483647 w 3454"/>
                <a:gd name="T21" fmla="*/ 2147483647 h 4763"/>
                <a:gd name="T22" fmla="*/ 2147483647 w 3454"/>
                <a:gd name="T23" fmla="*/ 2147483647 h 4763"/>
                <a:gd name="T24" fmla="*/ 2147483647 w 3454"/>
                <a:gd name="T25" fmla="*/ 0 h 4763"/>
                <a:gd name="T26" fmla="*/ 2147483647 w 3454"/>
                <a:gd name="T27" fmla="*/ 2147483647 h 4763"/>
                <a:gd name="T28" fmla="*/ 2147483647 w 3454"/>
                <a:gd name="T29" fmla="*/ 2147483647 h 4763"/>
                <a:gd name="T30" fmla="*/ 2147483647 w 3454"/>
                <a:gd name="T31" fmla="*/ 2147483647 h 4763"/>
                <a:gd name="T32" fmla="*/ 2147483647 w 3454"/>
                <a:gd name="T33" fmla="*/ 2147483647 h 4763"/>
                <a:gd name="T34" fmla="*/ 2147483647 w 3454"/>
                <a:gd name="T35" fmla="*/ 2147483647 h 4763"/>
                <a:gd name="T36" fmla="*/ 2147483647 w 3454"/>
                <a:gd name="T37" fmla="*/ 2147483647 h 4763"/>
                <a:gd name="T38" fmla="*/ 2147483647 w 3454"/>
                <a:gd name="T39" fmla="*/ 2147483647 h 4763"/>
                <a:gd name="T40" fmla="*/ 2147483647 w 3454"/>
                <a:gd name="T41" fmla="*/ 2147483647 h 4763"/>
                <a:gd name="T42" fmla="*/ 2147483647 w 3454"/>
                <a:gd name="T43" fmla="*/ 2147483647 h 4763"/>
                <a:gd name="T44" fmla="*/ 2147483647 w 3454"/>
                <a:gd name="T45" fmla="*/ 2147483647 h 4763"/>
                <a:gd name="T46" fmla="*/ 2147483647 w 3454"/>
                <a:gd name="T47" fmla="*/ 2147483647 h 4763"/>
                <a:gd name="T48" fmla="*/ 2147483647 w 3454"/>
                <a:gd name="T49" fmla="*/ 2147483647 h 4763"/>
                <a:gd name="T50" fmla="*/ 2147483647 w 3454"/>
                <a:gd name="T51" fmla="*/ 2147483647 h 4763"/>
                <a:gd name="T52" fmla="*/ 2147483647 w 3454"/>
                <a:gd name="T53" fmla="*/ 2147483647 h 4763"/>
                <a:gd name="T54" fmla="*/ 2147483647 w 3454"/>
                <a:gd name="T55" fmla="*/ 2147483647 h 4763"/>
                <a:gd name="T56" fmla="*/ 2147483647 w 3454"/>
                <a:gd name="T57" fmla="*/ 2147483647 h 4763"/>
                <a:gd name="T58" fmla="*/ 2147483647 w 3454"/>
                <a:gd name="T59" fmla="*/ 2147483647 h 4763"/>
                <a:gd name="T60" fmla="*/ 2147483647 w 3454"/>
                <a:gd name="T61" fmla="*/ 2147483647 h 4763"/>
                <a:gd name="T62" fmla="*/ 2147483647 w 3454"/>
                <a:gd name="T63" fmla="*/ 2147483647 h 4763"/>
                <a:gd name="T64" fmla="*/ 2147483647 w 3454"/>
                <a:gd name="T65" fmla="*/ 2147483647 h 4763"/>
                <a:gd name="T66" fmla="*/ 2147483647 w 3454"/>
                <a:gd name="T67" fmla="*/ 2147483647 h 4763"/>
                <a:gd name="T68" fmla="*/ 2147483647 w 3454"/>
                <a:gd name="T69" fmla="*/ 2147483647 h 4763"/>
                <a:gd name="T70" fmla="*/ 2147483647 w 3454"/>
                <a:gd name="T71" fmla="*/ 2147483647 h 4763"/>
                <a:gd name="T72" fmla="*/ 2147483647 w 3454"/>
                <a:gd name="T73" fmla="*/ 2147483647 h 4763"/>
                <a:gd name="T74" fmla="*/ 2147483647 w 3454"/>
                <a:gd name="T75" fmla="*/ 2147483647 h 4763"/>
                <a:gd name="T76" fmla="*/ 2147483647 w 3454"/>
                <a:gd name="T77" fmla="*/ 2147483647 h 4763"/>
                <a:gd name="T78" fmla="*/ 2147483647 w 3454"/>
                <a:gd name="T79" fmla="*/ 2147483647 h 4763"/>
                <a:gd name="T80" fmla="*/ 2147483647 w 3454"/>
                <a:gd name="T81" fmla="*/ 2147483647 h 4763"/>
                <a:gd name="T82" fmla="*/ 2147483647 w 3454"/>
                <a:gd name="T83" fmla="*/ 2147483647 h 4763"/>
                <a:gd name="T84" fmla="*/ 2147483647 w 3454"/>
                <a:gd name="T85" fmla="*/ 2147483647 h 4763"/>
                <a:gd name="T86" fmla="*/ 2147483647 w 3454"/>
                <a:gd name="T87" fmla="*/ 2147483647 h 4763"/>
                <a:gd name="T88" fmla="*/ 2147483647 w 3454"/>
                <a:gd name="T89" fmla="*/ 2147483647 h 4763"/>
                <a:gd name="T90" fmla="*/ 2147483647 w 3454"/>
                <a:gd name="T91" fmla="*/ 2147483647 h 4763"/>
                <a:gd name="T92" fmla="*/ 2147483647 w 3454"/>
                <a:gd name="T93" fmla="*/ 2147483647 h 47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454"/>
                <a:gd name="T142" fmla="*/ 0 h 4763"/>
                <a:gd name="T143" fmla="*/ 3454 w 3454"/>
                <a:gd name="T144" fmla="*/ 4763 h 47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454" h="4763">
                  <a:moveTo>
                    <a:pt x="3264" y="0"/>
                  </a:moveTo>
                  <a:lnTo>
                    <a:pt x="190" y="0"/>
                  </a:lnTo>
                  <a:lnTo>
                    <a:pt x="170" y="1"/>
                  </a:lnTo>
                  <a:lnTo>
                    <a:pt x="152" y="4"/>
                  </a:lnTo>
                  <a:lnTo>
                    <a:pt x="134" y="8"/>
                  </a:lnTo>
                  <a:lnTo>
                    <a:pt x="116" y="14"/>
                  </a:lnTo>
                  <a:lnTo>
                    <a:pt x="100" y="23"/>
                  </a:lnTo>
                  <a:lnTo>
                    <a:pt x="85" y="33"/>
                  </a:lnTo>
                  <a:lnTo>
                    <a:pt x="70" y="43"/>
                  </a:lnTo>
                  <a:lnTo>
                    <a:pt x="56" y="56"/>
                  </a:lnTo>
                  <a:lnTo>
                    <a:pt x="43" y="69"/>
                  </a:lnTo>
                  <a:lnTo>
                    <a:pt x="33" y="83"/>
                  </a:lnTo>
                  <a:lnTo>
                    <a:pt x="23" y="99"/>
                  </a:lnTo>
                  <a:lnTo>
                    <a:pt x="16" y="116"/>
                  </a:lnTo>
                  <a:lnTo>
                    <a:pt x="8" y="133"/>
                  </a:lnTo>
                  <a:lnTo>
                    <a:pt x="4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0" y="4763"/>
                  </a:lnTo>
                  <a:lnTo>
                    <a:pt x="3454" y="4763"/>
                  </a:lnTo>
                  <a:lnTo>
                    <a:pt x="3454" y="190"/>
                  </a:lnTo>
                  <a:lnTo>
                    <a:pt x="3453" y="170"/>
                  </a:lnTo>
                  <a:lnTo>
                    <a:pt x="3450" y="151"/>
                  </a:lnTo>
                  <a:lnTo>
                    <a:pt x="3446" y="133"/>
                  </a:lnTo>
                  <a:lnTo>
                    <a:pt x="3440" y="116"/>
                  </a:lnTo>
                  <a:lnTo>
                    <a:pt x="3431" y="99"/>
                  </a:lnTo>
                  <a:lnTo>
                    <a:pt x="3421" y="83"/>
                  </a:lnTo>
                  <a:lnTo>
                    <a:pt x="3411" y="69"/>
                  </a:lnTo>
                  <a:lnTo>
                    <a:pt x="3398" y="56"/>
                  </a:lnTo>
                  <a:lnTo>
                    <a:pt x="3385" y="43"/>
                  </a:lnTo>
                  <a:lnTo>
                    <a:pt x="3371" y="33"/>
                  </a:lnTo>
                  <a:lnTo>
                    <a:pt x="3355" y="23"/>
                  </a:lnTo>
                  <a:lnTo>
                    <a:pt x="3338" y="14"/>
                  </a:lnTo>
                  <a:lnTo>
                    <a:pt x="3321" y="8"/>
                  </a:lnTo>
                  <a:lnTo>
                    <a:pt x="3303" y="4"/>
                  </a:lnTo>
                  <a:lnTo>
                    <a:pt x="3284" y="1"/>
                  </a:lnTo>
                  <a:lnTo>
                    <a:pt x="3264" y="0"/>
                  </a:lnTo>
                  <a:close/>
                  <a:moveTo>
                    <a:pt x="3261" y="4570"/>
                  </a:moveTo>
                  <a:lnTo>
                    <a:pt x="193" y="4570"/>
                  </a:lnTo>
                  <a:lnTo>
                    <a:pt x="193" y="190"/>
                  </a:lnTo>
                  <a:lnTo>
                    <a:pt x="3264" y="193"/>
                  </a:lnTo>
                  <a:lnTo>
                    <a:pt x="3261" y="4570"/>
                  </a:lnTo>
                  <a:close/>
                  <a:moveTo>
                    <a:pt x="1277" y="1192"/>
                  </a:moveTo>
                  <a:lnTo>
                    <a:pt x="1209" y="1125"/>
                  </a:lnTo>
                  <a:lnTo>
                    <a:pt x="1040" y="1293"/>
                  </a:lnTo>
                  <a:lnTo>
                    <a:pt x="1108" y="1361"/>
                  </a:lnTo>
                  <a:lnTo>
                    <a:pt x="1277" y="1192"/>
                  </a:lnTo>
                  <a:close/>
                  <a:moveTo>
                    <a:pt x="2444" y="2391"/>
                  </a:moveTo>
                  <a:lnTo>
                    <a:pt x="2989" y="2391"/>
                  </a:lnTo>
                  <a:lnTo>
                    <a:pt x="2989" y="2197"/>
                  </a:lnTo>
                  <a:lnTo>
                    <a:pt x="2444" y="2197"/>
                  </a:lnTo>
                  <a:lnTo>
                    <a:pt x="2444" y="2391"/>
                  </a:lnTo>
                  <a:close/>
                  <a:moveTo>
                    <a:pt x="2989" y="643"/>
                  </a:moveTo>
                  <a:lnTo>
                    <a:pt x="2892" y="643"/>
                  </a:lnTo>
                  <a:lnTo>
                    <a:pt x="2892" y="1529"/>
                  </a:lnTo>
                  <a:lnTo>
                    <a:pt x="562" y="1529"/>
                  </a:lnTo>
                  <a:lnTo>
                    <a:pt x="562" y="739"/>
                  </a:lnTo>
                  <a:lnTo>
                    <a:pt x="2699" y="739"/>
                  </a:lnTo>
                  <a:lnTo>
                    <a:pt x="2699" y="643"/>
                  </a:lnTo>
                  <a:lnTo>
                    <a:pt x="465" y="643"/>
                  </a:lnTo>
                  <a:lnTo>
                    <a:pt x="465" y="1626"/>
                  </a:lnTo>
                  <a:lnTo>
                    <a:pt x="2989" y="1626"/>
                  </a:lnTo>
                  <a:lnTo>
                    <a:pt x="2989" y="643"/>
                  </a:lnTo>
                  <a:close/>
                  <a:moveTo>
                    <a:pt x="1776" y="2391"/>
                  </a:moveTo>
                  <a:lnTo>
                    <a:pt x="2347" y="2391"/>
                  </a:lnTo>
                  <a:lnTo>
                    <a:pt x="2347" y="2197"/>
                  </a:lnTo>
                  <a:lnTo>
                    <a:pt x="1776" y="2197"/>
                  </a:lnTo>
                  <a:lnTo>
                    <a:pt x="1776" y="2391"/>
                  </a:lnTo>
                  <a:close/>
                  <a:moveTo>
                    <a:pt x="1108" y="2391"/>
                  </a:moveTo>
                  <a:lnTo>
                    <a:pt x="1679" y="2391"/>
                  </a:lnTo>
                  <a:lnTo>
                    <a:pt x="1679" y="2197"/>
                  </a:lnTo>
                  <a:lnTo>
                    <a:pt x="1108" y="2197"/>
                  </a:lnTo>
                  <a:lnTo>
                    <a:pt x="1108" y="2391"/>
                  </a:lnTo>
                  <a:close/>
                  <a:moveTo>
                    <a:pt x="1011" y="2197"/>
                  </a:moveTo>
                  <a:lnTo>
                    <a:pt x="465" y="2197"/>
                  </a:lnTo>
                  <a:lnTo>
                    <a:pt x="465" y="2391"/>
                  </a:lnTo>
                  <a:lnTo>
                    <a:pt x="1011" y="2391"/>
                  </a:lnTo>
                  <a:lnTo>
                    <a:pt x="1011" y="2197"/>
                  </a:lnTo>
                  <a:close/>
                  <a:moveTo>
                    <a:pt x="743" y="1293"/>
                  </a:moveTo>
                  <a:lnTo>
                    <a:pt x="811" y="1361"/>
                  </a:lnTo>
                  <a:lnTo>
                    <a:pt x="1197" y="975"/>
                  </a:lnTo>
                  <a:lnTo>
                    <a:pt x="1130" y="906"/>
                  </a:lnTo>
                  <a:lnTo>
                    <a:pt x="743" y="1293"/>
                  </a:lnTo>
                  <a:close/>
                  <a:moveTo>
                    <a:pt x="1776" y="2958"/>
                  </a:moveTo>
                  <a:lnTo>
                    <a:pt x="2347" y="2958"/>
                  </a:lnTo>
                  <a:lnTo>
                    <a:pt x="2347" y="2765"/>
                  </a:lnTo>
                  <a:lnTo>
                    <a:pt x="1776" y="2765"/>
                  </a:lnTo>
                  <a:lnTo>
                    <a:pt x="1776" y="2958"/>
                  </a:lnTo>
                  <a:close/>
                  <a:moveTo>
                    <a:pt x="1108" y="2958"/>
                  </a:moveTo>
                  <a:lnTo>
                    <a:pt x="1679" y="2958"/>
                  </a:lnTo>
                  <a:lnTo>
                    <a:pt x="1679" y="2765"/>
                  </a:lnTo>
                  <a:lnTo>
                    <a:pt x="1108" y="2765"/>
                  </a:lnTo>
                  <a:lnTo>
                    <a:pt x="1108" y="2958"/>
                  </a:lnTo>
                  <a:close/>
                  <a:moveTo>
                    <a:pt x="1011" y="2765"/>
                  </a:moveTo>
                  <a:lnTo>
                    <a:pt x="465" y="2765"/>
                  </a:lnTo>
                  <a:lnTo>
                    <a:pt x="465" y="2958"/>
                  </a:lnTo>
                  <a:lnTo>
                    <a:pt x="1011" y="2958"/>
                  </a:lnTo>
                  <a:lnTo>
                    <a:pt x="1011" y="2765"/>
                  </a:lnTo>
                  <a:close/>
                  <a:moveTo>
                    <a:pt x="2444" y="2958"/>
                  </a:moveTo>
                  <a:lnTo>
                    <a:pt x="2989" y="2958"/>
                  </a:lnTo>
                  <a:lnTo>
                    <a:pt x="2989" y="2765"/>
                  </a:lnTo>
                  <a:lnTo>
                    <a:pt x="2444" y="2765"/>
                  </a:lnTo>
                  <a:lnTo>
                    <a:pt x="2444" y="2958"/>
                  </a:lnTo>
                  <a:close/>
                  <a:moveTo>
                    <a:pt x="1776" y="3526"/>
                  </a:moveTo>
                  <a:lnTo>
                    <a:pt x="2347" y="3526"/>
                  </a:lnTo>
                  <a:lnTo>
                    <a:pt x="2347" y="3333"/>
                  </a:lnTo>
                  <a:lnTo>
                    <a:pt x="1776" y="3333"/>
                  </a:lnTo>
                  <a:lnTo>
                    <a:pt x="1776" y="3526"/>
                  </a:lnTo>
                  <a:close/>
                  <a:moveTo>
                    <a:pt x="1108" y="3526"/>
                  </a:moveTo>
                  <a:lnTo>
                    <a:pt x="1679" y="3526"/>
                  </a:lnTo>
                  <a:lnTo>
                    <a:pt x="1679" y="3333"/>
                  </a:lnTo>
                  <a:lnTo>
                    <a:pt x="1108" y="3333"/>
                  </a:lnTo>
                  <a:lnTo>
                    <a:pt x="1108" y="3526"/>
                  </a:lnTo>
                  <a:close/>
                  <a:moveTo>
                    <a:pt x="1011" y="3333"/>
                  </a:moveTo>
                  <a:lnTo>
                    <a:pt x="465" y="3333"/>
                  </a:lnTo>
                  <a:lnTo>
                    <a:pt x="465" y="3526"/>
                  </a:lnTo>
                  <a:lnTo>
                    <a:pt x="1011" y="3526"/>
                  </a:lnTo>
                  <a:lnTo>
                    <a:pt x="1011" y="3333"/>
                  </a:lnTo>
                  <a:close/>
                  <a:moveTo>
                    <a:pt x="2444" y="3526"/>
                  </a:moveTo>
                  <a:lnTo>
                    <a:pt x="2989" y="3526"/>
                  </a:lnTo>
                  <a:lnTo>
                    <a:pt x="2989" y="3333"/>
                  </a:lnTo>
                  <a:lnTo>
                    <a:pt x="2444" y="3333"/>
                  </a:lnTo>
                  <a:lnTo>
                    <a:pt x="2444" y="3526"/>
                  </a:lnTo>
                  <a:close/>
                  <a:moveTo>
                    <a:pt x="2444" y="4093"/>
                  </a:moveTo>
                  <a:lnTo>
                    <a:pt x="2989" y="4093"/>
                  </a:lnTo>
                  <a:lnTo>
                    <a:pt x="2989" y="3899"/>
                  </a:lnTo>
                  <a:lnTo>
                    <a:pt x="2444" y="3899"/>
                  </a:lnTo>
                  <a:lnTo>
                    <a:pt x="2444" y="4093"/>
                  </a:lnTo>
                  <a:close/>
                  <a:moveTo>
                    <a:pt x="1679" y="3899"/>
                  </a:moveTo>
                  <a:lnTo>
                    <a:pt x="465" y="3899"/>
                  </a:lnTo>
                  <a:lnTo>
                    <a:pt x="465" y="4093"/>
                  </a:lnTo>
                  <a:lnTo>
                    <a:pt x="1679" y="4093"/>
                  </a:lnTo>
                  <a:lnTo>
                    <a:pt x="1679" y="3899"/>
                  </a:lnTo>
                  <a:close/>
                  <a:moveTo>
                    <a:pt x="1776" y="4093"/>
                  </a:moveTo>
                  <a:lnTo>
                    <a:pt x="2347" y="4093"/>
                  </a:lnTo>
                  <a:lnTo>
                    <a:pt x="2347" y="3899"/>
                  </a:lnTo>
                  <a:lnTo>
                    <a:pt x="1776" y="3899"/>
                  </a:lnTo>
                  <a:lnTo>
                    <a:pt x="1776" y="4093"/>
                  </a:lnTo>
                  <a:close/>
                </a:path>
              </a:pathLst>
            </a:custGeom>
            <a:solidFill>
              <a:srgbClr val="64646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077"/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9"/>
            <p:cNvSpPr>
              <a:spLocks noChangeAspect="1" noEditPoints="1"/>
            </p:cNvSpPr>
            <p:nvPr/>
          </p:nvSpPr>
          <p:spPr bwMode="auto">
            <a:xfrm>
              <a:off x="7726468" y="4003360"/>
              <a:ext cx="378043" cy="553238"/>
            </a:xfrm>
            <a:custGeom>
              <a:avLst/>
              <a:gdLst>
                <a:gd name="T0" fmla="*/ 2147483647 w 3454"/>
                <a:gd name="T1" fmla="*/ 0 h 4763"/>
                <a:gd name="T2" fmla="*/ 2147483647 w 3454"/>
                <a:gd name="T3" fmla="*/ 2147483647 h 4763"/>
                <a:gd name="T4" fmla="*/ 2147483647 w 3454"/>
                <a:gd name="T5" fmla="*/ 2147483647 h 4763"/>
                <a:gd name="T6" fmla="*/ 2147483647 w 3454"/>
                <a:gd name="T7" fmla="*/ 2147483647 h 4763"/>
                <a:gd name="T8" fmla="*/ 2147483647 w 3454"/>
                <a:gd name="T9" fmla="*/ 2147483647 h 4763"/>
                <a:gd name="T10" fmla="*/ 2147483647 w 3454"/>
                <a:gd name="T11" fmla="*/ 2147483647 h 4763"/>
                <a:gd name="T12" fmla="*/ 2147483647 w 3454"/>
                <a:gd name="T13" fmla="*/ 2147483647 h 4763"/>
                <a:gd name="T14" fmla="*/ 2147483647 w 3454"/>
                <a:gd name="T15" fmla="*/ 2147483647 h 4763"/>
                <a:gd name="T16" fmla="*/ 2147483647 w 3454"/>
                <a:gd name="T17" fmla="*/ 2147483647 h 4763"/>
                <a:gd name="T18" fmla="*/ 2147483647 w 3454"/>
                <a:gd name="T19" fmla="*/ 2147483647 h 4763"/>
                <a:gd name="T20" fmla="*/ 2147483647 w 3454"/>
                <a:gd name="T21" fmla="*/ 2147483647 h 4763"/>
                <a:gd name="T22" fmla="*/ 2147483647 w 3454"/>
                <a:gd name="T23" fmla="*/ 2147483647 h 4763"/>
                <a:gd name="T24" fmla="*/ 2147483647 w 3454"/>
                <a:gd name="T25" fmla="*/ 0 h 4763"/>
                <a:gd name="T26" fmla="*/ 2147483647 w 3454"/>
                <a:gd name="T27" fmla="*/ 2147483647 h 4763"/>
                <a:gd name="T28" fmla="*/ 2147483647 w 3454"/>
                <a:gd name="T29" fmla="*/ 2147483647 h 4763"/>
                <a:gd name="T30" fmla="*/ 2147483647 w 3454"/>
                <a:gd name="T31" fmla="*/ 2147483647 h 4763"/>
                <a:gd name="T32" fmla="*/ 2147483647 w 3454"/>
                <a:gd name="T33" fmla="*/ 2147483647 h 4763"/>
                <a:gd name="T34" fmla="*/ 2147483647 w 3454"/>
                <a:gd name="T35" fmla="*/ 2147483647 h 4763"/>
                <a:gd name="T36" fmla="*/ 2147483647 w 3454"/>
                <a:gd name="T37" fmla="*/ 2147483647 h 4763"/>
                <a:gd name="T38" fmla="*/ 2147483647 w 3454"/>
                <a:gd name="T39" fmla="*/ 2147483647 h 4763"/>
                <a:gd name="T40" fmla="*/ 2147483647 w 3454"/>
                <a:gd name="T41" fmla="*/ 2147483647 h 4763"/>
                <a:gd name="T42" fmla="*/ 2147483647 w 3454"/>
                <a:gd name="T43" fmla="*/ 2147483647 h 4763"/>
                <a:gd name="T44" fmla="*/ 2147483647 w 3454"/>
                <a:gd name="T45" fmla="*/ 2147483647 h 4763"/>
                <a:gd name="T46" fmla="*/ 2147483647 w 3454"/>
                <a:gd name="T47" fmla="*/ 2147483647 h 4763"/>
                <a:gd name="T48" fmla="*/ 2147483647 w 3454"/>
                <a:gd name="T49" fmla="*/ 2147483647 h 4763"/>
                <a:gd name="T50" fmla="*/ 2147483647 w 3454"/>
                <a:gd name="T51" fmla="*/ 2147483647 h 4763"/>
                <a:gd name="T52" fmla="*/ 2147483647 w 3454"/>
                <a:gd name="T53" fmla="*/ 2147483647 h 4763"/>
                <a:gd name="T54" fmla="*/ 2147483647 w 3454"/>
                <a:gd name="T55" fmla="*/ 2147483647 h 4763"/>
                <a:gd name="T56" fmla="*/ 2147483647 w 3454"/>
                <a:gd name="T57" fmla="*/ 2147483647 h 4763"/>
                <a:gd name="T58" fmla="*/ 2147483647 w 3454"/>
                <a:gd name="T59" fmla="*/ 2147483647 h 4763"/>
                <a:gd name="T60" fmla="*/ 2147483647 w 3454"/>
                <a:gd name="T61" fmla="*/ 2147483647 h 4763"/>
                <a:gd name="T62" fmla="*/ 2147483647 w 3454"/>
                <a:gd name="T63" fmla="*/ 2147483647 h 4763"/>
                <a:gd name="T64" fmla="*/ 2147483647 w 3454"/>
                <a:gd name="T65" fmla="*/ 2147483647 h 4763"/>
                <a:gd name="T66" fmla="*/ 2147483647 w 3454"/>
                <a:gd name="T67" fmla="*/ 2147483647 h 4763"/>
                <a:gd name="T68" fmla="*/ 2147483647 w 3454"/>
                <a:gd name="T69" fmla="*/ 2147483647 h 4763"/>
                <a:gd name="T70" fmla="*/ 2147483647 w 3454"/>
                <a:gd name="T71" fmla="*/ 2147483647 h 4763"/>
                <a:gd name="T72" fmla="*/ 2147483647 w 3454"/>
                <a:gd name="T73" fmla="*/ 2147483647 h 4763"/>
                <a:gd name="T74" fmla="*/ 2147483647 w 3454"/>
                <a:gd name="T75" fmla="*/ 2147483647 h 4763"/>
                <a:gd name="T76" fmla="*/ 2147483647 w 3454"/>
                <a:gd name="T77" fmla="*/ 2147483647 h 4763"/>
                <a:gd name="T78" fmla="*/ 2147483647 w 3454"/>
                <a:gd name="T79" fmla="*/ 2147483647 h 4763"/>
                <a:gd name="T80" fmla="*/ 2147483647 w 3454"/>
                <a:gd name="T81" fmla="*/ 2147483647 h 4763"/>
                <a:gd name="T82" fmla="*/ 2147483647 w 3454"/>
                <a:gd name="T83" fmla="*/ 2147483647 h 4763"/>
                <a:gd name="T84" fmla="*/ 2147483647 w 3454"/>
                <a:gd name="T85" fmla="*/ 2147483647 h 4763"/>
                <a:gd name="T86" fmla="*/ 2147483647 w 3454"/>
                <a:gd name="T87" fmla="*/ 2147483647 h 4763"/>
                <a:gd name="T88" fmla="*/ 2147483647 w 3454"/>
                <a:gd name="T89" fmla="*/ 2147483647 h 4763"/>
                <a:gd name="T90" fmla="*/ 2147483647 w 3454"/>
                <a:gd name="T91" fmla="*/ 2147483647 h 4763"/>
                <a:gd name="T92" fmla="*/ 2147483647 w 3454"/>
                <a:gd name="T93" fmla="*/ 2147483647 h 47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454"/>
                <a:gd name="T142" fmla="*/ 0 h 4763"/>
                <a:gd name="T143" fmla="*/ 3454 w 3454"/>
                <a:gd name="T144" fmla="*/ 4763 h 47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454" h="4763">
                  <a:moveTo>
                    <a:pt x="3264" y="0"/>
                  </a:moveTo>
                  <a:lnTo>
                    <a:pt x="190" y="0"/>
                  </a:lnTo>
                  <a:lnTo>
                    <a:pt x="170" y="1"/>
                  </a:lnTo>
                  <a:lnTo>
                    <a:pt x="152" y="4"/>
                  </a:lnTo>
                  <a:lnTo>
                    <a:pt x="134" y="8"/>
                  </a:lnTo>
                  <a:lnTo>
                    <a:pt x="116" y="14"/>
                  </a:lnTo>
                  <a:lnTo>
                    <a:pt x="100" y="23"/>
                  </a:lnTo>
                  <a:lnTo>
                    <a:pt x="85" y="33"/>
                  </a:lnTo>
                  <a:lnTo>
                    <a:pt x="70" y="43"/>
                  </a:lnTo>
                  <a:lnTo>
                    <a:pt x="56" y="56"/>
                  </a:lnTo>
                  <a:lnTo>
                    <a:pt x="43" y="69"/>
                  </a:lnTo>
                  <a:lnTo>
                    <a:pt x="33" y="83"/>
                  </a:lnTo>
                  <a:lnTo>
                    <a:pt x="23" y="99"/>
                  </a:lnTo>
                  <a:lnTo>
                    <a:pt x="16" y="116"/>
                  </a:lnTo>
                  <a:lnTo>
                    <a:pt x="8" y="133"/>
                  </a:lnTo>
                  <a:lnTo>
                    <a:pt x="4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0" y="4763"/>
                  </a:lnTo>
                  <a:lnTo>
                    <a:pt x="3454" y="4763"/>
                  </a:lnTo>
                  <a:lnTo>
                    <a:pt x="3454" y="190"/>
                  </a:lnTo>
                  <a:lnTo>
                    <a:pt x="3453" y="170"/>
                  </a:lnTo>
                  <a:lnTo>
                    <a:pt x="3450" y="151"/>
                  </a:lnTo>
                  <a:lnTo>
                    <a:pt x="3446" y="133"/>
                  </a:lnTo>
                  <a:lnTo>
                    <a:pt x="3440" y="116"/>
                  </a:lnTo>
                  <a:lnTo>
                    <a:pt x="3431" y="99"/>
                  </a:lnTo>
                  <a:lnTo>
                    <a:pt x="3421" y="83"/>
                  </a:lnTo>
                  <a:lnTo>
                    <a:pt x="3411" y="69"/>
                  </a:lnTo>
                  <a:lnTo>
                    <a:pt x="3398" y="56"/>
                  </a:lnTo>
                  <a:lnTo>
                    <a:pt x="3385" y="43"/>
                  </a:lnTo>
                  <a:lnTo>
                    <a:pt x="3371" y="33"/>
                  </a:lnTo>
                  <a:lnTo>
                    <a:pt x="3355" y="23"/>
                  </a:lnTo>
                  <a:lnTo>
                    <a:pt x="3338" y="14"/>
                  </a:lnTo>
                  <a:lnTo>
                    <a:pt x="3321" y="8"/>
                  </a:lnTo>
                  <a:lnTo>
                    <a:pt x="3303" y="4"/>
                  </a:lnTo>
                  <a:lnTo>
                    <a:pt x="3284" y="1"/>
                  </a:lnTo>
                  <a:lnTo>
                    <a:pt x="3264" y="0"/>
                  </a:lnTo>
                  <a:close/>
                  <a:moveTo>
                    <a:pt x="3261" y="4570"/>
                  </a:moveTo>
                  <a:lnTo>
                    <a:pt x="193" y="4570"/>
                  </a:lnTo>
                  <a:lnTo>
                    <a:pt x="193" y="190"/>
                  </a:lnTo>
                  <a:lnTo>
                    <a:pt x="3264" y="193"/>
                  </a:lnTo>
                  <a:lnTo>
                    <a:pt x="3261" y="4570"/>
                  </a:lnTo>
                  <a:close/>
                  <a:moveTo>
                    <a:pt x="1277" y="1192"/>
                  </a:moveTo>
                  <a:lnTo>
                    <a:pt x="1209" y="1125"/>
                  </a:lnTo>
                  <a:lnTo>
                    <a:pt x="1040" y="1293"/>
                  </a:lnTo>
                  <a:lnTo>
                    <a:pt x="1108" y="1361"/>
                  </a:lnTo>
                  <a:lnTo>
                    <a:pt x="1277" y="1192"/>
                  </a:lnTo>
                  <a:close/>
                  <a:moveTo>
                    <a:pt x="2444" y="2391"/>
                  </a:moveTo>
                  <a:lnTo>
                    <a:pt x="2989" y="2391"/>
                  </a:lnTo>
                  <a:lnTo>
                    <a:pt x="2989" y="2197"/>
                  </a:lnTo>
                  <a:lnTo>
                    <a:pt x="2444" y="2197"/>
                  </a:lnTo>
                  <a:lnTo>
                    <a:pt x="2444" y="2391"/>
                  </a:lnTo>
                  <a:close/>
                  <a:moveTo>
                    <a:pt x="2989" y="643"/>
                  </a:moveTo>
                  <a:lnTo>
                    <a:pt x="2892" y="643"/>
                  </a:lnTo>
                  <a:lnTo>
                    <a:pt x="2892" y="1529"/>
                  </a:lnTo>
                  <a:lnTo>
                    <a:pt x="562" y="1529"/>
                  </a:lnTo>
                  <a:lnTo>
                    <a:pt x="562" y="739"/>
                  </a:lnTo>
                  <a:lnTo>
                    <a:pt x="2699" y="739"/>
                  </a:lnTo>
                  <a:lnTo>
                    <a:pt x="2699" y="643"/>
                  </a:lnTo>
                  <a:lnTo>
                    <a:pt x="465" y="643"/>
                  </a:lnTo>
                  <a:lnTo>
                    <a:pt x="465" y="1626"/>
                  </a:lnTo>
                  <a:lnTo>
                    <a:pt x="2989" y="1626"/>
                  </a:lnTo>
                  <a:lnTo>
                    <a:pt x="2989" y="643"/>
                  </a:lnTo>
                  <a:close/>
                  <a:moveTo>
                    <a:pt x="1776" y="2391"/>
                  </a:moveTo>
                  <a:lnTo>
                    <a:pt x="2347" y="2391"/>
                  </a:lnTo>
                  <a:lnTo>
                    <a:pt x="2347" y="2197"/>
                  </a:lnTo>
                  <a:lnTo>
                    <a:pt x="1776" y="2197"/>
                  </a:lnTo>
                  <a:lnTo>
                    <a:pt x="1776" y="2391"/>
                  </a:lnTo>
                  <a:close/>
                  <a:moveTo>
                    <a:pt x="1108" y="2391"/>
                  </a:moveTo>
                  <a:lnTo>
                    <a:pt x="1679" y="2391"/>
                  </a:lnTo>
                  <a:lnTo>
                    <a:pt x="1679" y="2197"/>
                  </a:lnTo>
                  <a:lnTo>
                    <a:pt x="1108" y="2197"/>
                  </a:lnTo>
                  <a:lnTo>
                    <a:pt x="1108" y="2391"/>
                  </a:lnTo>
                  <a:close/>
                  <a:moveTo>
                    <a:pt x="1011" y="2197"/>
                  </a:moveTo>
                  <a:lnTo>
                    <a:pt x="465" y="2197"/>
                  </a:lnTo>
                  <a:lnTo>
                    <a:pt x="465" y="2391"/>
                  </a:lnTo>
                  <a:lnTo>
                    <a:pt x="1011" y="2391"/>
                  </a:lnTo>
                  <a:lnTo>
                    <a:pt x="1011" y="2197"/>
                  </a:lnTo>
                  <a:close/>
                  <a:moveTo>
                    <a:pt x="743" y="1293"/>
                  </a:moveTo>
                  <a:lnTo>
                    <a:pt x="811" y="1361"/>
                  </a:lnTo>
                  <a:lnTo>
                    <a:pt x="1197" y="975"/>
                  </a:lnTo>
                  <a:lnTo>
                    <a:pt x="1130" y="906"/>
                  </a:lnTo>
                  <a:lnTo>
                    <a:pt x="743" y="1293"/>
                  </a:lnTo>
                  <a:close/>
                  <a:moveTo>
                    <a:pt x="1776" y="2958"/>
                  </a:moveTo>
                  <a:lnTo>
                    <a:pt x="2347" y="2958"/>
                  </a:lnTo>
                  <a:lnTo>
                    <a:pt x="2347" y="2765"/>
                  </a:lnTo>
                  <a:lnTo>
                    <a:pt x="1776" y="2765"/>
                  </a:lnTo>
                  <a:lnTo>
                    <a:pt x="1776" y="2958"/>
                  </a:lnTo>
                  <a:close/>
                  <a:moveTo>
                    <a:pt x="1108" y="2958"/>
                  </a:moveTo>
                  <a:lnTo>
                    <a:pt x="1679" y="2958"/>
                  </a:lnTo>
                  <a:lnTo>
                    <a:pt x="1679" y="2765"/>
                  </a:lnTo>
                  <a:lnTo>
                    <a:pt x="1108" y="2765"/>
                  </a:lnTo>
                  <a:lnTo>
                    <a:pt x="1108" y="2958"/>
                  </a:lnTo>
                  <a:close/>
                  <a:moveTo>
                    <a:pt x="1011" y="2765"/>
                  </a:moveTo>
                  <a:lnTo>
                    <a:pt x="465" y="2765"/>
                  </a:lnTo>
                  <a:lnTo>
                    <a:pt x="465" y="2958"/>
                  </a:lnTo>
                  <a:lnTo>
                    <a:pt x="1011" y="2958"/>
                  </a:lnTo>
                  <a:lnTo>
                    <a:pt x="1011" y="2765"/>
                  </a:lnTo>
                  <a:close/>
                  <a:moveTo>
                    <a:pt x="2444" y="2958"/>
                  </a:moveTo>
                  <a:lnTo>
                    <a:pt x="2989" y="2958"/>
                  </a:lnTo>
                  <a:lnTo>
                    <a:pt x="2989" y="2765"/>
                  </a:lnTo>
                  <a:lnTo>
                    <a:pt x="2444" y="2765"/>
                  </a:lnTo>
                  <a:lnTo>
                    <a:pt x="2444" y="2958"/>
                  </a:lnTo>
                  <a:close/>
                  <a:moveTo>
                    <a:pt x="1776" y="3526"/>
                  </a:moveTo>
                  <a:lnTo>
                    <a:pt x="2347" y="3526"/>
                  </a:lnTo>
                  <a:lnTo>
                    <a:pt x="2347" y="3333"/>
                  </a:lnTo>
                  <a:lnTo>
                    <a:pt x="1776" y="3333"/>
                  </a:lnTo>
                  <a:lnTo>
                    <a:pt x="1776" y="3526"/>
                  </a:lnTo>
                  <a:close/>
                  <a:moveTo>
                    <a:pt x="1108" y="3526"/>
                  </a:moveTo>
                  <a:lnTo>
                    <a:pt x="1679" y="3526"/>
                  </a:lnTo>
                  <a:lnTo>
                    <a:pt x="1679" y="3333"/>
                  </a:lnTo>
                  <a:lnTo>
                    <a:pt x="1108" y="3333"/>
                  </a:lnTo>
                  <a:lnTo>
                    <a:pt x="1108" y="3526"/>
                  </a:lnTo>
                  <a:close/>
                  <a:moveTo>
                    <a:pt x="1011" y="3333"/>
                  </a:moveTo>
                  <a:lnTo>
                    <a:pt x="465" y="3333"/>
                  </a:lnTo>
                  <a:lnTo>
                    <a:pt x="465" y="3526"/>
                  </a:lnTo>
                  <a:lnTo>
                    <a:pt x="1011" y="3526"/>
                  </a:lnTo>
                  <a:lnTo>
                    <a:pt x="1011" y="3333"/>
                  </a:lnTo>
                  <a:close/>
                  <a:moveTo>
                    <a:pt x="2444" y="3526"/>
                  </a:moveTo>
                  <a:lnTo>
                    <a:pt x="2989" y="3526"/>
                  </a:lnTo>
                  <a:lnTo>
                    <a:pt x="2989" y="3333"/>
                  </a:lnTo>
                  <a:lnTo>
                    <a:pt x="2444" y="3333"/>
                  </a:lnTo>
                  <a:lnTo>
                    <a:pt x="2444" y="3526"/>
                  </a:lnTo>
                  <a:close/>
                  <a:moveTo>
                    <a:pt x="2444" y="4093"/>
                  </a:moveTo>
                  <a:lnTo>
                    <a:pt x="2989" y="4093"/>
                  </a:lnTo>
                  <a:lnTo>
                    <a:pt x="2989" y="3899"/>
                  </a:lnTo>
                  <a:lnTo>
                    <a:pt x="2444" y="3899"/>
                  </a:lnTo>
                  <a:lnTo>
                    <a:pt x="2444" y="4093"/>
                  </a:lnTo>
                  <a:close/>
                  <a:moveTo>
                    <a:pt x="1679" y="3899"/>
                  </a:moveTo>
                  <a:lnTo>
                    <a:pt x="465" y="3899"/>
                  </a:lnTo>
                  <a:lnTo>
                    <a:pt x="465" y="4093"/>
                  </a:lnTo>
                  <a:lnTo>
                    <a:pt x="1679" y="4093"/>
                  </a:lnTo>
                  <a:lnTo>
                    <a:pt x="1679" y="3899"/>
                  </a:lnTo>
                  <a:close/>
                  <a:moveTo>
                    <a:pt x="1776" y="4093"/>
                  </a:moveTo>
                  <a:lnTo>
                    <a:pt x="2347" y="4093"/>
                  </a:lnTo>
                  <a:lnTo>
                    <a:pt x="2347" y="3899"/>
                  </a:lnTo>
                  <a:lnTo>
                    <a:pt x="1776" y="3899"/>
                  </a:lnTo>
                  <a:lnTo>
                    <a:pt x="1776" y="4093"/>
                  </a:lnTo>
                  <a:close/>
                </a:path>
              </a:pathLst>
            </a:custGeom>
            <a:solidFill>
              <a:srgbClr val="64646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077"/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108" name="Freeform 9"/>
            <p:cNvSpPr>
              <a:spLocks noChangeAspect="1" noEditPoints="1"/>
            </p:cNvSpPr>
            <p:nvPr/>
          </p:nvSpPr>
          <p:spPr bwMode="auto">
            <a:xfrm>
              <a:off x="9494870" y="4003360"/>
              <a:ext cx="378043" cy="553238"/>
            </a:xfrm>
            <a:custGeom>
              <a:avLst/>
              <a:gdLst>
                <a:gd name="T0" fmla="*/ 2147483647 w 3454"/>
                <a:gd name="T1" fmla="*/ 0 h 4763"/>
                <a:gd name="T2" fmla="*/ 2147483647 w 3454"/>
                <a:gd name="T3" fmla="*/ 2147483647 h 4763"/>
                <a:gd name="T4" fmla="*/ 2147483647 w 3454"/>
                <a:gd name="T5" fmla="*/ 2147483647 h 4763"/>
                <a:gd name="T6" fmla="*/ 2147483647 w 3454"/>
                <a:gd name="T7" fmla="*/ 2147483647 h 4763"/>
                <a:gd name="T8" fmla="*/ 2147483647 w 3454"/>
                <a:gd name="T9" fmla="*/ 2147483647 h 4763"/>
                <a:gd name="T10" fmla="*/ 2147483647 w 3454"/>
                <a:gd name="T11" fmla="*/ 2147483647 h 4763"/>
                <a:gd name="T12" fmla="*/ 2147483647 w 3454"/>
                <a:gd name="T13" fmla="*/ 2147483647 h 4763"/>
                <a:gd name="T14" fmla="*/ 2147483647 w 3454"/>
                <a:gd name="T15" fmla="*/ 2147483647 h 4763"/>
                <a:gd name="T16" fmla="*/ 2147483647 w 3454"/>
                <a:gd name="T17" fmla="*/ 2147483647 h 4763"/>
                <a:gd name="T18" fmla="*/ 2147483647 w 3454"/>
                <a:gd name="T19" fmla="*/ 2147483647 h 4763"/>
                <a:gd name="T20" fmla="*/ 2147483647 w 3454"/>
                <a:gd name="T21" fmla="*/ 2147483647 h 4763"/>
                <a:gd name="T22" fmla="*/ 2147483647 w 3454"/>
                <a:gd name="T23" fmla="*/ 2147483647 h 4763"/>
                <a:gd name="T24" fmla="*/ 2147483647 w 3454"/>
                <a:gd name="T25" fmla="*/ 0 h 4763"/>
                <a:gd name="T26" fmla="*/ 2147483647 w 3454"/>
                <a:gd name="T27" fmla="*/ 2147483647 h 4763"/>
                <a:gd name="T28" fmla="*/ 2147483647 w 3454"/>
                <a:gd name="T29" fmla="*/ 2147483647 h 4763"/>
                <a:gd name="T30" fmla="*/ 2147483647 w 3454"/>
                <a:gd name="T31" fmla="*/ 2147483647 h 4763"/>
                <a:gd name="T32" fmla="*/ 2147483647 w 3454"/>
                <a:gd name="T33" fmla="*/ 2147483647 h 4763"/>
                <a:gd name="T34" fmla="*/ 2147483647 w 3454"/>
                <a:gd name="T35" fmla="*/ 2147483647 h 4763"/>
                <a:gd name="T36" fmla="*/ 2147483647 w 3454"/>
                <a:gd name="T37" fmla="*/ 2147483647 h 4763"/>
                <a:gd name="T38" fmla="*/ 2147483647 w 3454"/>
                <a:gd name="T39" fmla="*/ 2147483647 h 4763"/>
                <a:gd name="T40" fmla="*/ 2147483647 w 3454"/>
                <a:gd name="T41" fmla="*/ 2147483647 h 4763"/>
                <a:gd name="T42" fmla="*/ 2147483647 w 3454"/>
                <a:gd name="T43" fmla="*/ 2147483647 h 4763"/>
                <a:gd name="T44" fmla="*/ 2147483647 w 3454"/>
                <a:gd name="T45" fmla="*/ 2147483647 h 4763"/>
                <a:gd name="T46" fmla="*/ 2147483647 w 3454"/>
                <a:gd name="T47" fmla="*/ 2147483647 h 4763"/>
                <a:gd name="T48" fmla="*/ 2147483647 w 3454"/>
                <a:gd name="T49" fmla="*/ 2147483647 h 4763"/>
                <a:gd name="T50" fmla="*/ 2147483647 w 3454"/>
                <a:gd name="T51" fmla="*/ 2147483647 h 4763"/>
                <a:gd name="T52" fmla="*/ 2147483647 w 3454"/>
                <a:gd name="T53" fmla="*/ 2147483647 h 4763"/>
                <a:gd name="T54" fmla="*/ 2147483647 w 3454"/>
                <a:gd name="T55" fmla="*/ 2147483647 h 4763"/>
                <a:gd name="T56" fmla="*/ 2147483647 w 3454"/>
                <a:gd name="T57" fmla="*/ 2147483647 h 4763"/>
                <a:gd name="T58" fmla="*/ 2147483647 w 3454"/>
                <a:gd name="T59" fmla="*/ 2147483647 h 4763"/>
                <a:gd name="T60" fmla="*/ 2147483647 w 3454"/>
                <a:gd name="T61" fmla="*/ 2147483647 h 4763"/>
                <a:gd name="T62" fmla="*/ 2147483647 w 3454"/>
                <a:gd name="T63" fmla="*/ 2147483647 h 4763"/>
                <a:gd name="T64" fmla="*/ 2147483647 w 3454"/>
                <a:gd name="T65" fmla="*/ 2147483647 h 4763"/>
                <a:gd name="T66" fmla="*/ 2147483647 w 3454"/>
                <a:gd name="T67" fmla="*/ 2147483647 h 4763"/>
                <a:gd name="T68" fmla="*/ 2147483647 w 3454"/>
                <a:gd name="T69" fmla="*/ 2147483647 h 4763"/>
                <a:gd name="T70" fmla="*/ 2147483647 w 3454"/>
                <a:gd name="T71" fmla="*/ 2147483647 h 4763"/>
                <a:gd name="T72" fmla="*/ 2147483647 w 3454"/>
                <a:gd name="T73" fmla="*/ 2147483647 h 4763"/>
                <a:gd name="T74" fmla="*/ 2147483647 w 3454"/>
                <a:gd name="T75" fmla="*/ 2147483647 h 4763"/>
                <a:gd name="T76" fmla="*/ 2147483647 w 3454"/>
                <a:gd name="T77" fmla="*/ 2147483647 h 4763"/>
                <a:gd name="T78" fmla="*/ 2147483647 w 3454"/>
                <a:gd name="T79" fmla="*/ 2147483647 h 4763"/>
                <a:gd name="T80" fmla="*/ 2147483647 w 3454"/>
                <a:gd name="T81" fmla="*/ 2147483647 h 4763"/>
                <a:gd name="T82" fmla="*/ 2147483647 w 3454"/>
                <a:gd name="T83" fmla="*/ 2147483647 h 4763"/>
                <a:gd name="T84" fmla="*/ 2147483647 w 3454"/>
                <a:gd name="T85" fmla="*/ 2147483647 h 4763"/>
                <a:gd name="T86" fmla="*/ 2147483647 w 3454"/>
                <a:gd name="T87" fmla="*/ 2147483647 h 4763"/>
                <a:gd name="T88" fmla="*/ 2147483647 w 3454"/>
                <a:gd name="T89" fmla="*/ 2147483647 h 4763"/>
                <a:gd name="T90" fmla="*/ 2147483647 w 3454"/>
                <a:gd name="T91" fmla="*/ 2147483647 h 4763"/>
                <a:gd name="T92" fmla="*/ 2147483647 w 3454"/>
                <a:gd name="T93" fmla="*/ 2147483647 h 47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454"/>
                <a:gd name="T142" fmla="*/ 0 h 4763"/>
                <a:gd name="T143" fmla="*/ 3454 w 3454"/>
                <a:gd name="T144" fmla="*/ 4763 h 47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454" h="4763">
                  <a:moveTo>
                    <a:pt x="3264" y="0"/>
                  </a:moveTo>
                  <a:lnTo>
                    <a:pt x="190" y="0"/>
                  </a:lnTo>
                  <a:lnTo>
                    <a:pt x="170" y="1"/>
                  </a:lnTo>
                  <a:lnTo>
                    <a:pt x="152" y="4"/>
                  </a:lnTo>
                  <a:lnTo>
                    <a:pt x="134" y="8"/>
                  </a:lnTo>
                  <a:lnTo>
                    <a:pt x="116" y="14"/>
                  </a:lnTo>
                  <a:lnTo>
                    <a:pt x="100" y="23"/>
                  </a:lnTo>
                  <a:lnTo>
                    <a:pt x="85" y="33"/>
                  </a:lnTo>
                  <a:lnTo>
                    <a:pt x="70" y="43"/>
                  </a:lnTo>
                  <a:lnTo>
                    <a:pt x="56" y="56"/>
                  </a:lnTo>
                  <a:lnTo>
                    <a:pt x="43" y="69"/>
                  </a:lnTo>
                  <a:lnTo>
                    <a:pt x="33" y="83"/>
                  </a:lnTo>
                  <a:lnTo>
                    <a:pt x="23" y="99"/>
                  </a:lnTo>
                  <a:lnTo>
                    <a:pt x="16" y="116"/>
                  </a:lnTo>
                  <a:lnTo>
                    <a:pt x="8" y="133"/>
                  </a:lnTo>
                  <a:lnTo>
                    <a:pt x="4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0" y="4763"/>
                  </a:lnTo>
                  <a:lnTo>
                    <a:pt x="3454" y="4763"/>
                  </a:lnTo>
                  <a:lnTo>
                    <a:pt x="3454" y="190"/>
                  </a:lnTo>
                  <a:lnTo>
                    <a:pt x="3453" y="170"/>
                  </a:lnTo>
                  <a:lnTo>
                    <a:pt x="3450" y="151"/>
                  </a:lnTo>
                  <a:lnTo>
                    <a:pt x="3446" y="133"/>
                  </a:lnTo>
                  <a:lnTo>
                    <a:pt x="3440" y="116"/>
                  </a:lnTo>
                  <a:lnTo>
                    <a:pt x="3431" y="99"/>
                  </a:lnTo>
                  <a:lnTo>
                    <a:pt x="3421" y="83"/>
                  </a:lnTo>
                  <a:lnTo>
                    <a:pt x="3411" y="69"/>
                  </a:lnTo>
                  <a:lnTo>
                    <a:pt x="3398" y="56"/>
                  </a:lnTo>
                  <a:lnTo>
                    <a:pt x="3385" y="43"/>
                  </a:lnTo>
                  <a:lnTo>
                    <a:pt x="3371" y="33"/>
                  </a:lnTo>
                  <a:lnTo>
                    <a:pt x="3355" y="23"/>
                  </a:lnTo>
                  <a:lnTo>
                    <a:pt x="3338" y="14"/>
                  </a:lnTo>
                  <a:lnTo>
                    <a:pt x="3321" y="8"/>
                  </a:lnTo>
                  <a:lnTo>
                    <a:pt x="3303" y="4"/>
                  </a:lnTo>
                  <a:lnTo>
                    <a:pt x="3284" y="1"/>
                  </a:lnTo>
                  <a:lnTo>
                    <a:pt x="3264" y="0"/>
                  </a:lnTo>
                  <a:close/>
                  <a:moveTo>
                    <a:pt x="3261" y="4570"/>
                  </a:moveTo>
                  <a:lnTo>
                    <a:pt x="193" y="4570"/>
                  </a:lnTo>
                  <a:lnTo>
                    <a:pt x="193" y="190"/>
                  </a:lnTo>
                  <a:lnTo>
                    <a:pt x="3264" y="193"/>
                  </a:lnTo>
                  <a:lnTo>
                    <a:pt x="3261" y="4570"/>
                  </a:lnTo>
                  <a:close/>
                  <a:moveTo>
                    <a:pt x="1277" y="1192"/>
                  </a:moveTo>
                  <a:lnTo>
                    <a:pt x="1209" y="1125"/>
                  </a:lnTo>
                  <a:lnTo>
                    <a:pt x="1040" y="1293"/>
                  </a:lnTo>
                  <a:lnTo>
                    <a:pt x="1108" y="1361"/>
                  </a:lnTo>
                  <a:lnTo>
                    <a:pt x="1277" y="1192"/>
                  </a:lnTo>
                  <a:close/>
                  <a:moveTo>
                    <a:pt x="2444" y="2391"/>
                  </a:moveTo>
                  <a:lnTo>
                    <a:pt x="2989" y="2391"/>
                  </a:lnTo>
                  <a:lnTo>
                    <a:pt x="2989" y="2197"/>
                  </a:lnTo>
                  <a:lnTo>
                    <a:pt x="2444" y="2197"/>
                  </a:lnTo>
                  <a:lnTo>
                    <a:pt x="2444" y="2391"/>
                  </a:lnTo>
                  <a:close/>
                  <a:moveTo>
                    <a:pt x="2989" y="643"/>
                  </a:moveTo>
                  <a:lnTo>
                    <a:pt x="2892" y="643"/>
                  </a:lnTo>
                  <a:lnTo>
                    <a:pt x="2892" y="1529"/>
                  </a:lnTo>
                  <a:lnTo>
                    <a:pt x="562" y="1529"/>
                  </a:lnTo>
                  <a:lnTo>
                    <a:pt x="562" y="739"/>
                  </a:lnTo>
                  <a:lnTo>
                    <a:pt x="2699" y="739"/>
                  </a:lnTo>
                  <a:lnTo>
                    <a:pt x="2699" y="643"/>
                  </a:lnTo>
                  <a:lnTo>
                    <a:pt x="465" y="643"/>
                  </a:lnTo>
                  <a:lnTo>
                    <a:pt x="465" y="1626"/>
                  </a:lnTo>
                  <a:lnTo>
                    <a:pt x="2989" y="1626"/>
                  </a:lnTo>
                  <a:lnTo>
                    <a:pt x="2989" y="643"/>
                  </a:lnTo>
                  <a:close/>
                  <a:moveTo>
                    <a:pt x="1776" y="2391"/>
                  </a:moveTo>
                  <a:lnTo>
                    <a:pt x="2347" y="2391"/>
                  </a:lnTo>
                  <a:lnTo>
                    <a:pt x="2347" y="2197"/>
                  </a:lnTo>
                  <a:lnTo>
                    <a:pt x="1776" y="2197"/>
                  </a:lnTo>
                  <a:lnTo>
                    <a:pt x="1776" y="2391"/>
                  </a:lnTo>
                  <a:close/>
                  <a:moveTo>
                    <a:pt x="1108" y="2391"/>
                  </a:moveTo>
                  <a:lnTo>
                    <a:pt x="1679" y="2391"/>
                  </a:lnTo>
                  <a:lnTo>
                    <a:pt x="1679" y="2197"/>
                  </a:lnTo>
                  <a:lnTo>
                    <a:pt x="1108" y="2197"/>
                  </a:lnTo>
                  <a:lnTo>
                    <a:pt x="1108" y="2391"/>
                  </a:lnTo>
                  <a:close/>
                  <a:moveTo>
                    <a:pt x="1011" y="2197"/>
                  </a:moveTo>
                  <a:lnTo>
                    <a:pt x="465" y="2197"/>
                  </a:lnTo>
                  <a:lnTo>
                    <a:pt x="465" y="2391"/>
                  </a:lnTo>
                  <a:lnTo>
                    <a:pt x="1011" y="2391"/>
                  </a:lnTo>
                  <a:lnTo>
                    <a:pt x="1011" y="2197"/>
                  </a:lnTo>
                  <a:close/>
                  <a:moveTo>
                    <a:pt x="743" y="1293"/>
                  </a:moveTo>
                  <a:lnTo>
                    <a:pt x="811" y="1361"/>
                  </a:lnTo>
                  <a:lnTo>
                    <a:pt x="1197" y="975"/>
                  </a:lnTo>
                  <a:lnTo>
                    <a:pt x="1130" y="906"/>
                  </a:lnTo>
                  <a:lnTo>
                    <a:pt x="743" y="1293"/>
                  </a:lnTo>
                  <a:close/>
                  <a:moveTo>
                    <a:pt x="1776" y="2958"/>
                  </a:moveTo>
                  <a:lnTo>
                    <a:pt x="2347" y="2958"/>
                  </a:lnTo>
                  <a:lnTo>
                    <a:pt x="2347" y="2765"/>
                  </a:lnTo>
                  <a:lnTo>
                    <a:pt x="1776" y="2765"/>
                  </a:lnTo>
                  <a:lnTo>
                    <a:pt x="1776" y="2958"/>
                  </a:lnTo>
                  <a:close/>
                  <a:moveTo>
                    <a:pt x="1108" y="2958"/>
                  </a:moveTo>
                  <a:lnTo>
                    <a:pt x="1679" y="2958"/>
                  </a:lnTo>
                  <a:lnTo>
                    <a:pt x="1679" y="2765"/>
                  </a:lnTo>
                  <a:lnTo>
                    <a:pt x="1108" y="2765"/>
                  </a:lnTo>
                  <a:lnTo>
                    <a:pt x="1108" y="2958"/>
                  </a:lnTo>
                  <a:close/>
                  <a:moveTo>
                    <a:pt x="1011" y="2765"/>
                  </a:moveTo>
                  <a:lnTo>
                    <a:pt x="465" y="2765"/>
                  </a:lnTo>
                  <a:lnTo>
                    <a:pt x="465" y="2958"/>
                  </a:lnTo>
                  <a:lnTo>
                    <a:pt x="1011" y="2958"/>
                  </a:lnTo>
                  <a:lnTo>
                    <a:pt x="1011" y="2765"/>
                  </a:lnTo>
                  <a:close/>
                  <a:moveTo>
                    <a:pt x="2444" y="2958"/>
                  </a:moveTo>
                  <a:lnTo>
                    <a:pt x="2989" y="2958"/>
                  </a:lnTo>
                  <a:lnTo>
                    <a:pt x="2989" y="2765"/>
                  </a:lnTo>
                  <a:lnTo>
                    <a:pt x="2444" y="2765"/>
                  </a:lnTo>
                  <a:lnTo>
                    <a:pt x="2444" y="2958"/>
                  </a:lnTo>
                  <a:close/>
                  <a:moveTo>
                    <a:pt x="1776" y="3526"/>
                  </a:moveTo>
                  <a:lnTo>
                    <a:pt x="2347" y="3526"/>
                  </a:lnTo>
                  <a:lnTo>
                    <a:pt x="2347" y="3333"/>
                  </a:lnTo>
                  <a:lnTo>
                    <a:pt x="1776" y="3333"/>
                  </a:lnTo>
                  <a:lnTo>
                    <a:pt x="1776" y="3526"/>
                  </a:lnTo>
                  <a:close/>
                  <a:moveTo>
                    <a:pt x="1108" y="3526"/>
                  </a:moveTo>
                  <a:lnTo>
                    <a:pt x="1679" y="3526"/>
                  </a:lnTo>
                  <a:lnTo>
                    <a:pt x="1679" y="3333"/>
                  </a:lnTo>
                  <a:lnTo>
                    <a:pt x="1108" y="3333"/>
                  </a:lnTo>
                  <a:lnTo>
                    <a:pt x="1108" y="3526"/>
                  </a:lnTo>
                  <a:close/>
                  <a:moveTo>
                    <a:pt x="1011" y="3333"/>
                  </a:moveTo>
                  <a:lnTo>
                    <a:pt x="465" y="3333"/>
                  </a:lnTo>
                  <a:lnTo>
                    <a:pt x="465" y="3526"/>
                  </a:lnTo>
                  <a:lnTo>
                    <a:pt x="1011" y="3526"/>
                  </a:lnTo>
                  <a:lnTo>
                    <a:pt x="1011" y="3333"/>
                  </a:lnTo>
                  <a:close/>
                  <a:moveTo>
                    <a:pt x="2444" y="3526"/>
                  </a:moveTo>
                  <a:lnTo>
                    <a:pt x="2989" y="3526"/>
                  </a:lnTo>
                  <a:lnTo>
                    <a:pt x="2989" y="3333"/>
                  </a:lnTo>
                  <a:lnTo>
                    <a:pt x="2444" y="3333"/>
                  </a:lnTo>
                  <a:lnTo>
                    <a:pt x="2444" y="3526"/>
                  </a:lnTo>
                  <a:close/>
                  <a:moveTo>
                    <a:pt x="2444" y="4093"/>
                  </a:moveTo>
                  <a:lnTo>
                    <a:pt x="2989" y="4093"/>
                  </a:lnTo>
                  <a:lnTo>
                    <a:pt x="2989" y="3899"/>
                  </a:lnTo>
                  <a:lnTo>
                    <a:pt x="2444" y="3899"/>
                  </a:lnTo>
                  <a:lnTo>
                    <a:pt x="2444" y="4093"/>
                  </a:lnTo>
                  <a:close/>
                  <a:moveTo>
                    <a:pt x="1679" y="3899"/>
                  </a:moveTo>
                  <a:lnTo>
                    <a:pt x="465" y="3899"/>
                  </a:lnTo>
                  <a:lnTo>
                    <a:pt x="465" y="4093"/>
                  </a:lnTo>
                  <a:lnTo>
                    <a:pt x="1679" y="4093"/>
                  </a:lnTo>
                  <a:lnTo>
                    <a:pt x="1679" y="3899"/>
                  </a:lnTo>
                  <a:close/>
                  <a:moveTo>
                    <a:pt x="1776" y="4093"/>
                  </a:moveTo>
                  <a:lnTo>
                    <a:pt x="2347" y="4093"/>
                  </a:lnTo>
                  <a:lnTo>
                    <a:pt x="2347" y="3899"/>
                  </a:lnTo>
                  <a:lnTo>
                    <a:pt x="1776" y="3899"/>
                  </a:lnTo>
                  <a:lnTo>
                    <a:pt x="1776" y="4093"/>
                  </a:lnTo>
                  <a:close/>
                </a:path>
              </a:pathLst>
            </a:custGeom>
            <a:solidFill>
              <a:srgbClr val="64646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077"/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9"/>
            <p:cNvSpPr>
              <a:spLocks noChangeAspect="1" noEditPoints="1"/>
            </p:cNvSpPr>
            <p:nvPr/>
          </p:nvSpPr>
          <p:spPr bwMode="auto">
            <a:xfrm>
              <a:off x="10090181" y="4003360"/>
              <a:ext cx="378043" cy="553238"/>
            </a:xfrm>
            <a:custGeom>
              <a:avLst/>
              <a:gdLst>
                <a:gd name="T0" fmla="*/ 2147483647 w 3454"/>
                <a:gd name="T1" fmla="*/ 0 h 4763"/>
                <a:gd name="T2" fmla="*/ 2147483647 w 3454"/>
                <a:gd name="T3" fmla="*/ 2147483647 h 4763"/>
                <a:gd name="T4" fmla="*/ 2147483647 w 3454"/>
                <a:gd name="T5" fmla="*/ 2147483647 h 4763"/>
                <a:gd name="T6" fmla="*/ 2147483647 w 3454"/>
                <a:gd name="T7" fmla="*/ 2147483647 h 4763"/>
                <a:gd name="T8" fmla="*/ 2147483647 w 3454"/>
                <a:gd name="T9" fmla="*/ 2147483647 h 4763"/>
                <a:gd name="T10" fmla="*/ 2147483647 w 3454"/>
                <a:gd name="T11" fmla="*/ 2147483647 h 4763"/>
                <a:gd name="T12" fmla="*/ 2147483647 w 3454"/>
                <a:gd name="T13" fmla="*/ 2147483647 h 4763"/>
                <a:gd name="T14" fmla="*/ 2147483647 w 3454"/>
                <a:gd name="T15" fmla="*/ 2147483647 h 4763"/>
                <a:gd name="T16" fmla="*/ 2147483647 w 3454"/>
                <a:gd name="T17" fmla="*/ 2147483647 h 4763"/>
                <a:gd name="T18" fmla="*/ 2147483647 w 3454"/>
                <a:gd name="T19" fmla="*/ 2147483647 h 4763"/>
                <a:gd name="T20" fmla="*/ 2147483647 w 3454"/>
                <a:gd name="T21" fmla="*/ 2147483647 h 4763"/>
                <a:gd name="T22" fmla="*/ 2147483647 w 3454"/>
                <a:gd name="T23" fmla="*/ 2147483647 h 4763"/>
                <a:gd name="T24" fmla="*/ 2147483647 w 3454"/>
                <a:gd name="T25" fmla="*/ 0 h 4763"/>
                <a:gd name="T26" fmla="*/ 2147483647 w 3454"/>
                <a:gd name="T27" fmla="*/ 2147483647 h 4763"/>
                <a:gd name="T28" fmla="*/ 2147483647 w 3454"/>
                <a:gd name="T29" fmla="*/ 2147483647 h 4763"/>
                <a:gd name="T30" fmla="*/ 2147483647 w 3454"/>
                <a:gd name="T31" fmla="*/ 2147483647 h 4763"/>
                <a:gd name="T32" fmla="*/ 2147483647 w 3454"/>
                <a:gd name="T33" fmla="*/ 2147483647 h 4763"/>
                <a:gd name="T34" fmla="*/ 2147483647 w 3454"/>
                <a:gd name="T35" fmla="*/ 2147483647 h 4763"/>
                <a:gd name="T36" fmla="*/ 2147483647 w 3454"/>
                <a:gd name="T37" fmla="*/ 2147483647 h 4763"/>
                <a:gd name="T38" fmla="*/ 2147483647 w 3454"/>
                <a:gd name="T39" fmla="*/ 2147483647 h 4763"/>
                <a:gd name="T40" fmla="*/ 2147483647 w 3454"/>
                <a:gd name="T41" fmla="*/ 2147483647 h 4763"/>
                <a:gd name="T42" fmla="*/ 2147483647 w 3454"/>
                <a:gd name="T43" fmla="*/ 2147483647 h 4763"/>
                <a:gd name="T44" fmla="*/ 2147483647 w 3454"/>
                <a:gd name="T45" fmla="*/ 2147483647 h 4763"/>
                <a:gd name="T46" fmla="*/ 2147483647 w 3454"/>
                <a:gd name="T47" fmla="*/ 2147483647 h 4763"/>
                <a:gd name="T48" fmla="*/ 2147483647 w 3454"/>
                <a:gd name="T49" fmla="*/ 2147483647 h 4763"/>
                <a:gd name="T50" fmla="*/ 2147483647 w 3454"/>
                <a:gd name="T51" fmla="*/ 2147483647 h 4763"/>
                <a:gd name="T52" fmla="*/ 2147483647 w 3454"/>
                <a:gd name="T53" fmla="*/ 2147483647 h 4763"/>
                <a:gd name="T54" fmla="*/ 2147483647 w 3454"/>
                <a:gd name="T55" fmla="*/ 2147483647 h 4763"/>
                <a:gd name="T56" fmla="*/ 2147483647 w 3454"/>
                <a:gd name="T57" fmla="*/ 2147483647 h 4763"/>
                <a:gd name="T58" fmla="*/ 2147483647 w 3454"/>
                <a:gd name="T59" fmla="*/ 2147483647 h 4763"/>
                <a:gd name="T60" fmla="*/ 2147483647 w 3454"/>
                <a:gd name="T61" fmla="*/ 2147483647 h 4763"/>
                <a:gd name="T62" fmla="*/ 2147483647 w 3454"/>
                <a:gd name="T63" fmla="*/ 2147483647 h 4763"/>
                <a:gd name="T64" fmla="*/ 2147483647 w 3454"/>
                <a:gd name="T65" fmla="*/ 2147483647 h 4763"/>
                <a:gd name="T66" fmla="*/ 2147483647 w 3454"/>
                <a:gd name="T67" fmla="*/ 2147483647 h 4763"/>
                <a:gd name="T68" fmla="*/ 2147483647 w 3454"/>
                <a:gd name="T69" fmla="*/ 2147483647 h 4763"/>
                <a:gd name="T70" fmla="*/ 2147483647 w 3454"/>
                <a:gd name="T71" fmla="*/ 2147483647 h 4763"/>
                <a:gd name="T72" fmla="*/ 2147483647 w 3454"/>
                <a:gd name="T73" fmla="*/ 2147483647 h 4763"/>
                <a:gd name="T74" fmla="*/ 2147483647 w 3454"/>
                <a:gd name="T75" fmla="*/ 2147483647 h 4763"/>
                <a:gd name="T76" fmla="*/ 2147483647 w 3454"/>
                <a:gd name="T77" fmla="*/ 2147483647 h 4763"/>
                <a:gd name="T78" fmla="*/ 2147483647 w 3454"/>
                <a:gd name="T79" fmla="*/ 2147483647 h 4763"/>
                <a:gd name="T80" fmla="*/ 2147483647 w 3454"/>
                <a:gd name="T81" fmla="*/ 2147483647 h 4763"/>
                <a:gd name="T82" fmla="*/ 2147483647 w 3454"/>
                <a:gd name="T83" fmla="*/ 2147483647 h 4763"/>
                <a:gd name="T84" fmla="*/ 2147483647 w 3454"/>
                <a:gd name="T85" fmla="*/ 2147483647 h 4763"/>
                <a:gd name="T86" fmla="*/ 2147483647 w 3454"/>
                <a:gd name="T87" fmla="*/ 2147483647 h 4763"/>
                <a:gd name="T88" fmla="*/ 2147483647 w 3454"/>
                <a:gd name="T89" fmla="*/ 2147483647 h 4763"/>
                <a:gd name="T90" fmla="*/ 2147483647 w 3454"/>
                <a:gd name="T91" fmla="*/ 2147483647 h 4763"/>
                <a:gd name="T92" fmla="*/ 2147483647 w 3454"/>
                <a:gd name="T93" fmla="*/ 2147483647 h 47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454"/>
                <a:gd name="T142" fmla="*/ 0 h 4763"/>
                <a:gd name="T143" fmla="*/ 3454 w 3454"/>
                <a:gd name="T144" fmla="*/ 4763 h 47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454" h="4763">
                  <a:moveTo>
                    <a:pt x="3264" y="0"/>
                  </a:moveTo>
                  <a:lnTo>
                    <a:pt x="190" y="0"/>
                  </a:lnTo>
                  <a:lnTo>
                    <a:pt x="170" y="1"/>
                  </a:lnTo>
                  <a:lnTo>
                    <a:pt x="152" y="4"/>
                  </a:lnTo>
                  <a:lnTo>
                    <a:pt x="134" y="8"/>
                  </a:lnTo>
                  <a:lnTo>
                    <a:pt x="116" y="14"/>
                  </a:lnTo>
                  <a:lnTo>
                    <a:pt x="100" y="23"/>
                  </a:lnTo>
                  <a:lnTo>
                    <a:pt x="85" y="33"/>
                  </a:lnTo>
                  <a:lnTo>
                    <a:pt x="70" y="43"/>
                  </a:lnTo>
                  <a:lnTo>
                    <a:pt x="56" y="56"/>
                  </a:lnTo>
                  <a:lnTo>
                    <a:pt x="43" y="69"/>
                  </a:lnTo>
                  <a:lnTo>
                    <a:pt x="33" y="83"/>
                  </a:lnTo>
                  <a:lnTo>
                    <a:pt x="23" y="99"/>
                  </a:lnTo>
                  <a:lnTo>
                    <a:pt x="16" y="116"/>
                  </a:lnTo>
                  <a:lnTo>
                    <a:pt x="8" y="133"/>
                  </a:lnTo>
                  <a:lnTo>
                    <a:pt x="4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0" y="4763"/>
                  </a:lnTo>
                  <a:lnTo>
                    <a:pt x="3454" y="4763"/>
                  </a:lnTo>
                  <a:lnTo>
                    <a:pt x="3454" y="190"/>
                  </a:lnTo>
                  <a:lnTo>
                    <a:pt x="3453" y="170"/>
                  </a:lnTo>
                  <a:lnTo>
                    <a:pt x="3450" y="151"/>
                  </a:lnTo>
                  <a:lnTo>
                    <a:pt x="3446" y="133"/>
                  </a:lnTo>
                  <a:lnTo>
                    <a:pt x="3440" y="116"/>
                  </a:lnTo>
                  <a:lnTo>
                    <a:pt x="3431" y="99"/>
                  </a:lnTo>
                  <a:lnTo>
                    <a:pt x="3421" y="83"/>
                  </a:lnTo>
                  <a:lnTo>
                    <a:pt x="3411" y="69"/>
                  </a:lnTo>
                  <a:lnTo>
                    <a:pt x="3398" y="56"/>
                  </a:lnTo>
                  <a:lnTo>
                    <a:pt x="3385" y="43"/>
                  </a:lnTo>
                  <a:lnTo>
                    <a:pt x="3371" y="33"/>
                  </a:lnTo>
                  <a:lnTo>
                    <a:pt x="3355" y="23"/>
                  </a:lnTo>
                  <a:lnTo>
                    <a:pt x="3338" y="14"/>
                  </a:lnTo>
                  <a:lnTo>
                    <a:pt x="3321" y="8"/>
                  </a:lnTo>
                  <a:lnTo>
                    <a:pt x="3303" y="4"/>
                  </a:lnTo>
                  <a:lnTo>
                    <a:pt x="3284" y="1"/>
                  </a:lnTo>
                  <a:lnTo>
                    <a:pt x="3264" y="0"/>
                  </a:lnTo>
                  <a:close/>
                  <a:moveTo>
                    <a:pt x="3261" y="4570"/>
                  </a:moveTo>
                  <a:lnTo>
                    <a:pt x="193" y="4570"/>
                  </a:lnTo>
                  <a:lnTo>
                    <a:pt x="193" y="190"/>
                  </a:lnTo>
                  <a:lnTo>
                    <a:pt x="3264" y="193"/>
                  </a:lnTo>
                  <a:lnTo>
                    <a:pt x="3261" y="4570"/>
                  </a:lnTo>
                  <a:close/>
                  <a:moveTo>
                    <a:pt x="1277" y="1192"/>
                  </a:moveTo>
                  <a:lnTo>
                    <a:pt x="1209" y="1125"/>
                  </a:lnTo>
                  <a:lnTo>
                    <a:pt x="1040" y="1293"/>
                  </a:lnTo>
                  <a:lnTo>
                    <a:pt x="1108" y="1361"/>
                  </a:lnTo>
                  <a:lnTo>
                    <a:pt x="1277" y="1192"/>
                  </a:lnTo>
                  <a:close/>
                  <a:moveTo>
                    <a:pt x="2444" y="2391"/>
                  </a:moveTo>
                  <a:lnTo>
                    <a:pt x="2989" y="2391"/>
                  </a:lnTo>
                  <a:lnTo>
                    <a:pt x="2989" y="2197"/>
                  </a:lnTo>
                  <a:lnTo>
                    <a:pt x="2444" y="2197"/>
                  </a:lnTo>
                  <a:lnTo>
                    <a:pt x="2444" y="2391"/>
                  </a:lnTo>
                  <a:close/>
                  <a:moveTo>
                    <a:pt x="2989" y="643"/>
                  </a:moveTo>
                  <a:lnTo>
                    <a:pt x="2892" y="643"/>
                  </a:lnTo>
                  <a:lnTo>
                    <a:pt x="2892" y="1529"/>
                  </a:lnTo>
                  <a:lnTo>
                    <a:pt x="562" y="1529"/>
                  </a:lnTo>
                  <a:lnTo>
                    <a:pt x="562" y="739"/>
                  </a:lnTo>
                  <a:lnTo>
                    <a:pt x="2699" y="739"/>
                  </a:lnTo>
                  <a:lnTo>
                    <a:pt x="2699" y="643"/>
                  </a:lnTo>
                  <a:lnTo>
                    <a:pt x="465" y="643"/>
                  </a:lnTo>
                  <a:lnTo>
                    <a:pt x="465" y="1626"/>
                  </a:lnTo>
                  <a:lnTo>
                    <a:pt x="2989" y="1626"/>
                  </a:lnTo>
                  <a:lnTo>
                    <a:pt x="2989" y="643"/>
                  </a:lnTo>
                  <a:close/>
                  <a:moveTo>
                    <a:pt x="1776" y="2391"/>
                  </a:moveTo>
                  <a:lnTo>
                    <a:pt x="2347" y="2391"/>
                  </a:lnTo>
                  <a:lnTo>
                    <a:pt x="2347" y="2197"/>
                  </a:lnTo>
                  <a:lnTo>
                    <a:pt x="1776" y="2197"/>
                  </a:lnTo>
                  <a:lnTo>
                    <a:pt x="1776" y="2391"/>
                  </a:lnTo>
                  <a:close/>
                  <a:moveTo>
                    <a:pt x="1108" y="2391"/>
                  </a:moveTo>
                  <a:lnTo>
                    <a:pt x="1679" y="2391"/>
                  </a:lnTo>
                  <a:lnTo>
                    <a:pt x="1679" y="2197"/>
                  </a:lnTo>
                  <a:lnTo>
                    <a:pt x="1108" y="2197"/>
                  </a:lnTo>
                  <a:lnTo>
                    <a:pt x="1108" y="2391"/>
                  </a:lnTo>
                  <a:close/>
                  <a:moveTo>
                    <a:pt x="1011" y="2197"/>
                  </a:moveTo>
                  <a:lnTo>
                    <a:pt x="465" y="2197"/>
                  </a:lnTo>
                  <a:lnTo>
                    <a:pt x="465" y="2391"/>
                  </a:lnTo>
                  <a:lnTo>
                    <a:pt x="1011" y="2391"/>
                  </a:lnTo>
                  <a:lnTo>
                    <a:pt x="1011" y="2197"/>
                  </a:lnTo>
                  <a:close/>
                  <a:moveTo>
                    <a:pt x="743" y="1293"/>
                  </a:moveTo>
                  <a:lnTo>
                    <a:pt x="811" y="1361"/>
                  </a:lnTo>
                  <a:lnTo>
                    <a:pt x="1197" y="975"/>
                  </a:lnTo>
                  <a:lnTo>
                    <a:pt x="1130" y="906"/>
                  </a:lnTo>
                  <a:lnTo>
                    <a:pt x="743" y="1293"/>
                  </a:lnTo>
                  <a:close/>
                  <a:moveTo>
                    <a:pt x="1776" y="2958"/>
                  </a:moveTo>
                  <a:lnTo>
                    <a:pt x="2347" y="2958"/>
                  </a:lnTo>
                  <a:lnTo>
                    <a:pt x="2347" y="2765"/>
                  </a:lnTo>
                  <a:lnTo>
                    <a:pt x="1776" y="2765"/>
                  </a:lnTo>
                  <a:lnTo>
                    <a:pt x="1776" y="2958"/>
                  </a:lnTo>
                  <a:close/>
                  <a:moveTo>
                    <a:pt x="1108" y="2958"/>
                  </a:moveTo>
                  <a:lnTo>
                    <a:pt x="1679" y="2958"/>
                  </a:lnTo>
                  <a:lnTo>
                    <a:pt x="1679" y="2765"/>
                  </a:lnTo>
                  <a:lnTo>
                    <a:pt x="1108" y="2765"/>
                  </a:lnTo>
                  <a:lnTo>
                    <a:pt x="1108" y="2958"/>
                  </a:lnTo>
                  <a:close/>
                  <a:moveTo>
                    <a:pt x="1011" y="2765"/>
                  </a:moveTo>
                  <a:lnTo>
                    <a:pt x="465" y="2765"/>
                  </a:lnTo>
                  <a:lnTo>
                    <a:pt x="465" y="2958"/>
                  </a:lnTo>
                  <a:lnTo>
                    <a:pt x="1011" y="2958"/>
                  </a:lnTo>
                  <a:lnTo>
                    <a:pt x="1011" y="2765"/>
                  </a:lnTo>
                  <a:close/>
                  <a:moveTo>
                    <a:pt x="2444" y="2958"/>
                  </a:moveTo>
                  <a:lnTo>
                    <a:pt x="2989" y="2958"/>
                  </a:lnTo>
                  <a:lnTo>
                    <a:pt x="2989" y="2765"/>
                  </a:lnTo>
                  <a:lnTo>
                    <a:pt x="2444" y="2765"/>
                  </a:lnTo>
                  <a:lnTo>
                    <a:pt x="2444" y="2958"/>
                  </a:lnTo>
                  <a:close/>
                  <a:moveTo>
                    <a:pt x="1776" y="3526"/>
                  </a:moveTo>
                  <a:lnTo>
                    <a:pt x="2347" y="3526"/>
                  </a:lnTo>
                  <a:lnTo>
                    <a:pt x="2347" y="3333"/>
                  </a:lnTo>
                  <a:lnTo>
                    <a:pt x="1776" y="3333"/>
                  </a:lnTo>
                  <a:lnTo>
                    <a:pt x="1776" y="3526"/>
                  </a:lnTo>
                  <a:close/>
                  <a:moveTo>
                    <a:pt x="1108" y="3526"/>
                  </a:moveTo>
                  <a:lnTo>
                    <a:pt x="1679" y="3526"/>
                  </a:lnTo>
                  <a:lnTo>
                    <a:pt x="1679" y="3333"/>
                  </a:lnTo>
                  <a:lnTo>
                    <a:pt x="1108" y="3333"/>
                  </a:lnTo>
                  <a:lnTo>
                    <a:pt x="1108" y="3526"/>
                  </a:lnTo>
                  <a:close/>
                  <a:moveTo>
                    <a:pt x="1011" y="3333"/>
                  </a:moveTo>
                  <a:lnTo>
                    <a:pt x="465" y="3333"/>
                  </a:lnTo>
                  <a:lnTo>
                    <a:pt x="465" y="3526"/>
                  </a:lnTo>
                  <a:lnTo>
                    <a:pt x="1011" y="3526"/>
                  </a:lnTo>
                  <a:lnTo>
                    <a:pt x="1011" y="3333"/>
                  </a:lnTo>
                  <a:close/>
                  <a:moveTo>
                    <a:pt x="2444" y="3526"/>
                  </a:moveTo>
                  <a:lnTo>
                    <a:pt x="2989" y="3526"/>
                  </a:lnTo>
                  <a:lnTo>
                    <a:pt x="2989" y="3333"/>
                  </a:lnTo>
                  <a:lnTo>
                    <a:pt x="2444" y="3333"/>
                  </a:lnTo>
                  <a:lnTo>
                    <a:pt x="2444" y="3526"/>
                  </a:lnTo>
                  <a:close/>
                  <a:moveTo>
                    <a:pt x="2444" y="4093"/>
                  </a:moveTo>
                  <a:lnTo>
                    <a:pt x="2989" y="4093"/>
                  </a:lnTo>
                  <a:lnTo>
                    <a:pt x="2989" y="3899"/>
                  </a:lnTo>
                  <a:lnTo>
                    <a:pt x="2444" y="3899"/>
                  </a:lnTo>
                  <a:lnTo>
                    <a:pt x="2444" y="4093"/>
                  </a:lnTo>
                  <a:close/>
                  <a:moveTo>
                    <a:pt x="1679" y="3899"/>
                  </a:moveTo>
                  <a:lnTo>
                    <a:pt x="465" y="3899"/>
                  </a:lnTo>
                  <a:lnTo>
                    <a:pt x="465" y="4093"/>
                  </a:lnTo>
                  <a:lnTo>
                    <a:pt x="1679" y="4093"/>
                  </a:lnTo>
                  <a:lnTo>
                    <a:pt x="1679" y="3899"/>
                  </a:lnTo>
                  <a:close/>
                  <a:moveTo>
                    <a:pt x="1776" y="4093"/>
                  </a:moveTo>
                  <a:lnTo>
                    <a:pt x="2347" y="4093"/>
                  </a:lnTo>
                  <a:lnTo>
                    <a:pt x="2347" y="3899"/>
                  </a:lnTo>
                  <a:lnTo>
                    <a:pt x="1776" y="3899"/>
                  </a:lnTo>
                  <a:lnTo>
                    <a:pt x="1776" y="4093"/>
                  </a:lnTo>
                  <a:close/>
                </a:path>
              </a:pathLst>
            </a:custGeom>
            <a:solidFill>
              <a:srgbClr val="64646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077"/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7508403" y="4556598"/>
              <a:ext cx="99568" cy="167738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sz="1000" b="1" dirty="0" smtClean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8104511" y="4556598"/>
              <a:ext cx="99568" cy="167738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sz="1000" b="1" dirty="0" smtClean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9872913" y="4556598"/>
              <a:ext cx="99568" cy="167738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sz="1000" b="1" dirty="0" smtClean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10460886" y="4556598"/>
              <a:ext cx="99568" cy="167738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sz="1000" b="1" dirty="0" smtClean="0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116" name="Rectangle 115"/>
          <p:cNvSpPr/>
          <p:nvPr/>
        </p:nvSpPr>
        <p:spPr>
          <a:xfrm>
            <a:off x="723900" y="5121283"/>
            <a:ext cx="5232867" cy="1008055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801688" eaLnBrk="0" hangingPunct="0">
              <a:lnSpc>
                <a:spcPct val="95000"/>
              </a:lnSpc>
              <a:spcAft>
                <a:spcPts val="400"/>
              </a:spcAft>
              <a:buClr>
                <a:srgbClr val="969696"/>
              </a:buClr>
              <a:defRPr/>
            </a:pPr>
            <a:r>
              <a:rPr lang="ru-RU" sz="1600" b="1" dirty="0" smtClean="0">
                <a:solidFill>
                  <a:srgbClr val="646464"/>
                </a:solidFill>
                <a:cs typeface="Arial" charset="0"/>
              </a:rPr>
              <a:t>Добавление признаков схожести событий</a:t>
            </a:r>
            <a:endParaRPr lang="ru-RU" sz="1600" b="1" dirty="0">
              <a:solidFill>
                <a:srgbClr val="646464"/>
              </a:solidFill>
              <a:cs typeface="Arial" charset="0"/>
            </a:endParaRPr>
          </a:p>
          <a:p>
            <a:pPr algn="ctr" defTabSz="801688" eaLnBrk="0" hangingPunct="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Поиск пересечений зон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покрытия (см. усложнённый вариант алгоритма),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учёт типа события, применение информации о типе, производителе и модели устройства и пр.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6241584" y="5121282"/>
            <a:ext cx="5115669" cy="1008055"/>
          </a:xfrm>
          <a:prstGeom prst="rect">
            <a:avLst/>
          </a:prstGeom>
          <a:solidFill>
            <a:srgbClr val="F0F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801688" eaLnBrk="0" hangingPunct="0">
              <a:lnSpc>
                <a:spcPct val="95000"/>
              </a:lnSpc>
              <a:spcAft>
                <a:spcPts val="400"/>
              </a:spcAft>
              <a:buClr>
                <a:srgbClr val="969696"/>
              </a:buClr>
              <a:defRPr/>
            </a:pPr>
            <a:r>
              <a:rPr lang="ru-RU" sz="1600" b="1" dirty="0" smtClean="0">
                <a:solidFill>
                  <a:srgbClr val="646464"/>
                </a:solidFill>
                <a:cs typeface="Arial" charset="0"/>
              </a:rPr>
              <a:t>Параллельные вычисления</a:t>
            </a:r>
            <a:endParaRPr lang="ru-RU" sz="1600" b="1" dirty="0">
              <a:solidFill>
                <a:srgbClr val="646464"/>
              </a:solidFill>
              <a:cs typeface="Arial" charset="0"/>
            </a:endParaRPr>
          </a:p>
          <a:p>
            <a:pPr algn="ctr" defTabSz="801688" eaLnBrk="0" hangingPunct="0">
              <a:lnSpc>
                <a:spcPct val="95000"/>
              </a:lnSpc>
              <a:spcAft>
                <a:spcPts val="600"/>
              </a:spcAft>
              <a:buClr>
                <a:srgbClr val="969696"/>
              </a:buClr>
              <a:defRPr/>
            </a:pP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Попарное сравнение событий между собой имеет сложность</a:t>
            </a:r>
            <a:r>
              <a:rPr lang="en-US" sz="1200" dirty="0" smtClean="0">
                <a:solidFill>
                  <a:srgbClr val="646464"/>
                </a:solidFill>
                <a:cs typeface="Arial" charset="0"/>
              </a:rPr>
              <a:t>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вычисления </a:t>
            </a:r>
            <a:r>
              <a:rPr lang="en-US" sz="1200" dirty="0" smtClean="0">
                <a:solidFill>
                  <a:srgbClr val="646464"/>
                </a:solidFill>
                <a:cs typeface="Arial" charset="0"/>
              </a:rPr>
              <a:t>O(n</a:t>
            </a:r>
            <a:r>
              <a:rPr lang="en-US" sz="1200" baseline="30000" dirty="0" smtClean="0">
                <a:solidFill>
                  <a:srgbClr val="646464"/>
                </a:solidFill>
                <a:cs typeface="Arial" charset="0"/>
              </a:rPr>
              <a:t>2</a:t>
            </a:r>
            <a:r>
              <a:rPr lang="en-US" sz="1200" dirty="0" smtClean="0">
                <a:solidFill>
                  <a:srgbClr val="646464"/>
                </a:solidFill>
                <a:cs typeface="Arial" charset="0"/>
              </a:rPr>
              <a:t>)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, что при размере выборки </a:t>
            </a:r>
            <a:r>
              <a:rPr lang="en-US" sz="1200" dirty="0" smtClean="0">
                <a:solidFill>
                  <a:srgbClr val="646464"/>
                </a:solidFill>
                <a:cs typeface="Arial" charset="0"/>
              </a:rPr>
              <a:t>~174 </a:t>
            </a:r>
            <a:r>
              <a:rPr lang="ru-RU" sz="1200" dirty="0" smtClean="0">
                <a:solidFill>
                  <a:srgbClr val="646464"/>
                </a:solidFill>
                <a:cs typeface="Arial" charset="0"/>
              </a:rPr>
              <a:t>тыс. событий делает целесообразным реализации многопоточного алгоритма</a:t>
            </a:r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15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widescreen presentation 2015 v1">
  <a:themeElements>
    <a:clrScheme name="Custom 2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widescreen presentation 2015 v1 RUS.potx" id="{D72B8505-89FE-4067-9355-92070E27C2E4}" vid="{7F1DA8C0-983F-462F-9D83-4C6579CD268F}"/>
    </a:ext>
  </a:extLst>
</a:theme>
</file>

<file path=ppt/theme/theme2.xml><?xml version="1.0" encoding="utf-8"?>
<a:theme xmlns:a="http://schemas.openxmlformats.org/drawingml/2006/main" name="EY light projection">
  <a:themeElements>
    <a:clrScheme name="Custom 1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widescreen presentation 2015 v1 RUS.potx" id="{D72B8505-89FE-4067-9355-92070E27C2E4}" vid="{79F92855-6156-4BBB-85A4-39836AA2513F}"/>
    </a:ext>
  </a:extLst>
</a:theme>
</file>

<file path=ppt/theme/theme3.xml><?xml version="1.0" encoding="utf-8"?>
<a:theme xmlns:a="http://schemas.openxmlformats.org/drawingml/2006/main" name="EY dark print">
  <a:themeElements>
    <a:clrScheme name="Custom 2">
      <a:dk1>
        <a:srgbClr val="FFFFFF"/>
      </a:dk1>
      <a:lt1>
        <a:srgbClr val="FFFFFF"/>
      </a:lt1>
      <a:dk2>
        <a:srgbClr val="333333"/>
      </a:dk2>
      <a:lt2>
        <a:srgbClr val="FFE60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widescreen presentation 2015 v1 RUS.potx" id="{D72B8505-89FE-4067-9355-92070E27C2E4}" vid="{4E29AC42-F6DF-42F9-829D-37BA8DDA5064}"/>
    </a:ext>
  </a:extLst>
</a:theme>
</file>

<file path=ppt/theme/theme4.xml><?xml version="1.0" encoding="utf-8"?>
<a:theme xmlns:a="http://schemas.openxmlformats.org/drawingml/2006/main" name="EY dark projection">
  <a:themeElements>
    <a:clrScheme name="Custom 4">
      <a:dk1>
        <a:srgbClr val="FFFFFF"/>
      </a:dk1>
      <a:lt1>
        <a:srgbClr val="FFFFFF"/>
      </a:lt1>
      <a:dk2>
        <a:srgbClr val="333333"/>
      </a:dk2>
      <a:lt2>
        <a:srgbClr val="FFD200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widescreen presentation 2015 v1 RUS.potx" id="{D72B8505-89FE-4067-9355-92070E27C2E4}" vid="{4F8C2055-3BDD-4BC4-8327-0EAD832AA7E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Y widescreen presentation 2015 v1 RUS</Template>
  <TotalTime>0</TotalTime>
  <Words>860</Words>
  <Application>Microsoft Office PowerPoint</Application>
  <PresentationFormat>Custom</PresentationFormat>
  <Paragraphs>62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Webdings</vt:lpstr>
      <vt:lpstr>Wingdings 2</vt:lpstr>
      <vt:lpstr>EY widescreen presentation 2015 v1</vt:lpstr>
      <vt:lpstr>EY light projection</vt:lpstr>
      <vt:lpstr>EY dark print</vt:lpstr>
      <vt:lpstr>EY dark projection</vt:lpstr>
      <vt:lpstr>think-cell Slide</vt:lpstr>
      <vt:lpstr>Описание алгоритма определения персон по данным о перемещениях абонентов</vt:lpstr>
      <vt:lpstr>На основе данных с базовых станций возможно определить абонентов с несколькими сим-картами («персон»)</vt:lpstr>
      <vt:lpstr>Алгоритм определения персон по входным данным состоит из 3 последовательных этапов</vt:lpstr>
      <vt:lpstr>Качество результатов и эффективность работы алгоритма могут быть улучшены при помощи нескольких усовершенствований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6-06-21T11:31:43Z</dcterms:created>
  <dcterms:modified xsi:type="dcterms:W3CDTF">2016-06-22T15:25:58Z</dcterms:modified>
  <cp:contentStatus/>
</cp:coreProperties>
</file>